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theme/themeOverride3.xml" ContentType="application/vnd.openxmlformats-officedocument.themeOverr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2.xml" ContentType="application/vnd.openxmlformats-officedocument.drawingml.chart+xml"/>
  <Override PartName="/ppt/theme/themeOverride4.xml" ContentType="application/vnd.openxmlformats-officedocument.themeOverride+xml"/>
  <Override PartName="/ppt/tags/tag26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heme/themeOverride5.xml" ContentType="application/vnd.openxmlformats-officedocument.themeOverride+xml"/>
  <Override PartName="/ppt/charts/chart15.xml" ContentType="application/vnd.openxmlformats-officedocument.drawingml.chart+xml"/>
  <Override PartName="/ppt/theme/themeOverride6.xml" ContentType="application/vnd.openxmlformats-officedocument.themeOverride+xml"/>
  <Override PartName="/ppt/charts/chart16.xml" ContentType="application/vnd.openxmlformats-officedocument.drawingml.chart+xml"/>
  <Override PartName="/ppt/theme/themeOverride7.xml" ContentType="application/vnd.openxmlformats-officedocument.themeOverride+xml"/>
  <Override PartName="/ppt/notesSlides/notesSlide6.xml" ContentType="application/vnd.openxmlformats-officedocument.presentationml.notesSlide+xml"/>
  <Override PartName="/ppt/charts/chart17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heme/themeOverride8.xml" ContentType="application/vnd.openxmlformats-officedocument.themeOverride+xml"/>
  <Override PartName="/ppt/tags/tag29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notesSlides/notesSlide7.xml" ContentType="application/vnd.openxmlformats-officedocument.presentationml.notesSlide+xml"/>
  <Override PartName="/ppt/charts/chart23.xml" ContentType="application/vnd.openxmlformats-officedocument.drawingml.chart+xml"/>
  <Override PartName="/ppt/notesSlides/notesSlide8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heme/themeOverride9.xml" ContentType="application/vnd.openxmlformats-officedocument.themeOverride+xml"/>
  <Override PartName="/ppt/drawings/drawing1.xml" ContentType="application/vnd.openxmlformats-officedocument.drawingml.chartshape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8.xml" ContentType="application/vnd.openxmlformats-officedocument.drawingml.chart+xml"/>
  <Override PartName="/ppt/theme/themeOverride10.xml" ContentType="application/vnd.openxmlformats-officedocument.themeOverride+xml"/>
  <Override PartName="/ppt/notesSlides/notesSlide10.xml" ContentType="application/vnd.openxmlformats-officedocument.presentationml.notesSlide+xml"/>
  <Override PartName="/ppt/charts/chart29.xml" ContentType="application/vnd.openxmlformats-officedocument.drawingml.chart+xml"/>
  <Override PartName="/ppt/theme/themeOverride11.xml" ContentType="application/vnd.openxmlformats-officedocument.themeOverride+xml"/>
  <Override PartName="/ppt/charts/chart30.xml" ContentType="application/vnd.openxmlformats-officedocument.drawingml.chart+xml"/>
  <Override PartName="/ppt/theme/themeOverride12.xml" ContentType="application/vnd.openxmlformats-officedocument.themeOverride+xml"/>
  <Override PartName="/ppt/drawings/drawing2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heme/themeOverride13.xml" ContentType="application/vnd.openxmlformats-officedocument.themeOverride+xml"/>
  <Override PartName="/ppt/charts/chart34.xml" ContentType="application/vnd.openxmlformats-officedocument.drawingml.chart+xml"/>
  <Override PartName="/ppt/theme/themeOverride14.xml" ContentType="application/vnd.openxmlformats-officedocument.themeOverride+xml"/>
  <Override PartName="/ppt/tags/tag31.xml" ContentType="application/vnd.openxmlformats-officedocument.presentationml.tags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heme/themeOverride15.xml" ContentType="application/vnd.openxmlformats-officedocument.themeOverride+xml"/>
  <Override PartName="/ppt/charts/chart37.xml" ContentType="application/vnd.openxmlformats-officedocument.drawingml.chart+xml"/>
  <Override PartName="/ppt/theme/themeOverride16.xml" ContentType="application/vnd.openxmlformats-officedocument.themeOverride+xml"/>
  <Override PartName="/ppt/charts/chart38.xml" ContentType="application/vnd.openxmlformats-officedocument.drawingml.chart+xml"/>
  <Override PartName="/ppt/theme/themeOverride17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9.xml" ContentType="application/vnd.openxmlformats-officedocument.drawingml.chart+xml"/>
  <Override PartName="/ppt/theme/themeOverride18.xml" ContentType="application/vnd.openxmlformats-officedocument.themeOverride+xml"/>
  <Override PartName="/ppt/charts/chart40.xml" ContentType="application/vnd.openxmlformats-officedocument.drawingml.chart+xml"/>
  <Override PartName="/ppt/theme/themeOverride19.xml" ContentType="application/vnd.openxmlformats-officedocument.themeOverride+xml"/>
  <Override PartName="/ppt/tags/tag36.xml" ContentType="application/vnd.openxmlformats-officedocument.presentationml.tags+xml"/>
  <Override PartName="/ppt/charts/chart41.xml" ContentType="application/vnd.openxmlformats-officedocument.drawingml.chart+xml"/>
  <Override PartName="/ppt/notesSlides/notesSlide16.xml" ContentType="application/vnd.openxmlformats-officedocument.presentationml.notesSlide+xml"/>
  <Override PartName="/ppt/charts/chart42.xml" ContentType="application/vnd.openxmlformats-officedocument.drawingml.chart+xml"/>
  <Override PartName="/ppt/notesSlides/notesSlide17.xml" ContentType="application/vnd.openxmlformats-officedocument.presentationml.notesSlide+xml"/>
  <Override PartName="/ppt/charts/chart43.xml" ContentType="application/vnd.openxmlformats-officedocument.drawingml.chart+xml"/>
  <Override PartName="/ppt/theme/themeOverride20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0" r:id="rId1"/>
    <p:sldMasterId id="2147483655" r:id="rId2"/>
  </p:sldMasterIdLst>
  <p:notesMasterIdLst>
    <p:notesMasterId r:id="rId51"/>
  </p:notesMasterIdLst>
  <p:sldIdLst>
    <p:sldId id="256" r:id="rId3"/>
    <p:sldId id="465" r:id="rId4"/>
    <p:sldId id="458" r:id="rId5"/>
    <p:sldId id="437" r:id="rId6"/>
    <p:sldId id="438" r:id="rId7"/>
    <p:sldId id="440" r:id="rId8"/>
    <p:sldId id="442" r:id="rId9"/>
    <p:sldId id="504" r:id="rId10"/>
    <p:sldId id="448" r:id="rId11"/>
    <p:sldId id="456" r:id="rId12"/>
    <p:sldId id="450" r:id="rId13"/>
    <p:sldId id="464" r:id="rId14"/>
    <p:sldId id="459" r:id="rId15"/>
    <p:sldId id="471" r:id="rId16"/>
    <p:sldId id="472" r:id="rId17"/>
    <p:sldId id="474" r:id="rId18"/>
    <p:sldId id="475" r:id="rId19"/>
    <p:sldId id="476" r:id="rId20"/>
    <p:sldId id="477" r:id="rId21"/>
    <p:sldId id="479" r:id="rId22"/>
    <p:sldId id="480" r:id="rId23"/>
    <p:sldId id="481" r:id="rId24"/>
    <p:sldId id="482" r:id="rId25"/>
    <p:sldId id="483" r:id="rId26"/>
    <p:sldId id="485" r:id="rId27"/>
    <p:sldId id="462" r:id="rId28"/>
    <p:sldId id="466" r:id="rId29"/>
    <p:sldId id="467" r:id="rId30"/>
    <p:sldId id="468" r:id="rId31"/>
    <p:sldId id="500" r:id="rId32"/>
    <p:sldId id="501" r:id="rId33"/>
    <p:sldId id="502" r:id="rId34"/>
    <p:sldId id="503" r:id="rId35"/>
    <p:sldId id="469" r:id="rId36"/>
    <p:sldId id="486" r:id="rId37"/>
    <p:sldId id="487" r:id="rId38"/>
    <p:sldId id="488" r:id="rId39"/>
    <p:sldId id="484" r:id="rId40"/>
    <p:sldId id="489" r:id="rId41"/>
    <p:sldId id="491" r:id="rId42"/>
    <p:sldId id="492" r:id="rId43"/>
    <p:sldId id="493" r:id="rId44"/>
    <p:sldId id="494" r:id="rId45"/>
    <p:sldId id="495" r:id="rId46"/>
    <p:sldId id="497" r:id="rId47"/>
    <p:sldId id="498" r:id="rId48"/>
    <p:sldId id="499" r:id="rId49"/>
    <p:sldId id="436" r:id="rId50"/>
  </p:sldIdLst>
  <p:sldSz cx="9144000" cy="6858000" type="screen4x3"/>
  <p:notesSz cx="6934200" cy="92202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CE1126"/>
    <a:srgbClr val="CCFFCC"/>
    <a:srgbClr val="FFCC66"/>
    <a:srgbClr val="FFCC00"/>
    <a:srgbClr val="006600"/>
    <a:srgbClr val="2563C1"/>
    <a:srgbClr val="CCDCF6"/>
    <a:srgbClr val="FF8A8E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39" autoAdjust="0"/>
    <p:restoredTop sz="95740" autoAdjust="0"/>
  </p:normalViewPr>
  <p:slideViewPr>
    <p:cSldViewPr>
      <p:cViewPr>
        <p:scale>
          <a:sx n="125" d="100"/>
          <a:sy n="125" d="100"/>
        </p:scale>
        <p:origin x="204" y="9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-84" y="-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1296"/>
    </p:cViewPr>
  </p:sorterViewPr>
  <p:notesViewPr>
    <p:cSldViewPr>
      <p:cViewPr varScale="1">
        <p:scale>
          <a:sx n="55" d="100"/>
          <a:sy n="55" d="100"/>
        </p:scale>
        <p:origin x="-2832" y="-102"/>
      </p:cViewPr>
      <p:guideLst>
        <p:guide orient="horz" pos="2904"/>
        <p:guide pos="21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\\MKTXINDFS\Data_Grp1\LatAM_CM\Bonds\_Countries\Paraguay\Republica\2013\Deal%20Inaugural%20Bond\Case%20Study\Paraguay%20orderbook%20final%20with%20stats.xls" TargetMode="External"/><Relationship Id="rId1" Type="http://schemas.openxmlformats.org/officeDocument/2006/relationships/themeOverride" Target="../theme/themeOverride4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5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6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7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8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\\PC-KLFD\Users\dlegal\Desktop\INDICADORES%20MONETARIOS\Planillas%20Diarias%20a%20cargar\Planilla%20de%20Indicadores%20Monetarios%20con%20Bonos-PRUEBA3.xlsx" TargetMode="Externa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9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0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1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12.xm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13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14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4.xlsx"/><Relationship Id="rId1" Type="http://schemas.openxmlformats.org/officeDocument/2006/relationships/themeOverride" Target="../theme/themeOverride15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16.xml"/></Relationships>
</file>

<file path=ppt/charts/_rels/chart3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17.xml"/></Relationships>
</file>

<file path=ppt/charts/_rels/chart3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aiesc\AppData\Local\Microsoft\Windows\Temporary%20Internet%20Files\Content.Outlook\X7632KBS\Comparativo%20deTarifas%20El&#233;ctricas%20de%20Disribuci&#243;n%202010%20y%202012_graficos.xlsx" TargetMode="External"/><Relationship Id="rId1" Type="http://schemas.openxmlformats.org/officeDocument/2006/relationships/themeOverride" Target="../theme/themeOverride18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aiesc\AppData\Local\Microsoft\Windows\Temporary%20Internet%20Files\Content.Outlook\X7632KBS\Comparativo%20deTarifas%20El&#233;ctricas%20de%20Disribuci&#243;n%202010%20y%202012_graficos.xlsx" TargetMode="External"/><Relationship Id="rId1" Type="http://schemas.openxmlformats.org/officeDocument/2006/relationships/themeOverride" Target="../theme/themeOverride19.xm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oleObject" Target="Libro1" TargetMode="External"/><Relationship Id="rId1" Type="http://schemas.openxmlformats.org/officeDocument/2006/relationships/themeOverride" Target="../theme/themeOverride20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600680995956588"/>
          <c:y val="7.2788914806825672E-2"/>
          <c:w val="0.38935071291764267"/>
          <c:h val="0.811032973112430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08-2012</c:v>
                </c:pt>
              </c:strCache>
            </c:strRef>
          </c:tx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FFC000"/>
              </a:solidFill>
            </c:spPr>
          </c:dPt>
          <c:dPt>
            <c:idx val="3"/>
            <c:bubble3D val="0"/>
            <c:spPr>
              <a:solidFill>
                <a:srgbClr val="FF6600"/>
              </a:solidFill>
            </c:spPr>
          </c:dPt>
          <c:dPt>
            <c:idx val="4"/>
            <c:bubble3D val="0"/>
            <c:spPr>
              <a:solidFill>
                <a:srgbClr val="006600"/>
              </a:solidFill>
            </c:spPr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6"/>
            <c:bubble3D val="0"/>
            <c:spPr>
              <a:solidFill>
                <a:srgbClr val="7030A0"/>
              </a:solidFill>
            </c:spPr>
          </c:dPt>
          <c:dPt>
            <c:idx val="7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8"/>
            <c:bubble3D val="0"/>
            <c:spPr>
              <a:solidFill>
                <a:srgbClr val="00B050"/>
              </a:solidFill>
            </c:spPr>
          </c:dPt>
          <c:dPt>
            <c:idx val="10"/>
            <c:bubble3D val="0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-1.8959885081932325E-2"/>
                  <c:y val="8.31752989354732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9.8065545860821449E-3"/>
                  <c:y val="1.68872942117297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3</c:f>
              <c:strCache>
                <c:ptCount val="12"/>
                <c:pt idx="0">
                  <c:v>Agricultura</c:v>
                </c:pt>
                <c:pt idx="1">
                  <c:v>Comercio</c:v>
                </c:pt>
                <c:pt idx="2">
                  <c:v>Binacionales</c:v>
                </c:pt>
                <c:pt idx="3">
                  <c:v>Industria</c:v>
                </c:pt>
                <c:pt idx="4">
                  <c:v>Gobierno</c:v>
                </c:pt>
                <c:pt idx="5">
                  <c:v>Ganadería</c:v>
                </c:pt>
                <c:pt idx="6">
                  <c:v>Servicio a los Hogares</c:v>
                </c:pt>
                <c:pt idx="7">
                  <c:v>Comunicaciones</c:v>
                </c:pt>
                <c:pt idx="8">
                  <c:v>Construcción</c:v>
                </c:pt>
                <c:pt idx="9">
                  <c:v>Transporte</c:v>
                </c:pt>
                <c:pt idx="10">
                  <c:v>Finanzas</c:v>
                </c:pt>
                <c:pt idx="11">
                  <c:v>Otros</c:v>
                </c:pt>
              </c:strCache>
            </c:strRef>
          </c:cat>
          <c:val>
            <c:numRef>
              <c:f>Sheet1!$B$2:$B$13</c:f>
              <c:numCache>
                <c:formatCode>0.00%</c:formatCode>
                <c:ptCount val="12"/>
                <c:pt idx="0">
                  <c:v>0.16400000000000001</c:v>
                </c:pt>
                <c:pt idx="1">
                  <c:v>0.156</c:v>
                </c:pt>
                <c:pt idx="2">
                  <c:v>0.11799999999999999</c:v>
                </c:pt>
                <c:pt idx="3">
                  <c:v>0.108</c:v>
                </c:pt>
                <c:pt idx="4">
                  <c:v>7.1999999999999995E-2</c:v>
                </c:pt>
                <c:pt idx="5">
                  <c:v>5.1999999999999998E-2</c:v>
                </c:pt>
                <c:pt idx="6">
                  <c:v>0.05</c:v>
                </c:pt>
                <c:pt idx="7">
                  <c:v>3.9E-2</c:v>
                </c:pt>
                <c:pt idx="8">
                  <c:v>3.5000000000000003E-2</c:v>
                </c:pt>
                <c:pt idx="9">
                  <c:v>3.4000000000000002E-2</c:v>
                </c:pt>
                <c:pt idx="10">
                  <c:v>2.4E-2</c:v>
                </c:pt>
                <c:pt idx="11">
                  <c:v>0.147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25379">
          <a:noFill/>
        </a:ln>
      </c:spPr>
    </c:plotArea>
    <c:legend>
      <c:legendPos val="r"/>
      <c:layout>
        <c:manualLayout>
          <c:xMode val="edge"/>
          <c:yMode val="edge"/>
          <c:x val="0.61353055564410763"/>
          <c:y val="2.4344389978358378E-2"/>
          <c:w val="0.29749478612470764"/>
          <c:h val="0.93509994955311571"/>
        </c:manualLayout>
      </c:layout>
      <c:overlay val="0"/>
      <c:txPr>
        <a:bodyPr/>
        <a:lstStyle/>
        <a:p>
          <a:pPr>
            <a:defRPr lang="es-ES" sz="9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74810907257285E-2"/>
          <c:y val="0.18628871391076121"/>
          <c:w val="0.84717065539221392"/>
          <c:h val="0.700511286089238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ax Revenue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1"/>
              <c:layout>
                <c:manualLayout>
                  <c:x val="-3.2840722495894961E-3"/>
                  <c:y val="-4.00000000000000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strCache>
            </c:strRef>
          </c:cat>
          <c:val>
            <c:numRef>
              <c:f>Hoja1!$B$2:$G$2</c:f>
              <c:numCache>
                <c:formatCode>_(* #,##0.00_);_(* \(#,##0.00\);_(* "-"??_);_(@_)</c:formatCode>
                <c:ptCount val="6"/>
                <c:pt idx="0">
                  <c:v>1447.148052310104</c:v>
                </c:pt>
                <c:pt idx="1">
                  <c:v>1755.77830633996</c:v>
                </c:pt>
                <c:pt idx="2">
                  <c:v>2001.4838250758698</c:v>
                </c:pt>
                <c:pt idx="3">
                  <c:v>2502.3266024398858</c:v>
                </c:pt>
                <c:pt idx="4">
                  <c:v>2950.1540124278695</c:v>
                </c:pt>
                <c:pt idx="5">
                  <c:v>33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8"/>
        <c:overlap val="19"/>
        <c:axId val="132166784"/>
        <c:axId val="132168320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Service/Tax Rev</c:v>
                </c:pt>
              </c:strCache>
            </c:strRef>
          </c:tx>
          <c:spPr>
            <a:ln w="25400">
              <a:solidFill>
                <a:schemeClr val="accent2"/>
              </a:solidFill>
            </a:ln>
          </c:spPr>
          <c:marker>
            <c:symbol val="square"/>
            <c:size val="4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0"/>
              <c:spPr/>
              <c:txPr>
                <a:bodyPr/>
                <a:lstStyle/>
                <a:p>
                  <a:pPr>
                    <a:defRPr lang="es-ES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9810066845092639E-2"/>
                  <c:y val="0.1655165354330708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9809987831070813E-2"/>
                  <c:y val="9.21832020997374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es-ES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strCache>
            </c:strRef>
          </c:cat>
          <c:val>
            <c:numRef>
              <c:f>Hoja1!$B$3:$G$3</c:f>
              <c:numCache>
                <c:formatCode>0.0%</c:formatCode>
                <c:ptCount val="6"/>
                <c:pt idx="0">
                  <c:v>0.2593581867925801</c:v>
                </c:pt>
                <c:pt idx="1">
                  <c:v>0.21702967932171752</c:v>
                </c:pt>
                <c:pt idx="2">
                  <c:v>0.22318824414760724</c:v>
                </c:pt>
                <c:pt idx="3">
                  <c:v>0.17408314135368083</c:v>
                </c:pt>
                <c:pt idx="4">
                  <c:v>0.14121296659259946</c:v>
                </c:pt>
                <c:pt idx="5">
                  <c:v>0.14199999999999999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174208"/>
        <c:axId val="132175744"/>
      </c:lineChart>
      <c:catAx>
        <c:axId val="13216678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lang="es-ES"/>
            </a:pPr>
            <a:endParaRPr lang="en-US"/>
          </a:p>
        </c:txPr>
        <c:crossAx val="132168320"/>
        <c:crosses val="autoZero"/>
        <c:auto val="1"/>
        <c:lblAlgn val="ctr"/>
        <c:lblOffset val="100"/>
        <c:noMultiLvlLbl val="0"/>
      </c:catAx>
      <c:valAx>
        <c:axId val="132168320"/>
        <c:scaling>
          <c:orientation val="minMax"/>
          <c:max val="3400"/>
          <c:min val="1000"/>
        </c:scaling>
        <c:delete val="0"/>
        <c:axPos val="l"/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lang="es-ES" sz="100">
                <a:solidFill>
                  <a:schemeClr val="bg1"/>
                </a:solidFill>
              </a:defRPr>
            </a:pPr>
            <a:endParaRPr lang="en-US"/>
          </a:p>
        </c:txPr>
        <c:crossAx val="132166784"/>
        <c:crosses val="autoZero"/>
        <c:crossBetween val="between"/>
      </c:valAx>
      <c:catAx>
        <c:axId val="132174208"/>
        <c:scaling>
          <c:orientation val="minMax"/>
        </c:scaling>
        <c:delete val="1"/>
        <c:axPos val="b"/>
        <c:majorTickMark val="out"/>
        <c:minorTickMark val="none"/>
        <c:tickLblPos val="none"/>
        <c:crossAx val="132175744"/>
        <c:crosses val="autoZero"/>
        <c:auto val="1"/>
        <c:lblAlgn val="ctr"/>
        <c:lblOffset val="100"/>
        <c:noMultiLvlLbl val="0"/>
      </c:catAx>
      <c:valAx>
        <c:axId val="132175744"/>
        <c:scaling>
          <c:orientation val="minMax"/>
          <c:max val="0.5"/>
          <c:min val="0"/>
        </c:scaling>
        <c:delete val="0"/>
        <c:axPos val="r"/>
        <c:numFmt formatCode="0.0%" sourceLinked="1"/>
        <c:majorTickMark val="none"/>
        <c:minorTickMark val="none"/>
        <c:tickLblPos val="none"/>
        <c:spPr>
          <a:ln>
            <a:noFill/>
          </a:ln>
        </c:spPr>
        <c:txPr>
          <a:bodyPr/>
          <a:lstStyle/>
          <a:p>
            <a:pPr>
              <a:defRPr lang="es-ES"/>
            </a:pPr>
            <a:endParaRPr lang="en-US"/>
          </a:p>
        </c:txPr>
        <c:crossAx val="132174208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1.7982493567614395E-2"/>
          <c:y val="6.0336482939632646E-2"/>
          <c:w val="0.34817190954578958"/>
          <c:h val="0.15932703412073501"/>
        </c:manualLayout>
      </c:layout>
      <c:overlay val="0"/>
      <c:txPr>
        <a:bodyPr/>
        <a:lstStyle/>
        <a:p>
          <a:pPr>
            <a:defRPr lang="es-ES" sz="9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898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580950359877631E-2"/>
          <c:y val="0"/>
          <c:w val="0.93310130292036519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3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 w="953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1.1978236393324718E-2"/>
                  <c:y val="2.20791104378560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>
                <c:manualLayout>
                  <c:x val="8.983677294993552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7967354589987106E-2"/>
                  <c:y val="2.9438813917141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delete val="1"/>
            </c:dLbl>
            <c:dLbl>
              <c:idx val="8"/>
              <c:delete val="1"/>
            </c:dLbl>
            <c:dLbl>
              <c:idx val="9"/>
              <c:layout>
                <c:manualLayout>
                  <c:x val="-8.9836772949935528E-3"/>
                  <c:y val="7.35970347928533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delete val="1"/>
            </c:dLbl>
            <c:dLbl>
              <c:idx val="12"/>
              <c:delete val="1"/>
            </c:dLbl>
            <c:dLbl>
              <c:idx val="14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20"/>
              <c:delete val="1"/>
            </c:dLbl>
            <c:dLbl>
              <c:idx val="22"/>
              <c:delete val="1"/>
            </c:dLbl>
            <c:dLbl>
              <c:idx val="24"/>
              <c:delete val="1"/>
            </c:dLbl>
            <c:dLbl>
              <c:idx val="26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2"/>
              <c:layout>
                <c:manualLayout>
                  <c:x val="2.395647278664945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3"/>
              <c:delete val="1"/>
            </c:dLbl>
            <c:dLbl>
              <c:idx val="36"/>
              <c:layout>
                <c:manualLayout>
                  <c:x val="1.1978236393324616E-2"/>
                  <c:y val="-1.47194069585706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7"/>
              <c:delete val="1"/>
            </c:dLbl>
            <c:numFmt formatCode="#,##0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40</c:f>
              <c:numCache>
                <c:formatCode>"'"yy</c:formatCode>
                <c:ptCount val="39"/>
                <c:pt idx="0">
                  <c:v>41275</c:v>
                </c:pt>
                <c:pt idx="1">
                  <c:v>41640</c:v>
                </c:pt>
                <c:pt idx="2">
                  <c:v>42005</c:v>
                </c:pt>
                <c:pt idx="3">
                  <c:v>42370</c:v>
                </c:pt>
                <c:pt idx="4">
                  <c:v>42736</c:v>
                </c:pt>
                <c:pt idx="5">
                  <c:v>43101</c:v>
                </c:pt>
                <c:pt idx="6">
                  <c:v>43466</c:v>
                </c:pt>
                <c:pt idx="7">
                  <c:v>43831</c:v>
                </c:pt>
                <c:pt idx="8">
                  <c:v>44197</c:v>
                </c:pt>
                <c:pt idx="9">
                  <c:v>44562</c:v>
                </c:pt>
                <c:pt idx="10">
                  <c:v>44927</c:v>
                </c:pt>
                <c:pt idx="11">
                  <c:v>45292</c:v>
                </c:pt>
                <c:pt idx="12">
                  <c:v>45658</c:v>
                </c:pt>
                <c:pt idx="13">
                  <c:v>46023</c:v>
                </c:pt>
                <c:pt idx="14">
                  <c:v>46388</c:v>
                </c:pt>
                <c:pt idx="15">
                  <c:v>46753</c:v>
                </c:pt>
                <c:pt idx="16">
                  <c:v>47119</c:v>
                </c:pt>
                <c:pt idx="17">
                  <c:v>47484</c:v>
                </c:pt>
                <c:pt idx="18">
                  <c:v>47849</c:v>
                </c:pt>
                <c:pt idx="19">
                  <c:v>48214</c:v>
                </c:pt>
                <c:pt idx="20">
                  <c:v>48580</c:v>
                </c:pt>
                <c:pt idx="21">
                  <c:v>48945</c:v>
                </c:pt>
                <c:pt idx="22">
                  <c:v>49310</c:v>
                </c:pt>
                <c:pt idx="23">
                  <c:v>49675</c:v>
                </c:pt>
                <c:pt idx="24">
                  <c:v>50041</c:v>
                </c:pt>
                <c:pt idx="25">
                  <c:v>50406</c:v>
                </c:pt>
                <c:pt idx="26">
                  <c:v>50771</c:v>
                </c:pt>
                <c:pt idx="27">
                  <c:v>51136</c:v>
                </c:pt>
                <c:pt idx="28">
                  <c:v>51502</c:v>
                </c:pt>
                <c:pt idx="29">
                  <c:v>51867</c:v>
                </c:pt>
                <c:pt idx="30">
                  <c:v>52232</c:v>
                </c:pt>
                <c:pt idx="31">
                  <c:v>52597</c:v>
                </c:pt>
                <c:pt idx="32">
                  <c:v>52963</c:v>
                </c:pt>
                <c:pt idx="33">
                  <c:v>53328</c:v>
                </c:pt>
                <c:pt idx="34">
                  <c:v>53693</c:v>
                </c:pt>
                <c:pt idx="35">
                  <c:v>54058</c:v>
                </c:pt>
                <c:pt idx="36">
                  <c:v>54424</c:v>
                </c:pt>
                <c:pt idx="37">
                  <c:v>54789</c:v>
                </c:pt>
                <c:pt idx="38">
                  <c:v>55154</c:v>
                </c:pt>
              </c:numCache>
            </c:numRef>
          </c:cat>
          <c:val>
            <c:numRef>
              <c:f>Hoja1!$B$2:$B$40</c:f>
              <c:numCache>
                <c:formatCode>_(* #,##0.00_);_(* \(#,##0.00\);_(* "-"??_);_(@_)</c:formatCode>
                <c:ptCount val="39"/>
                <c:pt idx="0">
                  <c:v>256.45173045118065</c:v>
                </c:pt>
                <c:pt idx="1">
                  <c:v>255.74079284613308</c:v>
                </c:pt>
                <c:pt idx="2">
                  <c:v>255.40165618891942</c:v>
                </c:pt>
                <c:pt idx="3">
                  <c:v>258.54874196121864</c:v>
                </c:pt>
                <c:pt idx="4">
                  <c:v>241.00722573441618</c:v>
                </c:pt>
                <c:pt idx="5">
                  <c:v>173.36417294170778</c:v>
                </c:pt>
                <c:pt idx="6">
                  <c:v>162.20382534403197</c:v>
                </c:pt>
                <c:pt idx="7">
                  <c:v>157.84401824917018</c:v>
                </c:pt>
                <c:pt idx="8">
                  <c:v>106.64261745265509</c:v>
                </c:pt>
                <c:pt idx="9">
                  <c:v>101.49503076043293</c:v>
                </c:pt>
                <c:pt idx="10">
                  <c:v>89.834648906432889</c:v>
                </c:pt>
                <c:pt idx="11">
                  <c:v>66.88174195916018</c:v>
                </c:pt>
                <c:pt idx="12">
                  <c:v>60.723697854160179</c:v>
                </c:pt>
                <c:pt idx="13">
                  <c:v>55.505474935698615</c:v>
                </c:pt>
                <c:pt idx="14">
                  <c:v>51.824572219270067</c:v>
                </c:pt>
                <c:pt idx="15">
                  <c:v>63.493806859270052</c:v>
                </c:pt>
                <c:pt idx="16">
                  <c:v>45.540861064895019</c:v>
                </c:pt>
                <c:pt idx="17">
                  <c:v>37.20185021270634</c:v>
                </c:pt>
                <c:pt idx="18">
                  <c:v>34.901004866039642</c:v>
                </c:pt>
                <c:pt idx="19">
                  <c:v>23.822985066039692</c:v>
                </c:pt>
                <c:pt idx="20">
                  <c:v>20.503400369372994</c:v>
                </c:pt>
                <c:pt idx="21">
                  <c:v>18.687891132230167</c:v>
                </c:pt>
                <c:pt idx="22">
                  <c:v>17.806823070124889</c:v>
                </c:pt>
                <c:pt idx="23">
                  <c:v>17.311086809222633</c:v>
                </c:pt>
                <c:pt idx="24">
                  <c:v>5.6444201425559655</c:v>
                </c:pt>
                <c:pt idx="25">
                  <c:v>5.6312622478191301</c:v>
                </c:pt>
                <c:pt idx="26">
                  <c:v>3.0216137296048378</c:v>
                </c:pt>
                <c:pt idx="27">
                  <c:v>1.1965799096048395</c:v>
                </c:pt>
                <c:pt idx="28">
                  <c:v>1.1965799096048395</c:v>
                </c:pt>
                <c:pt idx="29">
                  <c:v>0.86717554335483915</c:v>
                </c:pt>
                <c:pt idx="30">
                  <c:v>0.86717554335483915</c:v>
                </c:pt>
                <c:pt idx="31">
                  <c:v>0.86717554335483915</c:v>
                </c:pt>
                <c:pt idx="32">
                  <c:v>0.46422312935483895</c:v>
                </c:pt>
                <c:pt idx="33">
                  <c:v>0.46422312935483895</c:v>
                </c:pt>
                <c:pt idx="34">
                  <c:v>0</c:v>
                </c:pt>
                <c:pt idx="35">
                  <c:v>14.144988210000001</c:v>
                </c:pt>
                <c:pt idx="36">
                  <c:v>10.493944450000004</c:v>
                </c:pt>
                <c:pt idx="37">
                  <c:v>0</c:v>
                </c:pt>
                <c:pt idx="38">
                  <c:v>1.9764261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2196608"/>
        <c:axId val="132235264"/>
      </c:barChart>
      <c:dateAx>
        <c:axId val="132196608"/>
        <c:scaling>
          <c:orientation val="minMax"/>
        </c:scaling>
        <c:delete val="0"/>
        <c:axPos val="b"/>
        <c:numFmt formatCode="&quot;'&quot;yy" sourceLinked="1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32235264"/>
        <c:crosses val="autoZero"/>
        <c:auto val="1"/>
        <c:lblOffset val="100"/>
        <c:baseTimeUnit val="years"/>
      </c:dateAx>
      <c:valAx>
        <c:axId val="132235264"/>
        <c:scaling>
          <c:orientation val="minMax"/>
          <c:max val="300"/>
          <c:min val="0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_(* #,##0.00_);_(* \(#,##0.00\);_(* &quot;-&quot;??_);_(@_)" sourceLinked="1"/>
        <c:majorTickMark val="out"/>
        <c:minorTickMark val="none"/>
        <c:tickLblPos val="none"/>
        <c:crossAx val="1321966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1">
          <a:latin typeface="+mj-lt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251281138458898"/>
          <c:y val="5.1400758709537794E-2"/>
          <c:w val="0.78627506595504593"/>
          <c:h val="0.71361516285874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ickets!$J$2</c:f>
              <c:strCache>
                <c:ptCount val="1"/>
                <c:pt idx="0">
                  <c:v>Indication</c:v>
                </c:pt>
              </c:strCache>
            </c:strRef>
          </c:tx>
          <c:spPr>
            <a:solidFill>
              <a:srgbClr val="F07F09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lang="es-ES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ickets!$I$3:$I$8</c:f>
              <c:strCache>
                <c:ptCount val="6"/>
                <c:pt idx="0">
                  <c:v>&lt; 10</c:v>
                </c:pt>
                <c:pt idx="1">
                  <c:v>10 to 25</c:v>
                </c:pt>
                <c:pt idx="2">
                  <c:v>&gt;25 to 50</c:v>
                </c:pt>
                <c:pt idx="3">
                  <c:v>&gt;50 to 75</c:v>
                </c:pt>
                <c:pt idx="4">
                  <c:v>&gt;75 to 100</c:v>
                </c:pt>
                <c:pt idx="5">
                  <c:v>&gt;100 to 500</c:v>
                </c:pt>
              </c:strCache>
            </c:strRef>
          </c:cat>
          <c:val>
            <c:numRef>
              <c:f>Tickets!$J$3:$J$8</c:f>
              <c:numCache>
                <c:formatCode>"$"#,##0.0_%_);\("$"#,##0.0\)_%;"$"#,##0.0_%_);@_%_)</c:formatCode>
                <c:ptCount val="6"/>
                <c:pt idx="0">
                  <c:v>424250000</c:v>
                </c:pt>
                <c:pt idx="1">
                  <c:v>688800000</c:v>
                </c:pt>
                <c:pt idx="2">
                  <c:v>1349900000</c:v>
                </c:pt>
                <c:pt idx="3">
                  <c:v>397900000</c:v>
                </c:pt>
                <c:pt idx="4">
                  <c:v>556200000</c:v>
                </c:pt>
                <c:pt idx="5">
                  <c:v>2009000000</c:v>
                </c:pt>
              </c:numCache>
            </c:numRef>
          </c:val>
        </c:ser>
        <c:ser>
          <c:idx val="1"/>
          <c:order val="1"/>
          <c:tx>
            <c:strRef>
              <c:f>Tickets!$K$2</c:f>
              <c:strCache>
                <c:ptCount val="1"/>
                <c:pt idx="0">
                  <c:v>Allocation</c:v>
                </c:pt>
              </c:strCache>
            </c:strRef>
          </c:tx>
          <c:spPr>
            <a:solidFill>
              <a:srgbClr val="9F2936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6.03015075376885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6.03015075376885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6.03015075376885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6604068201937902E-3"/>
                  <c:y val="-4.28696204796154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7.3701842546063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3.48641373848328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ickets!$I$3:$I$8</c:f>
              <c:strCache>
                <c:ptCount val="6"/>
                <c:pt idx="0">
                  <c:v>&lt; 10</c:v>
                </c:pt>
                <c:pt idx="1">
                  <c:v>10 to 25</c:v>
                </c:pt>
                <c:pt idx="2">
                  <c:v>&gt;25 to 50</c:v>
                </c:pt>
                <c:pt idx="3">
                  <c:v>&gt;50 to 75</c:v>
                </c:pt>
                <c:pt idx="4">
                  <c:v>&gt;75 to 100</c:v>
                </c:pt>
                <c:pt idx="5">
                  <c:v>&gt;100 to 500</c:v>
                </c:pt>
              </c:strCache>
            </c:strRef>
          </c:cat>
          <c:val>
            <c:numRef>
              <c:f>Tickets!$K$3:$K$8</c:f>
              <c:numCache>
                <c:formatCode>"$"#,##0.0_%_);\("$"#,##0.0\)_%;"$"#,##0.0_%_);@_%_)</c:formatCode>
                <c:ptCount val="6"/>
                <c:pt idx="0">
                  <c:v>190000000</c:v>
                </c:pt>
                <c:pt idx="1">
                  <c:v>72000000</c:v>
                </c:pt>
                <c:pt idx="2">
                  <c:v>38000000</c:v>
                </c:pt>
                <c:pt idx="3">
                  <c:v>0</c:v>
                </c:pt>
                <c:pt idx="4">
                  <c:v>20000000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overlap val="100"/>
        <c:axId val="132578688"/>
        <c:axId val="119739904"/>
      </c:barChart>
      <c:catAx>
        <c:axId val="13257868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lang="es-ES" b="1"/>
                </a:pPr>
                <a:r>
                  <a:rPr lang="en-US" b="1" dirty="0" smtClean="0"/>
                  <a:t>Size of the bill (US</a:t>
                </a:r>
                <a:r>
                  <a:rPr lang="en-US" b="1" dirty="0"/>
                  <a:t>$ MM)</a:t>
                </a:r>
              </a:p>
            </c:rich>
          </c:tx>
          <c:layout>
            <c:manualLayout>
              <c:xMode val="edge"/>
              <c:yMode val="edge"/>
              <c:x val="0.43754365009392793"/>
              <c:y val="0.8815818167485751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s-ES"/>
            </a:pPr>
            <a:endParaRPr lang="en-US"/>
          </a:p>
        </c:txPr>
        <c:crossAx val="119739904"/>
        <c:crosses val="autoZero"/>
        <c:auto val="1"/>
        <c:lblAlgn val="ctr"/>
        <c:lblOffset val="100"/>
        <c:noMultiLvlLbl val="0"/>
      </c:catAx>
      <c:valAx>
        <c:axId val="119739904"/>
        <c:scaling>
          <c:orientation val="minMax"/>
          <c:max val="3000000000"/>
          <c:min val="0"/>
        </c:scaling>
        <c:delete val="0"/>
        <c:axPos val="l"/>
        <c:numFmt formatCode="&quot;$&quot;#,##0_%_);\(&quot;$&quot;#,##0\)_%;&quot;$&quot;#,##0.0_%_);@_%_)" sourceLinked="0"/>
        <c:majorTickMark val="out"/>
        <c:minorTickMark val="none"/>
        <c:tickLblPos val="nextTo"/>
        <c:txPr>
          <a:bodyPr/>
          <a:lstStyle/>
          <a:p>
            <a:pPr>
              <a:defRPr lang="es-ES"/>
            </a:pPr>
            <a:endParaRPr lang="en-US"/>
          </a:p>
        </c:txPr>
        <c:crossAx val="132578688"/>
        <c:crosses val="autoZero"/>
        <c:crossBetween val="between"/>
        <c:majorUnit val="500000000"/>
        <c:minorUnit val="40000000"/>
        <c:dispUnits>
          <c:builtInUnit val="millions"/>
          <c:dispUnitsLbl>
            <c:layout>
              <c:manualLayout>
                <c:xMode val="edge"/>
                <c:yMode val="edge"/>
                <c:x val="9.8544523632671454E-5"/>
                <c:y val="8.5557072667756834E-2"/>
              </c:manualLayout>
            </c:layout>
            <c:tx>
              <c:rich>
                <a:bodyPr/>
                <a:lstStyle/>
                <a:p>
                  <a:pPr algn="ctr" rtl="0">
                    <a:defRPr lang="es-ES" b="1"/>
                  </a:pPr>
                  <a:r>
                    <a:rPr lang="en-US" b="1" dirty="0" smtClean="0"/>
                    <a:t>Total Amount of orders  (US$ </a:t>
                  </a:r>
                  <a:r>
                    <a:rPr lang="en-US" b="1" dirty="0"/>
                    <a:t>MM)</a:t>
                  </a:r>
                </a:p>
              </c:rich>
            </c:tx>
          </c:dispUnitsLbl>
        </c:dispUnits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0102414722599499"/>
          <c:y val="5.4445148338474289E-2"/>
          <c:w val="0.16778075566446701"/>
          <c:h val="0.168605253014702"/>
        </c:manualLayout>
      </c:layout>
      <c:overlay val="0"/>
      <c:txPr>
        <a:bodyPr/>
        <a:lstStyle/>
        <a:p>
          <a:pPr>
            <a:defRPr lang="es-ES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 algn="ctr" rtl="0">
        <a:defRPr lang="en-US" sz="800" b="0" i="0" u="none" strike="noStrike" kern="1200" baseline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449348539817611E-2"/>
          <c:y val="7.6013708718064912E-2"/>
          <c:w val="0.93310130292036519"/>
          <c:h val="0.761192431881266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08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6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Hoja1!$B$2:$B$6</c:f>
              <c:numCache>
                <c:formatCode>0.0%</c:formatCode>
                <c:ptCount val="5"/>
                <c:pt idx="0">
                  <c:v>0.41200000000000003</c:v>
                </c:pt>
                <c:pt idx="1">
                  <c:v>0.377</c:v>
                </c:pt>
                <c:pt idx="2">
                  <c:v>0.35100000000000003</c:v>
                </c:pt>
                <c:pt idx="3">
                  <c:v>0.34700000000000003</c:v>
                </c:pt>
                <c:pt idx="4">
                  <c:v>0.32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3579904"/>
        <c:axId val="133581440"/>
      </c:barChart>
      <c:catAx>
        <c:axId val="133579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3581440"/>
        <c:crosses val="autoZero"/>
        <c:auto val="1"/>
        <c:lblAlgn val="ctr"/>
        <c:lblOffset val="100"/>
        <c:noMultiLvlLbl val="0"/>
      </c:catAx>
      <c:valAx>
        <c:axId val="133581440"/>
        <c:scaling>
          <c:orientation val="minMax"/>
          <c:min val="0.30000000000000016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.0%" sourceLinked="1"/>
        <c:majorTickMark val="out"/>
        <c:minorTickMark val="none"/>
        <c:tickLblPos val="none"/>
        <c:spPr>
          <a:ln>
            <a:noFill/>
          </a:ln>
        </c:spPr>
        <c:crossAx val="1335799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8">
          <a:latin typeface="+mj-lt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816997345122616E-2"/>
          <c:y val="2.5653715243760852E-2"/>
          <c:w val="0.90573365411506002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rgbClr val="2563C1"/>
              </a:solidFill>
            </c:spPr>
          </c:dPt>
          <c:dLbls>
            <c:numFmt formatCode="_(* #,##0.0%_);_(* \(#,##0.0%\);_(* &quot;-&quot;_);_(@_)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8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Hoja1!$B$2:$B$8</c:f>
              <c:numCache>
                <c:formatCode>#,#00%</c:formatCode>
                <c:ptCount val="7"/>
                <c:pt idx="0">
                  <c:v>3.5000000000000003E-2</c:v>
                </c:pt>
                <c:pt idx="1">
                  <c:v>4.4999999999999998E-2</c:v>
                </c:pt>
                <c:pt idx="2">
                  <c:v>-5.6000000000000001E-2</c:v>
                </c:pt>
                <c:pt idx="3">
                  <c:v>0.112</c:v>
                </c:pt>
                <c:pt idx="4">
                  <c:v>2.5999999999999999E-2</c:v>
                </c:pt>
                <c:pt idx="5" formatCode="0.00%">
                  <c:v>-2.9000000000000001E-2</c:v>
                </c:pt>
                <c:pt idx="6" formatCode="0.00%">
                  <c:v>0.1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3606016"/>
        <c:axId val="133611904"/>
      </c:barChart>
      <c:catAx>
        <c:axId val="133606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3611904"/>
        <c:crosses val="autoZero"/>
        <c:auto val="1"/>
        <c:lblAlgn val="ctr"/>
        <c:lblOffset val="100"/>
        <c:noMultiLvlLbl val="0"/>
      </c:catAx>
      <c:valAx>
        <c:axId val="133611904"/>
        <c:scaling>
          <c:orientation val="minMax"/>
          <c:max val="0.14000000000000001"/>
          <c:min val="-8.0000000000000043E-2"/>
        </c:scaling>
        <c:delete val="1"/>
        <c:axPos val="l"/>
        <c:numFmt formatCode="#,#00%" sourceLinked="1"/>
        <c:majorTickMark val="out"/>
        <c:minorTickMark val="none"/>
        <c:tickLblPos val="nextTo"/>
        <c:crossAx val="1336060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en-U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449348539817611E-2"/>
          <c:y val="2.5653715243760852E-2"/>
          <c:w val="0.93310130292036519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08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B$2:$B$7</c:f>
              <c:numCache>
                <c:formatCode>#,#00%</c:formatCode>
                <c:ptCount val="6"/>
                <c:pt idx="0">
                  <c:v>0.09</c:v>
                </c:pt>
                <c:pt idx="1">
                  <c:v>9.5000000000000001E-2</c:v>
                </c:pt>
                <c:pt idx="2">
                  <c:v>6.6000000000000003E-2</c:v>
                </c:pt>
                <c:pt idx="3">
                  <c:v>6.4000000000000001E-2</c:v>
                </c:pt>
                <c:pt idx="4">
                  <c:v>9.8000000000000004E-2</c:v>
                </c:pt>
                <c:pt idx="5">
                  <c:v>4.6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3652480"/>
        <c:axId val="133654016"/>
      </c:barChart>
      <c:catAx>
        <c:axId val="133652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3654016"/>
        <c:crosses val="autoZero"/>
        <c:auto val="1"/>
        <c:lblAlgn val="ctr"/>
        <c:lblOffset val="100"/>
        <c:noMultiLvlLbl val="0"/>
      </c:catAx>
      <c:valAx>
        <c:axId val="133654016"/>
        <c:scaling>
          <c:orientation val="minMax"/>
          <c:max val="0.12000000000000002"/>
          <c:min val="4.0000000000000008E-2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00%" sourceLinked="1"/>
        <c:majorTickMark val="out"/>
        <c:minorTickMark val="none"/>
        <c:tickLblPos val="none"/>
        <c:spPr>
          <a:ln>
            <a:noFill/>
          </a:ln>
        </c:spPr>
        <c:crossAx val="133652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8">
          <a:latin typeface="+mj-lt"/>
        </a:defRPr>
      </a:pPr>
      <a:endParaRPr lang="en-U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816997345122616E-2"/>
          <c:y val="2.5653715243760852E-2"/>
          <c:w val="0.90573365411506002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5.9</a:t>
                    </a:r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B$2:$B$7</c:f>
              <c:numCache>
                <c:formatCode>0.0%</c:formatCode>
                <c:ptCount val="6"/>
                <c:pt idx="0">
                  <c:v>5.5E-2</c:v>
                </c:pt>
                <c:pt idx="1">
                  <c:v>5.7000000000000002E-2</c:v>
                </c:pt>
                <c:pt idx="2">
                  <c:v>6.4000000000000001E-2</c:v>
                </c:pt>
                <c:pt idx="3">
                  <c:v>0.06</c:v>
                </c:pt>
                <c:pt idx="4">
                  <c:v>0.06</c:v>
                </c:pt>
                <c:pt idx="5" formatCode="0.00%">
                  <c:v>5.89999999999999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3719168"/>
        <c:axId val="133720704"/>
      </c:barChart>
      <c:catAx>
        <c:axId val="133719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3720704"/>
        <c:crosses val="autoZero"/>
        <c:auto val="1"/>
        <c:lblAlgn val="ctr"/>
        <c:lblOffset val="100"/>
        <c:noMultiLvlLbl val="0"/>
      </c:catAx>
      <c:valAx>
        <c:axId val="133720704"/>
        <c:scaling>
          <c:orientation val="minMax"/>
          <c:max val="9.0000000000000024E-2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1337191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9">
          <a:latin typeface="+mj-lt"/>
        </a:defRPr>
      </a:pPr>
      <a:endParaRPr lang="en-US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797369224493"/>
          <c:y val="4.3111346975045053E-2"/>
          <c:w val="0.83063189504718593"/>
          <c:h val="0.79154394885592261"/>
        </c:manualLayout>
      </c:layout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Agriculture GDP Growth</c:v>
                </c:pt>
              </c:strCache>
            </c:strRef>
          </c:tx>
          <c:spPr>
            <a:ln w="25386">
              <a:solidFill>
                <a:srgbClr val="DD0806"/>
              </a:solidFill>
              <a:prstDash val="solid"/>
            </a:ln>
          </c:spPr>
          <c:marker>
            <c:symbol val="none"/>
          </c:marker>
          <c:dLbls>
            <c:spPr>
              <a:noFill/>
              <a:ln w="25386">
                <a:noFill/>
              </a:ln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M$1</c:f>
              <c:strCache>
                <c:ptCount val="1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E</c:v>
                </c:pt>
              </c:strCache>
            </c:strRef>
          </c:cat>
          <c:val>
            <c:numRef>
              <c:f>Hoja1!$B$2:$M$2</c:f>
              <c:numCache>
                <c:formatCode>0.0%</c:formatCode>
                <c:ptCount val="12"/>
                <c:pt idx="0">
                  <c:v>4.861912435561222E-2</c:v>
                </c:pt>
                <c:pt idx="1">
                  <c:v>0.11771552984443678</c:v>
                </c:pt>
                <c:pt idx="2">
                  <c:v>2.9514906738615343E-2</c:v>
                </c:pt>
                <c:pt idx="3">
                  <c:v>-5.4233756915149756E-2</c:v>
                </c:pt>
                <c:pt idx="4">
                  <c:v>1.2210754739963248E-2</c:v>
                </c:pt>
                <c:pt idx="5">
                  <c:v>0.24100000000220767</c:v>
                </c:pt>
                <c:pt idx="6">
                  <c:v>0.10499999987250397</c:v>
                </c:pt>
                <c:pt idx="7">
                  <c:v>-0.24999999998758016</c:v>
                </c:pt>
                <c:pt idx="8">
                  <c:v>0.4985000001361819</c:v>
                </c:pt>
                <c:pt idx="9">
                  <c:v>6.9999999902759624E-2</c:v>
                </c:pt>
                <c:pt idx="10">
                  <c:v>-0.28299999999999992</c:v>
                </c:pt>
                <c:pt idx="11">
                  <c:v>0.4599999999999999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Total GDP Growth</c:v>
                </c:pt>
              </c:strCache>
            </c:strRef>
          </c:tx>
          <c:spPr>
            <a:ln w="25386">
              <a:solidFill>
                <a:srgbClr val="0000D4"/>
              </a:solidFill>
              <a:prstDash val="solid"/>
            </a:ln>
          </c:spPr>
          <c:marker>
            <c:symbol val="none"/>
          </c:marker>
          <c:dLbls>
            <c:spPr>
              <a:noFill/>
              <a:ln w="25386">
                <a:noFill/>
              </a:ln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M$1</c:f>
              <c:strCache>
                <c:ptCount val="1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E</c:v>
                </c:pt>
              </c:strCache>
            </c:strRef>
          </c:cat>
          <c:val>
            <c:numRef>
              <c:f>Hoja1!$B$3:$M$3</c:f>
              <c:numCache>
                <c:formatCode>0.0%</c:formatCode>
                <c:ptCount val="12"/>
                <c:pt idx="0">
                  <c:v>-2.1404395033330914E-4</c:v>
                </c:pt>
                <c:pt idx="1">
                  <c:v>4.3207454855496152E-2</c:v>
                </c:pt>
                <c:pt idx="2">
                  <c:v>4.0574183636285177E-2</c:v>
                </c:pt>
                <c:pt idx="3">
                  <c:v>2.1334906646040652E-2</c:v>
                </c:pt>
                <c:pt idx="4">
                  <c:v>4.8071171927070777E-2</c:v>
                </c:pt>
                <c:pt idx="5">
                  <c:v>5.4216228722020476E-2</c:v>
                </c:pt>
                <c:pt idx="6">
                  <c:v>6.3591207932471194E-2</c:v>
                </c:pt>
                <c:pt idx="7">
                  <c:v>-3.9656954640880815E-2</c:v>
                </c:pt>
                <c:pt idx="8">
                  <c:v>0.13093001522724301</c:v>
                </c:pt>
                <c:pt idx="9">
                  <c:v>4.3406881646874229E-2</c:v>
                </c:pt>
                <c:pt idx="10">
                  <c:v>-1.2131018921478387E-2</c:v>
                </c:pt>
                <c:pt idx="11">
                  <c:v>0.1296141752507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860160"/>
        <c:axId val="132874240"/>
      </c:lineChart>
      <c:catAx>
        <c:axId val="13286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3174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sz="1199"/>
            </a:pPr>
            <a:endParaRPr lang="en-US"/>
          </a:p>
        </c:txPr>
        <c:crossAx val="132874240"/>
        <c:crosses val="autoZero"/>
        <c:auto val="1"/>
        <c:lblAlgn val="ctr"/>
        <c:lblOffset val="100"/>
        <c:noMultiLvlLbl val="0"/>
      </c:catAx>
      <c:valAx>
        <c:axId val="13287424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ln w="3174">
            <a:solidFill>
              <a:srgbClr val="000000"/>
            </a:solidFill>
            <a:prstDash val="solid"/>
          </a:ln>
        </c:spPr>
        <c:crossAx val="132860160"/>
        <c:crosses val="autoZero"/>
        <c:crossBetween val="between"/>
      </c:valAx>
      <c:spPr>
        <a:noFill/>
        <a:ln w="25397">
          <a:noFill/>
        </a:ln>
      </c:spPr>
    </c:plotArea>
    <c:legend>
      <c:legendPos val="r"/>
      <c:layout>
        <c:manualLayout>
          <c:xMode val="edge"/>
          <c:yMode val="edge"/>
          <c:x val="0.29356721739262387"/>
          <c:y val="0.92737437940739342"/>
          <c:w val="0.41052636050551494"/>
          <c:h val="7.2625620592606591E-2"/>
        </c:manualLayout>
      </c:layout>
      <c:overlay val="0"/>
      <c:spPr>
        <a:noFill/>
        <a:ln w="25386">
          <a:noFill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>
          <a:latin typeface="+mj-lt"/>
          <a:cs typeface="Times New Roman" pitchFamily="18" charset="0"/>
        </a:defRPr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67185127578441E-2"/>
          <c:y val="3.8213346665185416E-2"/>
          <c:w val="0.95002870051475774"/>
          <c:h val="0.616973092348126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06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5.01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800" dirty="0"/>
                      <a:t> </a:t>
                    </a:r>
                    <a:r>
                      <a:rPr lang="en-US" sz="800" dirty="0" smtClean="0"/>
                      <a:t>4.408   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25</c:f>
              <c:strCach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jul 13 **</c:v>
                </c:pt>
              </c:strCache>
            </c:strRef>
          </c:cat>
          <c:val>
            <c:numRef>
              <c:f>Hoja1!$B$2:$B$25</c:f>
              <c:numCache>
                <c:formatCode>#,##0</c:formatCode>
                <c:ptCount val="7"/>
                <c:pt idx="0">
                  <c:v>5017.2454444156883</c:v>
                </c:pt>
                <c:pt idx="1">
                  <c:v>4362.9179338616432</c:v>
                </c:pt>
                <c:pt idx="2">
                  <c:v>4958.7816695011334</c:v>
                </c:pt>
                <c:pt idx="3">
                  <c:v>4739.9877717577565</c:v>
                </c:pt>
                <c:pt idx="4">
                  <c:v>4183.1274973516429</c:v>
                </c:pt>
                <c:pt idx="5">
                  <c:v>4407.821978197202</c:v>
                </c:pt>
                <c:pt idx="6">
                  <c:v>4229.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2981504"/>
        <c:axId val="132983040"/>
      </c:barChart>
      <c:catAx>
        <c:axId val="13298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2983040"/>
        <c:crosses val="autoZero"/>
        <c:auto val="1"/>
        <c:lblAlgn val="ctr"/>
        <c:lblOffset val="100"/>
        <c:noMultiLvlLbl val="0"/>
      </c:catAx>
      <c:valAx>
        <c:axId val="13298304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#0" sourceLinked="1"/>
        <c:majorTickMark val="out"/>
        <c:minorTickMark val="none"/>
        <c:tickLblPos val="none"/>
        <c:spPr>
          <a:ln>
            <a:noFill/>
          </a:ln>
        </c:spPr>
        <c:crossAx val="132981504"/>
        <c:crosses val="autoZero"/>
        <c:crossBetween val="between"/>
      </c:valAx>
      <c:spPr>
        <a:noFill/>
        <a:ln w="25349">
          <a:noFill/>
        </a:ln>
      </c:spPr>
    </c:plotArea>
    <c:plotVisOnly val="1"/>
    <c:dispBlanksAs val="gap"/>
    <c:showDLblsOverMax val="0"/>
  </c:chart>
  <c:txPr>
    <a:bodyPr/>
    <a:lstStyle/>
    <a:p>
      <a:pPr>
        <a:defRPr sz="898">
          <a:latin typeface="+mj-lt"/>
          <a:cs typeface="Times New Roman" pitchFamily="18" charset="0"/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716239111609682E-2"/>
          <c:y val="0"/>
          <c:w val="0.94854464166555452"/>
          <c:h val="0.828023214867949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1"/>
              <c:layout>
                <c:manualLayout>
                  <c:x val="8.4745762711864406E-3"/>
                  <c:y val="1.37221269296740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4743538413630491E-3"/>
                  <c:y val="6.86116726442777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1299435028248588E-2"/>
                  <c:y val="6.6253668079556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8.4745762711864406E-3"/>
                  <c:y val="6.6253668079556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6.62536680795571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1299435028248588E-2"/>
                  <c:y val="-1.46650146723182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8.4745762711864406E-3"/>
                  <c:y val="2.08187805673296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8.4745762711864406E-3"/>
                  <c:y val="6.6253668079556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2.8248587570621469E-3"/>
                  <c:y val="6.6253668079556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8.4745762711864406E-3"/>
                  <c:y val="2.65014672318226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5.649717514124397E-3"/>
                  <c:y val="1.9876100423866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1.412429378531073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1.1299435028248588E-2"/>
                  <c:y val="2.74442538593482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1.1975621691356377E-3"/>
                  <c:y val="2.74442538593481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22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 formatCode="mmm\-yy">
                  <c:v>41456</c:v>
                </c:pt>
              </c:numCache>
            </c:numRef>
          </c:cat>
          <c:val>
            <c:numRef>
              <c:f>Hoja1!$B$2:$B$22</c:f>
              <c:numCache>
                <c:formatCode>0.0%</c:formatCode>
                <c:ptCount val="7"/>
                <c:pt idx="0">
                  <c:v>0.06</c:v>
                </c:pt>
                <c:pt idx="1">
                  <c:v>7.4999999999999997E-2</c:v>
                </c:pt>
                <c:pt idx="2">
                  <c:v>1.9E-2</c:v>
                </c:pt>
                <c:pt idx="3">
                  <c:v>7.1999999999999995E-2</c:v>
                </c:pt>
                <c:pt idx="4">
                  <c:v>4.9000000000000002E-2</c:v>
                </c:pt>
                <c:pt idx="5">
                  <c:v>0.04</c:v>
                </c:pt>
                <c:pt idx="6">
                  <c:v>2.1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3035904"/>
        <c:axId val="133037440"/>
      </c:barChart>
      <c:catAx>
        <c:axId val="13303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33037440"/>
        <c:crosses val="autoZero"/>
        <c:auto val="1"/>
        <c:lblAlgn val="ctr"/>
        <c:lblOffset val="100"/>
        <c:noMultiLvlLbl val="0"/>
      </c:catAx>
      <c:valAx>
        <c:axId val="133037440"/>
        <c:scaling>
          <c:orientation val="minMax"/>
          <c:max val="9.0000000000000024E-2"/>
        </c:scaling>
        <c:delete val="1"/>
        <c:axPos val="l"/>
        <c:numFmt formatCode="0.0%" sourceLinked="1"/>
        <c:majorTickMark val="out"/>
        <c:minorTickMark val="none"/>
        <c:tickLblPos val="nextTo"/>
        <c:crossAx val="1330359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9">
          <a:latin typeface="+mj-lt"/>
          <a:cs typeface="Times New Roman" pitchFamily="18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74810907257327E-2"/>
          <c:y val="7.2470961264070183E-2"/>
          <c:w val="0.84388667462874611"/>
          <c:h val="0.71124959044549019"/>
        </c:manualLayout>
      </c:layout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Deuda Total (% PIB)</c:v>
                </c:pt>
              </c:strCache>
            </c:strRef>
          </c:tx>
          <c:dLbls>
            <c:numFmt formatCode="0.0%" sourceLinked="0"/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strCache>
            </c:strRef>
          </c:cat>
          <c:val>
            <c:numRef>
              <c:f>Hoja1!$B$2:$G$2</c:f>
              <c:numCache>
                <c:formatCode>0.0%</c:formatCode>
                <c:ptCount val="6"/>
                <c:pt idx="0">
                  <c:v>0.17899999999999999</c:v>
                </c:pt>
                <c:pt idx="1">
                  <c:v>0.13800000000000001</c:v>
                </c:pt>
                <c:pt idx="2">
                  <c:v>0.17</c:v>
                </c:pt>
                <c:pt idx="3">
                  <c:v>0.14199999999999999</c:v>
                </c:pt>
                <c:pt idx="4">
                  <c:v>0.106</c:v>
                </c:pt>
                <c:pt idx="5">
                  <c:v>0.1400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950464"/>
        <c:axId val="131952000"/>
      </c:line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Deuda Externa (% PIB)</c:v>
                </c:pt>
              </c:strCache>
            </c:strRef>
          </c:tx>
          <c:spPr>
            <a:ln w="34866">
              <a:solidFill>
                <a:schemeClr val="accent2"/>
              </a:solidFill>
            </a:ln>
          </c:spPr>
          <c:marker>
            <c:symbol val="square"/>
            <c:size val="4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strCache>
            </c:strRef>
          </c:cat>
          <c:val>
            <c:numRef>
              <c:f>Hoja1!$B$3:$G$3</c:f>
              <c:numCache>
                <c:formatCode>0.0%</c:formatCode>
                <c:ptCount val="6"/>
                <c:pt idx="0">
                  <c:v>0.154</c:v>
                </c:pt>
                <c:pt idx="1">
                  <c:v>0.11899999999999999</c:v>
                </c:pt>
                <c:pt idx="2">
                  <c:v>0.13900000000000001</c:v>
                </c:pt>
                <c:pt idx="3">
                  <c:v>0.11700000000000001</c:v>
                </c:pt>
                <c:pt idx="4">
                  <c:v>8.7999999999999995E-2</c:v>
                </c:pt>
                <c:pt idx="5">
                  <c:v>8.7999999999999995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961984"/>
        <c:axId val="131963520"/>
      </c:lineChart>
      <c:catAx>
        <c:axId val="131950464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txPr>
          <a:bodyPr/>
          <a:lstStyle/>
          <a:p>
            <a:pPr>
              <a:defRPr lang="en-US" sz="1000"/>
            </a:pPr>
            <a:endParaRPr lang="en-US"/>
          </a:p>
        </c:txPr>
        <c:crossAx val="131952000"/>
        <c:crosses val="autoZero"/>
        <c:auto val="1"/>
        <c:lblAlgn val="ctr"/>
        <c:lblOffset val="100"/>
        <c:noMultiLvlLbl val="0"/>
      </c:catAx>
      <c:valAx>
        <c:axId val="131952000"/>
        <c:scaling>
          <c:orientation val="minMax"/>
          <c:max val="0.2"/>
          <c:min val="0"/>
        </c:scaling>
        <c:delete val="0"/>
        <c:axPos val="l"/>
        <c:numFmt formatCode="0.0%" sourceLinked="1"/>
        <c:majorTickMark val="none"/>
        <c:minorTickMark val="none"/>
        <c:tickLblPos val="none"/>
        <c:spPr>
          <a:noFill/>
          <a:ln>
            <a:noFill/>
          </a:ln>
        </c:spPr>
        <c:txPr>
          <a:bodyPr/>
          <a:lstStyle/>
          <a:p>
            <a:pPr>
              <a:defRPr lang="en-US"/>
            </a:pPr>
            <a:endParaRPr lang="en-US"/>
          </a:p>
        </c:txPr>
        <c:crossAx val="131950464"/>
        <c:crosses val="autoZero"/>
        <c:crossBetween val="between"/>
      </c:valAx>
      <c:catAx>
        <c:axId val="131961984"/>
        <c:scaling>
          <c:orientation val="minMax"/>
        </c:scaling>
        <c:delete val="1"/>
        <c:axPos val="b"/>
        <c:majorTickMark val="out"/>
        <c:minorTickMark val="none"/>
        <c:tickLblPos val="none"/>
        <c:crossAx val="131963520"/>
        <c:crosses val="autoZero"/>
        <c:auto val="1"/>
        <c:lblAlgn val="ctr"/>
        <c:lblOffset val="100"/>
        <c:noMultiLvlLbl val="0"/>
      </c:catAx>
      <c:valAx>
        <c:axId val="131963520"/>
        <c:scaling>
          <c:orientation val="minMax"/>
          <c:max val="0.5"/>
          <c:min val="0"/>
        </c:scaling>
        <c:delete val="0"/>
        <c:axPos val="r"/>
        <c:numFmt formatCode="0.0%" sourceLinked="1"/>
        <c:majorTickMark val="none"/>
        <c:minorTickMark val="none"/>
        <c:tickLblPos val="none"/>
        <c:spPr>
          <a:ln>
            <a:noFill/>
          </a:ln>
        </c:spPr>
        <c:txPr>
          <a:bodyPr/>
          <a:lstStyle/>
          <a:p>
            <a:pPr>
              <a:defRPr lang="en-US"/>
            </a:pPr>
            <a:endParaRPr lang="en-US"/>
          </a:p>
        </c:txPr>
        <c:crossAx val="131961984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2.7834710316382891E-2"/>
          <c:y val="0.87837784706441946"/>
          <c:w val="0.92945269772312955"/>
          <c:h val="0.12162215293558119"/>
        </c:manualLayout>
      </c:layout>
      <c:overlay val="0"/>
      <c:txPr>
        <a:bodyPr/>
        <a:lstStyle/>
        <a:p>
          <a:pPr>
            <a:defRPr lang="en-US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716127196590603E-2"/>
          <c:y val="2.9736482939632547E-2"/>
          <c:w val="0.94980583178784517"/>
          <c:h val="0.728317585301837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9.6424230168939799E-3"/>
                  <c:y val="-1.812060785955298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en-US" dirty="0" smtClean="0"/>
                      <a:t>6,23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5.9243958110884827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en-US" dirty="0" smtClean="0"/>
                      <a:t>6,03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5740235654744567E-3"/>
                  <c:y val="1.94276581170560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en-US" dirty="0" smtClean="0"/>
                      <a:t>2,22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2636382709541114E-3"/>
                  <c:y val="-1.308065048075644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,56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4646866940890614E-4"/>
                  <c:y val="1.046350559403303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,10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9.6424230168939799E-3"/>
                  <c:y val="6.5398178450922191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,07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9.4265440973818927E-3"/>
                  <c:y val="6.540325240378517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,11%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2.3255813953488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5.7912157289419196E-3"/>
                  <c:y val="1.93317604079458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1.8853102906520033E-2"/>
                  <c:y val="2.3255813953488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0"/>
                  <c:y val="1.55038759689922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7.5171804166620114E-3"/>
                  <c:y val="1.30806504807570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1.8853102906520033E-2"/>
                  <c:y val="4.65116279069767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9.4265514532600164E-3"/>
                  <c:y val="3.8759689922480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7.5171804166620114E-3"/>
                  <c:y val="-6.44392013598193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3.1421838177532234E-3"/>
                  <c:y val="3.87596899224806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22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 formatCode="mmm\-yy">
                  <c:v>41456</c:v>
                </c:pt>
              </c:numCache>
            </c:numRef>
          </c:cat>
          <c:val>
            <c:numRef>
              <c:f>Hoja1!$B$2:$B$22</c:f>
              <c:numCache>
                <c:formatCode>_(* #,##0.00_);_(* \(#,##0.00\);_(* "-"??_);_(@_)</c:formatCode>
                <c:ptCount val="7"/>
                <c:pt idx="0">
                  <c:v>6.2285100194310239</c:v>
                </c:pt>
                <c:pt idx="1">
                  <c:v>6.0255405762811209</c:v>
                </c:pt>
                <c:pt idx="2">
                  <c:v>2.2166372986535405</c:v>
                </c:pt>
                <c:pt idx="3">
                  <c:v>2.5599471524197521</c:v>
                </c:pt>
                <c:pt idx="4">
                  <c:v>8.0994021176728488</c:v>
                </c:pt>
                <c:pt idx="5">
                  <c:v>6.0710228788475362</c:v>
                </c:pt>
                <c:pt idx="6">
                  <c:v>6.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3098496"/>
        <c:axId val="133763840"/>
      </c:barChart>
      <c:catAx>
        <c:axId val="13309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33763840"/>
        <c:crosses val="autoZero"/>
        <c:auto val="1"/>
        <c:lblAlgn val="ctr"/>
        <c:lblOffset val="100"/>
        <c:noMultiLvlLbl val="0"/>
      </c:catAx>
      <c:valAx>
        <c:axId val="133763840"/>
        <c:scaling>
          <c:orientation val="minMax"/>
          <c:max val="9.5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extTo"/>
        <c:crossAx val="1330984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9">
          <a:latin typeface="+mj-lt"/>
          <a:cs typeface="Times New Roman" pitchFamily="18" charset="0"/>
        </a:defRPr>
      </a:pPr>
      <a:endParaRPr lang="en-US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449348539817576E-2"/>
          <c:y val="2.5653715243760915E-2"/>
          <c:w val="0.93310130292036519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3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 w="953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9535" cap="flat" cmpd="sng" algn="ctr">
                <a:solidFill>
                  <a:schemeClr val="accent2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numFmt formatCode="\$#,##0.00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8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 formatCode="mmm\-yy">
                  <c:v>41456</c:v>
                </c:pt>
              </c:numCache>
            </c:numRef>
          </c:cat>
          <c:val>
            <c:numRef>
              <c:f>Hoja1!$B$2:$B$8</c:f>
              <c:numCache>
                <c:formatCode>General</c:formatCode>
                <c:ptCount val="7"/>
                <c:pt idx="0">
                  <c:v>2.4618000000000002</c:v>
                </c:pt>
                <c:pt idx="1">
                  <c:v>2.8641000000000001</c:v>
                </c:pt>
                <c:pt idx="2">
                  <c:v>3.8607</c:v>
                </c:pt>
                <c:pt idx="3">
                  <c:v>4.1681999999999997</c:v>
                </c:pt>
                <c:pt idx="4">
                  <c:v>4.9838999999999993</c:v>
                </c:pt>
                <c:pt idx="5">
                  <c:v>4.9939999999999998</c:v>
                </c:pt>
                <c:pt idx="6">
                  <c:v>5.8616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3919104"/>
        <c:axId val="133920640"/>
      </c:barChart>
      <c:catAx>
        <c:axId val="13391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3920640"/>
        <c:crosses val="autoZero"/>
        <c:auto val="1"/>
        <c:lblAlgn val="ctr"/>
        <c:lblOffset val="100"/>
        <c:noMultiLvlLbl val="0"/>
      </c:catAx>
      <c:valAx>
        <c:axId val="133920640"/>
        <c:scaling>
          <c:orientation val="minMax"/>
          <c:max val="6"/>
          <c:min val="0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one"/>
        <c:crossAx val="1339191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1">
          <a:latin typeface="+mj-lt"/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</c:dPt>
          <c:dLbls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 b="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1.8499997199694501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7.48713259623397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3.0522704926917348E-3"/>
                  <c:y val="1.1230698894350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1:$A$8</c:f>
              <c:strCache>
                <c:ptCount val="8"/>
                <c:pt idx="0">
                  <c:v>BOL</c:v>
                </c:pt>
                <c:pt idx="1">
                  <c:v>PER</c:v>
                </c:pt>
                <c:pt idx="2">
                  <c:v>URU</c:v>
                </c:pt>
                <c:pt idx="3">
                  <c:v>PAR</c:v>
                </c:pt>
                <c:pt idx="4">
                  <c:v>CHI</c:v>
                </c:pt>
                <c:pt idx="5">
                  <c:v>BRA</c:v>
                </c:pt>
                <c:pt idx="6">
                  <c:v>COL</c:v>
                </c:pt>
                <c:pt idx="7">
                  <c:v>ARG</c:v>
                </c:pt>
              </c:strCache>
            </c:strRef>
          </c:cat>
          <c:val>
            <c:numRef>
              <c:f>Hoja1!$B$1:$B$8</c:f>
              <c:numCache>
                <c:formatCode>0.0%</c:formatCode>
                <c:ptCount val="8"/>
                <c:pt idx="0">
                  <c:v>0.499</c:v>
                </c:pt>
                <c:pt idx="1">
                  <c:v>0.308</c:v>
                </c:pt>
                <c:pt idx="2">
                  <c:v>0.247</c:v>
                </c:pt>
                <c:pt idx="3">
                  <c:v>0.19500000000000001</c:v>
                </c:pt>
                <c:pt idx="4">
                  <c:v>0.159</c:v>
                </c:pt>
                <c:pt idx="5">
                  <c:v>0.156</c:v>
                </c:pt>
                <c:pt idx="6">
                  <c:v>9.4E-2</c:v>
                </c:pt>
                <c:pt idx="7">
                  <c:v>8.599999999999999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4397952"/>
        <c:axId val="134399488"/>
      </c:barChart>
      <c:lineChart>
        <c:grouping val="standard"/>
        <c:varyColors val="0"/>
        <c:ser>
          <c:idx val="1"/>
          <c:order val="1"/>
          <c:spPr>
            <a:ln w="25361">
              <a:solidFill>
                <a:srgbClr val="006600"/>
              </a:solidFill>
              <a:prstDash val="dash"/>
            </a:ln>
          </c:spPr>
          <c:marker>
            <c:symbol val="none"/>
          </c:marker>
          <c:cat>
            <c:strRef>
              <c:f>Hoja1!$A$1:$A$7</c:f>
              <c:strCache>
                <c:ptCount val="7"/>
                <c:pt idx="0">
                  <c:v>BOL</c:v>
                </c:pt>
                <c:pt idx="1">
                  <c:v>PER</c:v>
                </c:pt>
                <c:pt idx="2">
                  <c:v>URU</c:v>
                </c:pt>
                <c:pt idx="3">
                  <c:v>PAR</c:v>
                </c:pt>
                <c:pt idx="4">
                  <c:v>CHI</c:v>
                </c:pt>
                <c:pt idx="5">
                  <c:v>BRA</c:v>
                </c:pt>
                <c:pt idx="6">
                  <c:v>COL</c:v>
                </c:pt>
              </c:strCache>
            </c:strRef>
          </c:cat>
          <c:val>
            <c:numRef>
              <c:f>Hoja1!$C$1:$C$8</c:f>
              <c:numCache>
                <c:formatCode>0.0%</c:formatCode>
                <c:ptCount val="8"/>
                <c:pt idx="0">
                  <c:v>0.22</c:v>
                </c:pt>
                <c:pt idx="1">
                  <c:v>0.22</c:v>
                </c:pt>
                <c:pt idx="2">
                  <c:v>0.22</c:v>
                </c:pt>
                <c:pt idx="3">
                  <c:v>0.22</c:v>
                </c:pt>
                <c:pt idx="4">
                  <c:v>0.22</c:v>
                </c:pt>
                <c:pt idx="5">
                  <c:v>0.22</c:v>
                </c:pt>
                <c:pt idx="6">
                  <c:v>0.22</c:v>
                </c:pt>
                <c:pt idx="7">
                  <c:v>0.2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397952"/>
        <c:axId val="134399488"/>
      </c:lineChart>
      <c:catAx>
        <c:axId val="13439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4399488"/>
        <c:crosses val="autoZero"/>
        <c:auto val="1"/>
        <c:lblAlgn val="ctr"/>
        <c:lblOffset val="100"/>
        <c:noMultiLvlLbl val="0"/>
      </c:catAx>
      <c:valAx>
        <c:axId val="13439948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34397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9">
          <a:effectLst/>
          <a:latin typeface="+mj-lt"/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Hoja1 (2)'!$C$2</c:f>
              <c:strCache>
                <c:ptCount val="1"/>
                <c:pt idx="0">
                  <c:v>Total</c:v>
                </c:pt>
              </c:strCache>
            </c:strRef>
          </c:tx>
          <c:marker>
            <c:symbol val="none"/>
          </c:marker>
          <c:cat>
            <c:numRef>
              <c:f>'Hoja1 (2)'!$A$3:$A$223</c:f>
              <c:numCache>
                <c:formatCode>mmm\-yy</c:formatCode>
                <c:ptCount val="221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</c:numCache>
            </c:numRef>
          </c:cat>
          <c:val>
            <c:numRef>
              <c:f>'Hoja1 (2)'!$C$3:$C$223</c:f>
              <c:numCache>
                <c:formatCode>0.0</c:formatCode>
                <c:ptCount val="221"/>
                <c:pt idx="0">
                  <c:v>16.860073956374961</c:v>
                </c:pt>
                <c:pt idx="1">
                  <c:v>14.576122926903267</c:v>
                </c:pt>
                <c:pt idx="2">
                  <c:v>14.345118130263003</c:v>
                </c:pt>
                <c:pt idx="3">
                  <c:v>13.965202564124922</c:v>
                </c:pt>
                <c:pt idx="4">
                  <c:v>14.266696513267902</c:v>
                </c:pt>
                <c:pt idx="5">
                  <c:v>14.951884485312334</c:v>
                </c:pt>
                <c:pt idx="6">
                  <c:v>14.511719889097989</c:v>
                </c:pt>
                <c:pt idx="7">
                  <c:v>12.440678383720723</c:v>
                </c:pt>
                <c:pt idx="8">
                  <c:v>12.266476433923273</c:v>
                </c:pt>
                <c:pt idx="9">
                  <c:v>12.166386779091027</c:v>
                </c:pt>
                <c:pt idx="10">
                  <c:v>10.608550039601397</c:v>
                </c:pt>
                <c:pt idx="11">
                  <c:v>10.533159947984402</c:v>
                </c:pt>
                <c:pt idx="12">
                  <c:v>10.280970625798226</c:v>
                </c:pt>
                <c:pt idx="13">
                  <c:v>11.202531645569591</c:v>
                </c:pt>
                <c:pt idx="14">
                  <c:v>11.083437110834371</c:v>
                </c:pt>
                <c:pt idx="15">
                  <c:v>10.870907967881394</c:v>
                </c:pt>
                <c:pt idx="16">
                  <c:v>10.484365419987739</c:v>
                </c:pt>
                <c:pt idx="17">
                  <c:v>9.6422073984232739</c:v>
                </c:pt>
                <c:pt idx="18">
                  <c:v>8.9435774309724039</c:v>
                </c:pt>
                <c:pt idx="19">
                  <c:v>9.6871239470517789</c:v>
                </c:pt>
                <c:pt idx="20">
                  <c:v>9.7897897897898147</c:v>
                </c:pt>
                <c:pt idx="21">
                  <c:v>8.8743299583085467</c:v>
                </c:pt>
                <c:pt idx="22">
                  <c:v>8.7781731909845728</c:v>
                </c:pt>
                <c:pt idx="23">
                  <c:v>8.176470588235297</c:v>
                </c:pt>
                <c:pt idx="24">
                  <c:v>7.4116965836711124</c:v>
                </c:pt>
                <c:pt idx="25">
                  <c:v>7.5697211155378641</c:v>
                </c:pt>
                <c:pt idx="26">
                  <c:v>8.5762331838564965</c:v>
                </c:pt>
                <c:pt idx="27">
                  <c:v>8.1337047353760461</c:v>
                </c:pt>
                <c:pt idx="28">
                  <c:v>7.3806881243063227</c:v>
                </c:pt>
                <c:pt idx="29">
                  <c:v>7.8539823008849652</c:v>
                </c:pt>
                <c:pt idx="30">
                  <c:v>6.9421487603305687</c:v>
                </c:pt>
                <c:pt idx="31">
                  <c:v>6.2534284147010233</c:v>
                </c:pt>
                <c:pt idx="32">
                  <c:v>5.8533916849015322</c:v>
                </c:pt>
                <c:pt idx="33">
                  <c:v>5.7986870897155374</c:v>
                </c:pt>
                <c:pt idx="34">
                  <c:v>5.5616139585605184</c:v>
                </c:pt>
                <c:pt idx="35">
                  <c:v>6.1990212071778128</c:v>
                </c:pt>
                <c:pt idx="36">
                  <c:v>6.7924528301886777</c:v>
                </c:pt>
                <c:pt idx="37">
                  <c:v>6.9841269841269815</c:v>
                </c:pt>
                <c:pt idx="38">
                  <c:v>6.6081569437274279</c:v>
                </c:pt>
                <c:pt idx="39">
                  <c:v>8.4492529623905188</c:v>
                </c:pt>
                <c:pt idx="40">
                  <c:v>11.679586563307499</c:v>
                </c:pt>
                <c:pt idx="41">
                  <c:v>10.820512820512818</c:v>
                </c:pt>
                <c:pt idx="42">
                  <c:v>11.798042246264817</c:v>
                </c:pt>
                <c:pt idx="43">
                  <c:v>13.57769747031492</c:v>
                </c:pt>
                <c:pt idx="44">
                  <c:v>14.987080103359162</c:v>
                </c:pt>
                <c:pt idx="45">
                  <c:v>16.028955532574951</c:v>
                </c:pt>
                <c:pt idx="46">
                  <c:v>15.960743801652889</c:v>
                </c:pt>
                <c:pt idx="47">
                  <c:v>14.644137224782373</c:v>
                </c:pt>
                <c:pt idx="48">
                  <c:v>13.377082281675911</c:v>
                </c:pt>
                <c:pt idx="49">
                  <c:v>11.473788328387746</c:v>
                </c:pt>
                <c:pt idx="50">
                  <c:v>9.3462469733656128</c:v>
                </c:pt>
                <c:pt idx="51">
                  <c:v>7.6484560570071247</c:v>
                </c:pt>
                <c:pt idx="52">
                  <c:v>4.396112910689487</c:v>
                </c:pt>
                <c:pt idx="53">
                  <c:v>4.4423877834335768</c:v>
                </c:pt>
                <c:pt idx="54">
                  <c:v>6.682027649769573</c:v>
                </c:pt>
                <c:pt idx="55">
                  <c:v>5.9090909090909083</c:v>
                </c:pt>
                <c:pt idx="56">
                  <c:v>4.6741573033707962</c:v>
                </c:pt>
                <c:pt idx="57">
                  <c:v>4.3226381461675567</c:v>
                </c:pt>
                <c:pt idx="58">
                  <c:v>4.6325167037861936</c:v>
                </c:pt>
                <c:pt idx="59">
                  <c:v>5.4041983028137563</c:v>
                </c:pt>
                <c:pt idx="60">
                  <c:v>6.4113980409617355</c:v>
                </c:pt>
                <c:pt idx="61">
                  <c:v>7.5421472937001077</c:v>
                </c:pt>
                <c:pt idx="62">
                  <c:v>9.5659875996457089</c:v>
                </c:pt>
                <c:pt idx="63">
                  <c:v>10.105913503971742</c:v>
                </c:pt>
                <c:pt idx="64">
                  <c:v>11.037234042553212</c:v>
                </c:pt>
                <c:pt idx="65">
                  <c:v>10.323438192290668</c:v>
                </c:pt>
                <c:pt idx="66">
                  <c:v>7.8185745140388674</c:v>
                </c:pt>
                <c:pt idx="67">
                  <c:v>7.8111587982832686</c:v>
                </c:pt>
                <c:pt idx="68">
                  <c:v>9.446114212108192</c:v>
                </c:pt>
                <c:pt idx="69">
                  <c:v>9.5258436565570204</c:v>
                </c:pt>
                <c:pt idx="70">
                  <c:v>9.578544061302674</c:v>
                </c:pt>
                <c:pt idx="71">
                  <c:v>8.6440677966101553</c:v>
                </c:pt>
                <c:pt idx="72">
                  <c:v>8.8702928870292741</c:v>
                </c:pt>
                <c:pt idx="73">
                  <c:v>8.0445544554455406</c:v>
                </c:pt>
                <c:pt idx="74">
                  <c:v>7.801131770412284</c:v>
                </c:pt>
                <c:pt idx="75">
                  <c:v>7.8156312625250468</c:v>
                </c:pt>
                <c:pt idx="76">
                  <c:v>6.6666666666666652</c:v>
                </c:pt>
                <c:pt idx="77">
                  <c:v>6.6666666666666874</c:v>
                </c:pt>
                <c:pt idx="78">
                  <c:v>6.8509615384615419</c:v>
                </c:pt>
                <c:pt idx="79">
                  <c:v>7.2054140127388644</c:v>
                </c:pt>
                <c:pt idx="80">
                  <c:v>6.3946645743428565</c:v>
                </c:pt>
                <c:pt idx="81">
                  <c:v>6.2402496099844162</c:v>
                </c:pt>
                <c:pt idx="82">
                  <c:v>6.4102564102564097</c:v>
                </c:pt>
                <c:pt idx="83">
                  <c:v>8.3853354134165503</c:v>
                </c:pt>
                <c:pt idx="84">
                  <c:v>7.7248270561107057</c:v>
                </c:pt>
                <c:pt idx="85">
                  <c:v>7.063764795723543</c:v>
                </c:pt>
                <c:pt idx="86">
                  <c:v>6.486689163854507</c:v>
                </c:pt>
                <c:pt idx="87">
                  <c:v>6.0966542750929449</c:v>
                </c:pt>
                <c:pt idx="88">
                  <c:v>6.773952095808383</c:v>
                </c:pt>
                <c:pt idx="89">
                  <c:v>9.3749999999999716</c:v>
                </c:pt>
                <c:pt idx="90">
                  <c:v>11.848518935133129</c:v>
                </c:pt>
                <c:pt idx="91">
                  <c:v>13.330857779428129</c:v>
                </c:pt>
                <c:pt idx="92">
                  <c:v>13.827433628318573</c:v>
                </c:pt>
                <c:pt idx="93">
                  <c:v>13.803230543318648</c:v>
                </c:pt>
                <c:pt idx="94">
                  <c:v>14.603870025556787</c:v>
                </c:pt>
                <c:pt idx="95">
                  <c:v>14.645555955379663</c:v>
                </c:pt>
                <c:pt idx="96">
                  <c:v>18.159115233678193</c:v>
                </c:pt>
                <c:pt idx="97">
                  <c:v>20.221112696148367</c:v>
                </c:pt>
                <c:pt idx="98">
                  <c:v>20.176056338028189</c:v>
                </c:pt>
                <c:pt idx="99">
                  <c:v>20.988086895585155</c:v>
                </c:pt>
                <c:pt idx="100">
                  <c:v>19.593410445145466</c:v>
                </c:pt>
                <c:pt idx="101">
                  <c:v>15.731497418244402</c:v>
                </c:pt>
                <c:pt idx="102">
                  <c:v>11.967817633255095</c:v>
                </c:pt>
                <c:pt idx="103">
                  <c:v>9.1743119266054975</c:v>
                </c:pt>
                <c:pt idx="104">
                  <c:v>8.0984774862325821</c:v>
                </c:pt>
                <c:pt idx="105">
                  <c:v>9.8709677419355017</c:v>
                </c:pt>
                <c:pt idx="106">
                  <c:v>9.9394711691621609</c:v>
                </c:pt>
                <c:pt idx="107">
                  <c:v>9.3220338983050794</c:v>
                </c:pt>
                <c:pt idx="108">
                  <c:v>5.4951690821255994</c:v>
                </c:pt>
                <c:pt idx="109">
                  <c:v>3.7970928507861146</c:v>
                </c:pt>
                <c:pt idx="110">
                  <c:v>2.9885731028420679</c:v>
                </c:pt>
                <c:pt idx="111">
                  <c:v>1.6217781639154225</c:v>
                </c:pt>
                <c:pt idx="112">
                  <c:v>3.077373974208669</c:v>
                </c:pt>
                <c:pt idx="113">
                  <c:v>5.5324211778703187</c:v>
                </c:pt>
                <c:pt idx="114">
                  <c:v>6.4071856287425248</c:v>
                </c:pt>
                <c:pt idx="115">
                  <c:v>8.2533013205282373</c:v>
                </c:pt>
                <c:pt idx="116">
                  <c:v>6.6526820497452661</c:v>
                </c:pt>
                <c:pt idx="117">
                  <c:v>3.5819142689371404</c:v>
                </c:pt>
                <c:pt idx="118">
                  <c:v>2.0863517820921373</c:v>
                </c:pt>
                <c:pt idx="119">
                  <c:v>2.8136663795578443</c:v>
                </c:pt>
                <c:pt idx="120">
                  <c:v>3.2054951345163119</c:v>
                </c:pt>
                <c:pt idx="121">
                  <c:v>3.6296084595599041</c:v>
                </c:pt>
                <c:pt idx="122">
                  <c:v>4.3812233285917443</c:v>
                </c:pt>
                <c:pt idx="123">
                  <c:v>5.8706184098033702</c:v>
                </c:pt>
                <c:pt idx="124">
                  <c:v>7.1651976116007887</c:v>
                </c:pt>
                <c:pt idx="125">
                  <c:v>6.0879368658399073</c:v>
                </c:pt>
                <c:pt idx="126">
                  <c:v>6.4153066966798065</c:v>
                </c:pt>
                <c:pt idx="127">
                  <c:v>4.7130579428888097</c:v>
                </c:pt>
                <c:pt idx="128">
                  <c:v>7.5583028940713746</c:v>
                </c:pt>
                <c:pt idx="129">
                  <c:v>10.260770975056687</c:v>
                </c:pt>
                <c:pt idx="130">
                  <c:v>12.31904626738573</c:v>
                </c:pt>
                <c:pt idx="131">
                  <c:v>9.8575816810946577</c:v>
                </c:pt>
                <c:pt idx="132">
                  <c:v>10.621186910704367</c:v>
                </c:pt>
                <c:pt idx="133">
                  <c:v>11.224489795918345</c:v>
                </c:pt>
                <c:pt idx="134">
                  <c:v>11.556282365767245</c:v>
                </c:pt>
                <c:pt idx="135">
                  <c:v>10.632570659488579</c:v>
                </c:pt>
                <c:pt idx="136">
                  <c:v>8.7291058636243264</c:v>
                </c:pt>
                <c:pt idx="137">
                  <c:v>8.3953241232731273</c:v>
                </c:pt>
                <c:pt idx="138">
                  <c:v>7.6679005817028099</c:v>
                </c:pt>
                <c:pt idx="139">
                  <c:v>8.022239872915037</c:v>
                </c:pt>
                <c:pt idx="140">
                  <c:v>8.3333333333333428</c:v>
                </c:pt>
                <c:pt idx="141">
                  <c:v>8.7146529562981812</c:v>
                </c:pt>
                <c:pt idx="142">
                  <c:v>8.8956280010108628</c:v>
                </c:pt>
                <c:pt idx="143">
                  <c:v>12.480935434672105</c:v>
                </c:pt>
                <c:pt idx="144">
                  <c:v>9.7768864377036948</c:v>
                </c:pt>
                <c:pt idx="145">
                  <c:v>8.2568807339449677</c:v>
                </c:pt>
                <c:pt idx="146">
                  <c:v>5.6437820669435581</c:v>
                </c:pt>
                <c:pt idx="147">
                  <c:v>6.2043795620438118</c:v>
                </c:pt>
                <c:pt idx="148">
                  <c:v>7.101024890190331</c:v>
                </c:pt>
                <c:pt idx="149">
                  <c:v>6.8382352941176521</c:v>
                </c:pt>
                <c:pt idx="150">
                  <c:v>7.4901768172887842</c:v>
                </c:pt>
                <c:pt idx="151">
                  <c:v>10.906862745098024</c:v>
                </c:pt>
                <c:pt idx="152">
                  <c:v>10.10368941403425</c:v>
                </c:pt>
                <c:pt idx="153">
                  <c:v>11.965003546937808</c:v>
                </c:pt>
                <c:pt idx="154">
                  <c:v>7.4263170109073968</c:v>
                </c:pt>
                <c:pt idx="155">
                  <c:v>5.9661016949152526</c:v>
                </c:pt>
                <c:pt idx="156">
                  <c:v>8.7925097054121863</c:v>
                </c:pt>
                <c:pt idx="157">
                  <c:v>10.512620247365987</c:v>
                </c:pt>
                <c:pt idx="158">
                  <c:v>12.345143385753914</c:v>
                </c:pt>
                <c:pt idx="159">
                  <c:v>12.149278350515445</c:v>
                </c:pt>
                <c:pt idx="160">
                  <c:v>11.322351332877645</c:v>
                </c:pt>
                <c:pt idx="161">
                  <c:v>13.37935306262905</c:v>
                </c:pt>
                <c:pt idx="162">
                  <c:v>13.448732008224809</c:v>
                </c:pt>
                <c:pt idx="163">
                  <c:v>10.359889502762428</c:v>
                </c:pt>
                <c:pt idx="164">
                  <c:v>9.0608409986859186</c:v>
                </c:pt>
                <c:pt idx="165">
                  <c:v>5.4653643083421173</c:v>
                </c:pt>
                <c:pt idx="166">
                  <c:v>8.285612443292294</c:v>
                </c:pt>
                <c:pt idx="167">
                  <c:v>7.5</c:v>
                </c:pt>
                <c:pt idx="168">
                  <c:v>5.9055118110236151</c:v>
                </c:pt>
                <c:pt idx="169">
                  <c:v>4.2759961127307946</c:v>
                </c:pt>
                <c:pt idx="170">
                  <c:v>3.3783783783783718</c:v>
                </c:pt>
                <c:pt idx="171">
                  <c:v>2.0114942528735469</c:v>
                </c:pt>
                <c:pt idx="172">
                  <c:v>2.2072936660268709</c:v>
                </c:pt>
                <c:pt idx="173">
                  <c:v>1.8975332068311275</c:v>
                </c:pt>
                <c:pt idx="174">
                  <c:v>1.1331444759206732</c:v>
                </c:pt>
                <c:pt idx="175">
                  <c:v>1.596244131455407</c:v>
                </c:pt>
                <c:pt idx="176">
                  <c:v>2.2598870056497162</c:v>
                </c:pt>
                <c:pt idx="177">
                  <c:v>2.816901408450704</c:v>
                </c:pt>
                <c:pt idx="178">
                  <c:v>1.9644527595883829</c:v>
                </c:pt>
                <c:pt idx="179">
                  <c:v>1.8604651162790589</c:v>
                </c:pt>
                <c:pt idx="180">
                  <c:v>2.788104089219317</c:v>
                </c:pt>
                <c:pt idx="181">
                  <c:v>2.9822926374650507</c:v>
                </c:pt>
                <c:pt idx="182">
                  <c:v>4.1083099906629457</c:v>
                </c:pt>
                <c:pt idx="183">
                  <c:v>5.5399061032863841</c:v>
                </c:pt>
                <c:pt idx="184">
                  <c:v>4.5070422535211208</c:v>
                </c:pt>
                <c:pt idx="185">
                  <c:v>4.283054003724402</c:v>
                </c:pt>
                <c:pt idx="186">
                  <c:v>4.668534080298798</c:v>
                </c:pt>
                <c:pt idx="187">
                  <c:v>4.5286506469500978</c:v>
                </c:pt>
                <c:pt idx="188">
                  <c:v>3.7753222836095972</c:v>
                </c:pt>
                <c:pt idx="189">
                  <c:v>5.2054794520548029</c:v>
                </c:pt>
                <c:pt idx="190">
                  <c:v>6.1467889908256836</c:v>
                </c:pt>
                <c:pt idx="191">
                  <c:v>7.2146118721461221</c:v>
                </c:pt>
                <c:pt idx="192">
                  <c:v>7.7757685352622019</c:v>
                </c:pt>
                <c:pt idx="193">
                  <c:v>9.5022624434389229</c:v>
                </c:pt>
                <c:pt idx="194">
                  <c:v>10.313901345291484</c:v>
                </c:pt>
                <c:pt idx="195">
                  <c:v>9.0747330960853958</c:v>
                </c:pt>
                <c:pt idx="196">
                  <c:v>10.152740341419573</c:v>
                </c:pt>
                <c:pt idx="197">
                  <c:v>8.8392857142857224</c:v>
                </c:pt>
                <c:pt idx="198">
                  <c:v>8.7421944692239038</c:v>
                </c:pt>
                <c:pt idx="199">
                  <c:v>8.8417329796640161</c:v>
                </c:pt>
                <c:pt idx="200">
                  <c:v>9.4055013309671551</c:v>
                </c:pt>
                <c:pt idx="201">
                  <c:v>6.1631944444444429</c:v>
                </c:pt>
                <c:pt idx="202">
                  <c:v>5.6179775280898809</c:v>
                </c:pt>
                <c:pt idx="203">
                  <c:v>4.9403747870528036</c:v>
                </c:pt>
                <c:pt idx="204">
                  <c:v>4.4463087248322068</c:v>
                </c:pt>
                <c:pt idx="205">
                  <c:v>4.4628099173553721</c:v>
                </c:pt>
                <c:pt idx="206">
                  <c:v>3.2520325203252014</c:v>
                </c:pt>
                <c:pt idx="207">
                  <c:v>3.3</c:v>
                </c:pt>
                <c:pt idx="208" formatCode="General">
                  <c:v>3.8</c:v>
                </c:pt>
                <c:pt idx="209" formatCode="General">
                  <c:v>3.9</c:v>
                </c:pt>
                <c:pt idx="210" formatCode="General">
                  <c:v>4</c:v>
                </c:pt>
                <c:pt idx="211" formatCode="General">
                  <c:v>2.8</c:v>
                </c:pt>
                <c:pt idx="212" formatCode="General">
                  <c:v>2.8</c:v>
                </c:pt>
                <c:pt idx="213" formatCode="General">
                  <c:v>3.4</c:v>
                </c:pt>
                <c:pt idx="214" formatCode="General">
                  <c:v>4.0999999999999996</c:v>
                </c:pt>
                <c:pt idx="215" formatCode="General">
                  <c:v>4</c:v>
                </c:pt>
                <c:pt idx="216" formatCode="General">
                  <c:v>4.0999999999999996</c:v>
                </c:pt>
                <c:pt idx="217" formatCode="General">
                  <c:v>1.7</c:v>
                </c:pt>
                <c:pt idx="218" formatCode="General">
                  <c:v>1.2</c:v>
                </c:pt>
                <c:pt idx="219" formatCode="General">
                  <c:v>1.6</c:v>
                </c:pt>
                <c:pt idx="220" formatCode="General">
                  <c:v>0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Hoja1 (2)'!$B$2</c:f>
              <c:strCache>
                <c:ptCount val="1"/>
                <c:pt idx="0">
                  <c:v>Subyacente</c:v>
                </c:pt>
              </c:strCache>
            </c:strRef>
          </c:tx>
          <c:marker>
            <c:symbol val="none"/>
          </c:marker>
          <c:cat>
            <c:numRef>
              <c:f>'Hoja1 (2)'!$A$3:$A$223</c:f>
              <c:numCache>
                <c:formatCode>mmm\-yy</c:formatCode>
                <c:ptCount val="221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</c:numCache>
            </c:numRef>
          </c:cat>
          <c:val>
            <c:numRef>
              <c:f>'Hoja1 (2)'!$B$3:$B$223</c:f>
              <c:numCache>
                <c:formatCode>0.0</c:formatCode>
                <c:ptCount val="221"/>
                <c:pt idx="0">
                  <c:v>16.843702579666164</c:v>
                </c:pt>
                <c:pt idx="1">
                  <c:v>14.844903988183166</c:v>
                </c:pt>
                <c:pt idx="2">
                  <c:v>15.490909090909089</c:v>
                </c:pt>
                <c:pt idx="3">
                  <c:v>14.428571428571413</c:v>
                </c:pt>
                <c:pt idx="4">
                  <c:v>14.416961130742045</c:v>
                </c:pt>
                <c:pt idx="5">
                  <c:v>14.435879467414182</c:v>
                </c:pt>
                <c:pt idx="6">
                  <c:v>14.097222222222229</c:v>
                </c:pt>
                <c:pt idx="7">
                  <c:v>13.013698630136993</c:v>
                </c:pt>
                <c:pt idx="8">
                  <c:v>13.105802047781578</c:v>
                </c:pt>
                <c:pt idx="9">
                  <c:v>12.753036437246944</c:v>
                </c:pt>
                <c:pt idx="10">
                  <c:v>11.492734478203449</c:v>
                </c:pt>
                <c:pt idx="11">
                  <c:v>10.842586544741994</c:v>
                </c:pt>
                <c:pt idx="12">
                  <c:v>11.103896103896084</c:v>
                </c:pt>
                <c:pt idx="13">
                  <c:v>12.282958199356898</c:v>
                </c:pt>
                <c:pt idx="14">
                  <c:v>11.775818639798485</c:v>
                </c:pt>
                <c:pt idx="15">
                  <c:v>11.48564294631711</c:v>
                </c:pt>
                <c:pt idx="16">
                  <c:v>10.994441012970979</c:v>
                </c:pt>
                <c:pt idx="17">
                  <c:v>10.59399877526026</c:v>
                </c:pt>
                <c:pt idx="18">
                  <c:v>10.833840535605589</c:v>
                </c:pt>
                <c:pt idx="19">
                  <c:v>10.848484848484841</c:v>
                </c:pt>
                <c:pt idx="20">
                  <c:v>10.500905250452618</c:v>
                </c:pt>
                <c:pt idx="21">
                  <c:v>9.7546379413524953</c:v>
                </c:pt>
                <c:pt idx="22">
                  <c:v>9.004739336492884</c:v>
                </c:pt>
                <c:pt idx="23">
                  <c:v>8.5444902769593369</c:v>
                </c:pt>
                <c:pt idx="24">
                  <c:v>8.5330216247808224</c:v>
                </c:pt>
                <c:pt idx="25">
                  <c:v>8.0183276059564648</c:v>
                </c:pt>
                <c:pt idx="26">
                  <c:v>7.9436619718309842</c:v>
                </c:pt>
                <c:pt idx="27">
                  <c:v>7.7827547592385304</c:v>
                </c:pt>
                <c:pt idx="28">
                  <c:v>7.5681691708402887</c:v>
                </c:pt>
                <c:pt idx="29">
                  <c:v>7.2535991140642242</c:v>
                </c:pt>
                <c:pt idx="30">
                  <c:v>6.5348709500274493</c:v>
                </c:pt>
                <c:pt idx="31">
                  <c:v>6.1782394751230152</c:v>
                </c:pt>
                <c:pt idx="32">
                  <c:v>6.2261059530311469</c:v>
                </c:pt>
                <c:pt idx="33">
                  <c:v>6.1613958560523319</c:v>
                </c:pt>
                <c:pt idx="34">
                  <c:v>6.0869565217391175</c:v>
                </c:pt>
                <c:pt idx="35">
                  <c:v>6.1346362649294273</c:v>
                </c:pt>
                <c:pt idx="36">
                  <c:v>6.3543349488422329</c:v>
                </c:pt>
                <c:pt idx="37">
                  <c:v>6.9459172852598172</c:v>
                </c:pt>
                <c:pt idx="38">
                  <c:v>7.2025052192066896</c:v>
                </c:pt>
                <c:pt idx="39">
                  <c:v>8.831168831168835</c:v>
                </c:pt>
                <c:pt idx="40">
                  <c:v>11.639937920331089</c:v>
                </c:pt>
                <c:pt idx="41">
                  <c:v>12.338668043366031</c:v>
                </c:pt>
                <c:pt idx="42">
                  <c:v>12.886597938144329</c:v>
                </c:pt>
                <c:pt idx="43">
                  <c:v>16.065911431513904</c:v>
                </c:pt>
                <c:pt idx="44">
                  <c:v>15.88688946015424</c:v>
                </c:pt>
                <c:pt idx="45">
                  <c:v>16.2300975860298</c:v>
                </c:pt>
                <c:pt idx="46">
                  <c:v>16.137295081967217</c:v>
                </c:pt>
                <c:pt idx="47">
                  <c:v>15.907928388746818</c:v>
                </c:pt>
                <c:pt idx="48">
                  <c:v>15.139240506329109</c:v>
                </c:pt>
                <c:pt idx="49">
                  <c:v>12.840852751611308</c:v>
                </c:pt>
                <c:pt idx="50">
                  <c:v>11.197663096397271</c:v>
                </c:pt>
                <c:pt idx="51">
                  <c:v>9.2601431980906987</c:v>
                </c:pt>
                <c:pt idx="52">
                  <c:v>5.5607043558850711</c:v>
                </c:pt>
                <c:pt idx="53">
                  <c:v>5.1470588235294157</c:v>
                </c:pt>
                <c:pt idx="54">
                  <c:v>7.0776255707762692</c:v>
                </c:pt>
                <c:pt idx="55">
                  <c:v>4.3478260869565188</c:v>
                </c:pt>
                <c:pt idx="56">
                  <c:v>4.4365572315882895</c:v>
                </c:pt>
                <c:pt idx="57">
                  <c:v>4.8166151126822765</c:v>
                </c:pt>
                <c:pt idx="58">
                  <c:v>4.9404499338332686</c:v>
                </c:pt>
                <c:pt idx="59">
                  <c:v>5.2074139452780166</c:v>
                </c:pt>
                <c:pt idx="60">
                  <c:v>5.4969217238346468</c:v>
                </c:pt>
                <c:pt idx="61">
                  <c:v>6.7223198594024591</c:v>
                </c:pt>
                <c:pt idx="62">
                  <c:v>8.056042031523635</c:v>
                </c:pt>
                <c:pt idx="63">
                  <c:v>8.8248143294014767</c:v>
                </c:pt>
                <c:pt idx="64">
                  <c:v>9.789288849868294</c:v>
                </c:pt>
                <c:pt idx="65">
                  <c:v>10.008741258741249</c:v>
                </c:pt>
                <c:pt idx="66">
                  <c:v>7.6332622601279265</c:v>
                </c:pt>
                <c:pt idx="67">
                  <c:v>7.8656462585033893</c:v>
                </c:pt>
                <c:pt idx="68">
                  <c:v>9.1758708581138428</c:v>
                </c:pt>
                <c:pt idx="69">
                  <c:v>8.2630691399662837</c:v>
                </c:pt>
                <c:pt idx="70">
                  <c:v>8.070617906683486</c:v>
                </c:pt>
                <c:pt idx="71">
                  <c:v>7.8439597315436149</c:v>
                </c:pt>
                <c:pt idx="72">
                  <c:v>8.1283868278449347</c:v>
                </c:pt>
                <c:pt idx="73">
                  <c:v>7.3281185673116367</c:v>
                </c:pt>
                <c:pt idx="74">
                  <c:v>6.9692058346839447</c:v>
                </c:pt>
                <c:pt idx="75">
                  <c:v>6.7844239261340755</c:v>
                </c:pt>
                <c:pt idx="76">
                  <c:v>6.7972810875649881</c:v>
                </c:pt>
                <c:pt idx="77">
                  <c:v>6.4759634485498596</c:v>
                </c:pt>
                <c:pt idx="78">
                  <c:v>6.9334389857369061</c:v>
                </c:pt>
                <c:pt idx="79">
                  <c:v>7.6074103271580595</c:v>
                </c:pt>
                <c:pt idx="80">
                  <c:v>6.731517509727647</c:v>
                </c:pt>
                <c:pt idx="81">
                  <c:v>7.5545171339563844</c:v>
                </c:pt>
                <c:pt idx="82">
                  <c:v>8.0513418903150669</c:v>
                </c:pt>
                <c:pt idx="83">
                  <c:v>8.5958770906262139</c:v>
                </c:pt>
                <c:pt idx="84">
                  <c:v>8.249807247494223</c:v>
                </c:pt>
                <c:pt idx="85">
                  <c:v>8.055235903337163</c:v>
                </c:pt>
                <c:pt idx="86">
                  <c:v>7.9166666666666572</c:v>
                </c:pt>
                <c:pt idx="87">
                  <c:v>7.6315789473684106</c:v>
                </c:pt>
                <c:pt idx="88">
                  <c:v>7.412953949831504</c:v>
                </c:pt>
                <c:pt idx="89">
                  <c:v>8.5820895522387985</c:v>
                </c:pt>
                <c:pt idx="90">
                  <c:v>10.892923304927777</c:v>
                </c:pt>
                <c:pt idx="91">
                  <c:v>12.380952380952408</c:v>
                </c:pt>
                <c:pt idx="92">
                  <c:v>12.942034269048492</c:v>
                </c:pt>
                <c:pt idx="93">
                  <c:v>13.178855901520663</c:v>
                </c:pt>
                <c:pt idx="94">
                  <c:v>13.96688264938804</c:v>
                </c:pt>
                <c:pt idx="95">
                  <c:v>15.078796561604605</c:v>
                </c:pt>
                <c:pt idx="96">
                  <c:v>17.628205128205138</c:v>
                </c:pt>
                <c:pt idx="97">
                  <c:v>18.991835285765006</c:v>
                </c:pt>
                <c:pt idx="98">
                  <c:v>18.497718497718509</c:v>
                </c:pt>
                <c:pt idx="99">
                  <c:v>19.280475026196299</c:v>
                </c:pt>
                <c:pt idx="100">
                  <c:v>19.031021261763684</c:v>
                </c:pt>
                <c:pt idx="101">
                  <c:v>16.632302405498265</c:v>
                </c:pt>
                <c:pt idx="102">
                  <c:v>13.130638155696616</c:v>
                </c:pt>
                <c:pt idx="103">
                  <c:v>10.365058670143412</c:v>
                </c:pt>
                <c:pt idx="104">
                  <c:v>9.0380890897353083</c:v>
                </c:pt>
                <c:pt idx="105">
                  <c:v>9.7568777991042595</c:v>
                </c:pt>
                <c:pt idx="106">
                  <c:v>9.2545799115603415</c:v>
                </c:pt>
                <c:pt idx="107">
                  <c:v>7.6563958916900106</c:v>
                </c:pt>
                <c:pt idx="108">
                  <c:v>4.7229791099000948</c:v>
                </c:pt>
                <c:pt idx="109">
                  <c:v>3.3114558472553881</c:v>
                </c:pt>
                <c:pt idx="110">
                  <c:v>3.3175355450236736</c:v>
                </c:pt>
                <c:pt idx="111">
                  <c:v>2.4890190336749782</c:v>
                </c:pt>
                <c:pt idx="112">
                  <c:v>2.430453879941453</c:v>
                </c:pt>
                <c:pt idx="113">
                  <c:v>3.4767236299351794</c:v>
                </c:pt>
                <c:pt idx="114">
                  <c:v>3.3963378617838202</c:v>
                </c:pt>
                <c:pt idx="115">
                  <c:v>3.573538098050804</c:v>
                </c:pt>
                <c:pt idx="116">
                  <c:v>3.7300177619893304</c:v>
                </c:pt>
                <c:pt idx="117">
                  <c:v>2.1568055960361505</c:v>
                </c:pt>
                <c:pt idx="118">
                  <c:v>2.0237062734894238</c:v>
                </c:pt>
                <c:pt idx="119">
                  <c:v>3.122289679098003</c:v>
                </c:pt>
                <c:pt idx="120">
                  <c:v>3.5270309337958992</c:v>
                </c:pt>
                <c:pt idx="121">
                  <c:v>4.0716142073346617</c:v>
                </c:pt>
                <c:pt idx="122">
                  <c:v>4.2717889908256979</c:v>
                </c:pt>
                <c:pt idx="123">
                  <c:v>5.1142857142857139</c:v>
                </c:pt>
                <c:pt idx="124">
                  <c:v>6.8610634648370592</c:v>
                </c:pt>
                <c:pt idx="125">
                  <c:v>6.8906605922551307</c:v>
                </c:pt>
                <c:pt idx="126">
                  <c:v>8.054841473864613</c:v>
                </c:pt>
                <c:pt idx="127">
                  <c:v>8.2691759338465971</c:v>
                </c:pt>
                <c:pt idx="128">
                  <c:v>8.9897260273972535</c:v>
                </c:pt>
                <c:pt idx="129">
                  <c:v>10.756062767475029</c:v>
                </c:pt>
                <c:pt idx="130">
                  <c:v>11.107962595636181</c:v>
                </c:pt>
                <c:pt idx="131">
                  <c:v>10.34482758620689</c:v>
                </c:pt>
                <c:pt idx="132">
                  <c:v>10.527785534766835</c:v>
                </c:pt>
                <c:pt idx="133">
                  <c:v>10.432852386237528</c:v>
                </c:pt>
                <c:pt idx="134">
                  <c:v>10.365686004949112</c:v>
                </c:pt>
                <c:pt idx="135">
                  <c:v>9.8939929328621901</c:v>
                </c:pt>
                <c:pt idx="136">
                  <c:v>8.5339753879079439</c:v>
                </c:pt>
                <c:pt idx="137">
                  <c:v>8.7639850825785857</c:v>
                </c:pt>
                <c:pt idx="138">
                  <c:v>8.2738567274649739</c:v>
                </c:pt>
                <c:pt idx="139">
                  <c:v>8.3486963392151523</c:v>
                </c:pt>
                <c:pt idx="140">
                  <c:v>8.3791568473422302</c:v>
                </c:pt>
                <c:pt idx="141">
                  <c:v>8.3719732096857484</c:v>
                </c:pt>
                <c:pt idx="142">
                  <c:v>7.3195613363937753</c:v>
                </c:pt>
                <c:pt idx="143">
                  <c:v>6.9613821138211307</c:v>
                </c:pt>
                <c:pt idx="144">
                  <c:v>6.4931783729156081</c:v>
                </c:pt>
                <c:pt idx="145">
                  <c:v>5.904522613065339</c:v>
                </c:pt>
                <c:pt idx="146">
                  <c:v>4.3099152964623784</c:v>
                </c:pt>
                <c:pt idx="147">
                  <c:v>3.5617116002968174</c:v>
                </c:pt>
                <c:pt idx="148">
                  <c:v>3.2782844466354533</c:v>
                </c:pt>
                <c:pt idx="149">
                  <c:v>3.0614744060739838</c:v>
                </c:pt>
                <c:pt idx="150">
                  <c:v>3.662109375</c:v>
                </c:pt>
                <c:pt idx="151">
                  <c:v>5.0802139037433136</c:v>
                </c:pt>
                <c:pt idx="152">
                  <c:v>5.7985020536361418</c:v>
                </c:pt>
                <c:pt idx="153">
                  <c:v>5.7285476586641266</c:v>
                </c:pt>
                <c:pt idx="154">
                  <c:v>7.2718631178707085</c:v>
                </c:pt>
                <c:pt idx="155">
                  <c:v>7.6959619952494052</c:v>
                </c:pt>
                <c:pt idx="156">
                  <c:v>8.5363226571767399</c:v>
                </c:pt>
                <c:pt idx="157">
                  <c:v>9.7195729537366446</c:v>
                </c:pt>
                <c:pt idx="158">
                  <c:v>11.103033197993796</c:v>
                </c:pt>
                <c:pt idx="159">
                  <c:v>11.861046095056111</c:v>
                </c:pt>
                <c:pt idx="160">
                  <c:v>12.646634844868714</c:v>
                </c:pt>
                <c:pt idx="161">
                  <c:v>13.134505703422022</c:v>
                </c:pt>
                <c:pt idx="162">
                  <c:v>12.762694300518135</c:v>
                </c:pt>
                <c:pt idx="163">
                  <c:v>11.593245431413379</c:v>
                </c:pt>
                <c:pt idx="164">
                  <c:v>10.269696277688965</c:v>
                </c:pt>
                <c:pt idx="165">
                  <c:v>9.4765287769784265</c:v>
                </c:pt>
                <c:pt idx="166">
                  <c:v>7.9762959680992367</c:v>
                </c:pt>
                <c:pt idx="167">
                  <c:v>6.8999999999999915</c:v>
                </c:pt>
                <c:pt idx="168">
                  <c:v>5.1536174430128767</c:v>
                </c:pt>
                <c:pt idx="169">
                  <c:v>3.9215686274509949</c:v>
                </c:pt>
                <c:pt idx="170">
                  <c:v>3.5087719298245759</c:v>
                </c:pt>
                <c:pt idx="171">
                  <c:v>2.6137463697967149</c:v>
                </c:pt>
                <c:pt idx="172">
                  <c:v>1.7291066282420786</c:v>
                </c:pt>
                <c:pt idx="173">
                  <c:v>1.3333333333333428</c:v>
                </c:pt>
                <c:pt idx="174">
                  <c:v>1.1363636363636402</c:v>
                </c:pt>
                <c:pt idx="175">
                  <c:v>0.65789473684209554</c:v>
                </c:pt>
                <c:pt idx="176">
                  <c:v>0.84507042253521547</c:v>
                </c:pt>
                <c:pt idx="177">
                  <c:v>9.3109869646170296E-2</c:v>
                </c:pt>
                <c:pt idx="178">
                  <c:v>9.3023255813946548E-2</c:v>
                </c:pt>
                <c:pt idx="179">
                  <c:v>0.74836295603365954</c:v>
                </c:pt>
                <c:pt idx="180">
                  <c:v>2.0735155513666399</c:v>
                </c:pt>
                <c:pt idx="181">
                  <c:v>2.2641509433962312</c:v>
                </c:pt>
                <c:pt idx="182">
                  <c:v>2.7306967984933976</c:v>
                </c:pt>
                <c:pt idx="183">
                  <c:v>3.2075471698113347</c:v>
                </c:pt>
                <c:pt idx="184">
                  <c:v>3.5882908404154819</c:v>
                </c:pt>
                <c:pt idx="185">
                  <c:v>3.8533834586466043</c:v>
                </c:pt>
                <c:pt idx="186">
                  <c:v>4.4943820224718962</c:v>
                </c:pt>
                <c:pt idx="187">
                  <c:v>5.135387488328675</c:v>
                </c:pt>
                <c:pt idx="188">
                  <c:v>5.307262569832389</c:v>
                </c:pt>
                <c:pt idx="189">
                  <c:v>6.6046511627907023</c:v>
                </c:pt>
                <c:pt idx="190">
                  <c:v>7.527881040892197</c:v>
                </c:pt>
                <c:pt idx="191">
                  <c:v>8.4493964716805863</c:v>
                </c:pt>
                <c:pt idx="192">
                  <c:v>8.5872576177285396</c:v>
                </c:pt>
                <c:pt idx="193">
                  <c:v>9.5940959409593916</c:v>
                </c:pt>
                <c:pt idx="194">
                  <c:v>10.540788267644373</c:v>
                </c:pt>
                <c:pt idx="195">
                  <c:v>10.329067641681888</c:v>
                </c:pt>
                <c:pt idx="196">
                  <c:v>10.300820419325433</c:v>
                </c:pt>
                <c:pt idx="197">
                  <c:v>9.5927601809954695</c:v>
                </c:pt>
                <c:pt idx="198">
                  <c:v>8.6021505376344294</c:v>
                </c:pt>
                <c:pt idx="199">
                  <c:v>8.170515097690938</c:v>
                </c:pt>
                <c:pt idx="200">
                  <c:v>7.6038903625110521</c:v>
                </c:pt>
                <c:pt idx="201">
                  <c:v>6.0209424083769676</c:v>
                </c:pt>
                <c:pt idx="202">
                  <c:v>4.8401037165082101</c:v>
                </c:pt>
                <c:pt idx="203">
                  <c:v>4.1952054794520706</c:v>
                </c:pt>
                <c:pt idx="204">
                  <c:v>3.7414965986394719</c:v>
                </c:pt>
                <c:pt idx="205">
                  <c:v>4.1245791245791281</c:v>
                </c:pt>
                <c:pt idx="206">
                  <c:v>2.6533996683250507</c:v>
                </c:pt>
                <c:pt idx="207">
                  <c:v>2.9</c:v>
                </c:pt>
                <c:pt idx="208" formatCode="General">
                  <c:v>2.8</c:v>
                </c:pt>
                <c:pt idx="209" formatCode="General">
                  <c:v>2.8</c:v>
                </c:pt>
                <c:pt idx="210" formatCode="General">
                  <c:v>2.8</c:v>
                </c:pt>
                <c:pt idx="211" formatCode="General">
                  <c:v>2.5</c:v>
                </c:pt>
                <c:pt idx="212" formatCode="General">
                  <c:v>2.9</c:v>
                </c:pt>
                <c:pt idx="213" formatCode="General">
                  <c:v>3.3</c:v>
                </c:pt>
                <c:pt idx="214" formatCode="General">
                  <c:v>4</c:v>
                </c:pt>
                <c:pt idx="215" formatCode="General">
                  <c:v>3.9</c:v>
                </c:pt>
                <c:pt idx="216" formatCode="General">
                  <c:v>3.6</c:v>
                </c:pt>
                <c:pt idx="217" formatCode="General">
                  <c:v>1.9</c:v>
                </c:pt>
                <c:pt idx="218" formatCode="General">
                  <c:v>2</c:v>
                </c:pt>
                <c:pt idx="219" formatCode="General">
                  <c:v>1.6</c:v>
                </c:pt>
                <c:pt idx="220" formatCode="General">
                  <c:v>1.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Hoja1 (2)'!$D$2</c:f>
              <c:strCache>
                <c:ptCount val="1"/>
                <c:pt idx="0">
                  <c:v>Mínimo</c:v>
                </c:pt>
              </c:strCache>
            </c:strRef>
          </c:tx>
          <c:spPr>
            <a:ln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'Hoja1 (2)'!$A$3:$A$223</c:f>
              <c:numCache>
                <c:formatCode>mmm\-yy</c:formatCode>
                <c:ptCount val="221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</c:numCache>
            </c:numRef>
          </c:cat>
          <c:val>
            <c:numRef>
              <c:f>'Hoja1 (2)'!$D$3:$D$223</c:f>
              <c:numCache>
                <c:formatCode>General</c:formatCode>
                <c:ptCount val="221"/>
                <c:pt idx="108">
                  <c:v>2.5</c:v>
                </c:pt>
                <c:pt idx="109">
                  <c:v>2.5</c:v>
                </c:pt>
                <c:pt idx="110">
                  <c:v>2.5</c:v>
                </c:pt>
                <c:pt idx="111">
                  <c:v>2.5</c:v>
                </c:pt>
                <c:pt idx="112">
                  <c:v>2.5</c:v>
                </c:pt>
                <c:pt idx="113">
                  <c:v>2.5</c:v>
                </c:pt>
                <c:pt idx="114">
                  <c:v>2.5</c:v>
                </c:pt>
                <c:pt idx="115">
                  <c:v>2.5</c:v>
                </c:pt>
                <c:pt idx="116">
                  <c:v>2.5</c:v>
                </c:pt>
                <c:pt idx="117">
                  <c:v>2.5</c:v>
                </c:pt>
                <c:pt idx="118">
                  <c:v>2.5</c:v>
                </c:pt>
                <c:pt idx="119">
                  <c:v>2.5</c:v>
                </c:pt>
                <c:pt idx="120">
                  <c:v>2.5</c:v>
                </c:pt>
                <c:pt idx="121">
                  <c:v>2.5</c:v>
                </c:pt>
                <c:pt idx="122">
                  <c:v>2.5</c:v>
                </c:pt>
                <c:pt idx="123">
                  <c:v>2.5</c:v>
                </c:pt>
                <c:pt idx="124">
                  <c:v>2.5</c:v>
                </c:pt>
                <c:pt idx="125">
                  <c:v>2.5</c:v>
                </c:pt>
                <c:pt idx="126">
                  <c:v>2.5</c:v>
                </c:pt>
                <c:pt idx="127">
                  <c:v>2.5</c:v>
                </c:pt>
                <c:pt idx="128">
                  <c:v>2.5</c:v>
                </c:pt>
                <c:pt idx="129">
                  <c:v>2.5</c:v>
                </c:pt>
                <c:pt idx="130">
                  <c:v>2.5</c:v>
                </c:pt>
                <c:pt idx="131">
                  <c:v>2.5</c:v>
                </c:pt>
                <c:pt idx="132">
                  <c:v>2.5</c:v>
                </c:pt>
                <c:pt idx="133">
                  <c:v>2.5</c:v>
                </c:pt>
                <c:pt idx="134">
                  <c:v>2.5</c:v>
                </c:pt>
                <c:pt idx="135">
                  <c:v>2.5</c:v>
                </c:pt>
                <c:pt idx="136">
                  <c:v>2.5</c:v>
                </c:pt>
                <c:pt idx="137">
                  <c:v>2.5</c:v>
                </c:pt>
                <c:pt idx="138">
                  <c:v>2.5</c:v>
                </c:pt>
                <c:pt idx="139">
                  <c:v>2.5</c:v>
                </c:pt>
                <c:pt idx="140">
                  <c:v>2.5</c:v>
                </c:pt>
                <c:pt idx="141">
                  <c:v>2.5</c:v>
                </c:pt>
                <c:pt idx="142">
                  <c:v>2.5</c:v>
                </c:pt>
                <c:pt idx="143">
                  <c:v>2.5</c:v>
                </c:pt>
                <c:pt idx="144">
                  <c:v>2.5</c:v>
                </c:pt>
                <c:pt idx="145">
                  <c:v>2.5</c:v>
                </c:pt>
                <c:pt idx="146">
                  <c:v>2.5</c:v>
                </c:pt>
                <c:pt idx="147">
                  <c:v>2.5</c:v>
                </c:pt>
                <c:pt idx="148">
                  <c:v>2.5</c:v>
                </c:pt>
                <c:pt idx="149">
                  <c:v>2.5</c:v>
                </c:pt>
                <c:pt idx="150">
                  <c:v>2.5</c:v>
                </c:pt>
                <c:pt idx="151">
                  <c:v>2.5</c:v>
                </c:pt>
                <c:pt idx="152">
                  <c:v>2.5</c:v>
                </c:pt>
                <c:pt idx="153">
                  <c:v>2.5</c:v>
                </c:pt>
                <c:pt idx="154">
                  <c:v>2.5</c:v>
                </c:pt>
                <c:pt idx="155">
                  <c:v>2.5</c:v>
                </c:pt>
                <c:pt idx="156">
                  <c:v>2.5</c:v>
                </c:pt>
                <c:pt idx="157">
                  <c:v>2.5</c:v>
                </c:pt>
                <c:pt idx="158">
                  <c:v>2.5</c:v>
                </c:pt>
                <c:pt idx="159">
                  <c:v>2.5</c:v>
                </c:pt>
                <c:pt idx="160">
                  <c:v>2.5</c:v>
                </c:pt>
                <c:pt idx="161">
                  <c:v>2.5</c:v>
                </c:pt>
                <c:pt idx="162">
                  <c:v>2.5</c:v>
                </c:pt>
                <c:pt idx="163">
                  <c:v>2.5</c:v>
                </c:pt>
                <c:pt idx="164">
                  <c:v>2.5</c:v>
                </c:pt>
                <c:pt idx="165">
                  <c:v>2.5</c:v>
                </c:pt>
                <c:pt idx="166">
                  <c:v>2.5</c:v>
                </c:pt>
                <c:pt idx="167">
                  <c:v>2.5</c:v>
                </c:pt>
                <c:pt idx="168">
                  <c:v>2.5</c:v>
                </c:pt>
                <c:pt idx="169">
                  <c:v>2.5</c:v>
                </c:pt>
                <c:pt idx="170">
                  <c:v>2.5</c:v>
                </c:pt>
                <c:pt idx="171">
                  <c:v>2.5</c:v>
                </c:pt>
                <c:pt idx="172">
                  <c:v>2.5</c:v>
                </c:pt>
                <c:pt idx="173">
                  <c:v>2.5</c:v>
                </c:pt>
                <c:pt idx="174">
                  <c:v>2.5</c:v>
                </c:pt>
                <c:pt idx="175">
                  <c:v>2.5</c:v>
                </c:pt>
                <c:pt idx="176">
                  <c:v>2.5</c:v>
                </c:pt>
                <c:pt idx="177">
                  <c:v>2.5</c:v>
                </c:pt>
                <c:pt idx="178">
                  <c:v>2.5</c:v>
                </c:pt>
                <c:pt idx="179">
                  <c:v>2.5</c:v>
                </c:pt>
                <c:pt idx="180">
                  <c:v>2.5</c:v>
                </c:pt>
                <c:pt idx="181">
                  <c:v>2.5</c:v>
                </c:pt>
                <c:pt idx="182">
                  <c:v>2.5</c:v>
                </c:pt>
                <c:pt idx="183">
                  <c:v>2.5</c:v>
                </c:pt>
                <c:pt idx="184">
                  <c:v>2.5</c:v>
                </c:pt>
                <c:pt idx="185">
                  <c:v>2.5</c:v>
                </c:pt>
                <c:pt idx="186">
                  <c:v>2.5</c:v>
                </c:pt>
                <c:pt idx="187">
                  <c:v>2.5</c:v>
                </c:pt>
                <c:pt idx="188">
                  <c:v>2.5</c:v>
                </c:pt>
                <c:pt idx="189">
                  <c:v>2.5</c:v>
                </c:pt>
                <c:pt idx="190">
                  <c:v>2.5</c:v>
                </c:pt>
                <c:pt idx="191">
                  <c:v>2.5</c:v>
                </c:pt>
                <c:pt idx="192">
                  <c:v>2.5</c:v>
                </c:pt>
                <c:pt idx="193">
                  <c:v>2.5</c:v>
                </c:pt>
                <c:pt idx="194">
                  <c:v>2.5</c:v>
                </c:pt>
                <c:pt idx="195">
                  <c:v>2.5</c:v>
                </c:pt>
                <c:pt idx="196">
                  <c:v>2.5</c:v>
                </c:pt>
                <c:pt idx="197">
                  <c:v>2.5</c:v>
                </c:pt>
                <c:pt idx="198">
                  <c:v>2.5</c:v>
                </c:pt>
                <c:pt idx="199">
                  <c:v>2.5</c:v>
                </c:pt>
                <c:pt idx="200">
                  <c:v>2.5</c:v>
                </c:pt>
                <c:pt idx="201">
                  <c:v>2.5</c:v>
                </c:pt>
                <c:pt idx="202">
                  <c:v>2.5</c:v>
                </c:pt>
                <c:pt idx="203">
                  <c:v>2.5</c:v>
                </c:pt>
                <c:pt idx="204">
                  <c:v>2.5</c:v>
                </c:pt>
                <c:pt idx="205">
                  <c:v>2.5</c:v>
                </c:pt>
                <c:pt idx="206">
                  <c:v>2.5</c:v>
                </c:pt>
                <c:pt idx="207">
                  <c:v>2.5</c:v>
                </c:pt>
                <c:pt idx="208">
                  <c:v>2.5</c:v>
                </c:pt>
                <c:pt idx="209">
                  <c:v>2.5</c:v>
                </c:pt>
                <c:pt idx="210">
                  <c:v>2.5</c:v>
                </c:pt>
                <c:pt idx="211">
                  <c:v>2.5</c:v>
                </c:pt>
                <c:pt idx="212">
                  <c:v>2.5</c:v>
                </c:pt>
                <c:pt idx="213">
                  <c:v>2.5</c:v>
                </c:pt>
                <c:pt idx="214">
                  <c:v>2.5</c:v>
                </c:pt>
                <c:pt idx="215">
                  <c:v>2.5</c:v>
                </c:pt>
                <c:pt idx="216">
                  <c:v>2.5</c:v>
                </c:pt>
                <c:pt idx="217">
                  <c:v>2.5</c:v>
                </c:pt>
                <c:pt idx="218">
                  <c:v>2.5</c:v>
                </c:pt>
                <c:pt idx="219">
                  <c:v>2.5</c:v>
                </c:pt>
                <c:pt idx="220">
                  <c:v>2.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Hoja1 (2)'!$E$2</c:f>
              <c:strCache>
                <c:ptCount val="1"/>
                <c:pt idx="0">
                  <c:v>Máximo</c:v>
                </c:pt>
              </c:strCache>
            </c:strRef>
          </c:tx>
          <c:spPr>
            <a:ln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'Hoja1 (2)'!$A$3:$A$223</c:f>
              <c:numCache>
                <c:formatCode>mmm\-yy</c:formatCode>
                <c:ptCount val="221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</c:numCache>
            </c:numRef>
          </c:cat>
          <c:val>
            <c:numRef>
              <c:f>'Hoja1 (2)'!$E$3:$E$223</c:f>
              <c:numCache>
                <c:formatCode>General</c:formatCode>
                <c:ptCount val="221"/>
                <c:pt idx="108">
                  <c:v>7.5</c:v>
                </c:pt>
                <c:pt idx="109">
                  <c:v>7.5</c:v>
                </c:pt>
                <c:pt idx="110">
                  <c:v>7.5</c:v>
                </c:pt>
                <c:pt idx="111">
                  <c:v>7.5</c:v>
                </c:pt>
                <c:pt idx="112">
                  <c:v>7.5</c:v>
                </c:pt>
                <c:pt idx="113">
                  <c:v>7.5</c:v>
                </c:pt>
                <c:pt idx="114">
                  <c:v>7.5</c:v>
                </c:pt>
                <c:pt idx="115">
                  <c:v>7.5</c:v>
                </c:pt>
                <c:pt idx="116">
                  <c:v>7.5</c:v>
                </c:pt>
                <c:pt idx="117">
                  <c:v>7.5</c:v>
                </c:pt>
                <c:pt idx="118">
                  <c:v>7.5</c:v>
                </c:pt>
                <c:pt idx="119">
                  <c:v>7.5</c:v>
                </c:pt>
                <c:pt idx="120">
                  <c:v>7.5</c:v>
                </c:pt>
                <c:pt idx="121">
                  <c:v>7.5</c:v>
                </c:pt>
                <c:pt idx="122">
                  <c:v>7.5</c:v>
                </c:pt>
                <c:pt idx="123">
                  <c:v>7.5</c:v>
                </c:pt>
                <c:pt idx="124">
                  <c:v>7.5</c:v>
                </c:pt>
                <c:pt idx="125">
                  <c:v>7.5</c:v>
                </c:pt>
                <c:pt idx="126">
                  <c:v>7.5</c:v>
                </c:pt>
                <c:pt idx="127">
                  <c:v>7.5</c:v>
                </c:pt>
                <c:pt idx="128">
                  <c:v>7.5</c:v>
                </c:pt>
                <c:pt idx="129">
                  <c:v>7.5</c:v>
                </c:pt>
                <c:pt idx="130">
                  <c:v>7.5</c:v>
                </c:pt>
                <c:pt idx="131">
                  <c:v>7.5</c:v>
                </c:pt>
                <c:pt idx="132">
                  <c:v>7.5</c:v>
                </c:pt>
                <c:pt idx="133">
                  <c:v>7.5</c:v>
                </c:pt>
                <c:pt idx="134">
                  <c:v>7.5</c:v>
                </c:pt>
                <c:pt idx="135">
                  <c:v>7.5</c:v>
                </c:pt>
                <c:pt idx="136">
                  <c:v>7.5</c:v>
                </c:pt>
                <c:pt idx="137">
                  <c:v>7.5</c:v>
                </c:pt>
                <c:pt idx="138">
                  <c:v>7.5</c:v>
                </c:pt>
                <c:pt idx="139">
                  <c:v>7.5</c:v>
                </c:pt>
                <c:pt idx="140">
                  <c:v>7.5</c:v>
                </c:pt>
                <c:pt idx="141">
                  <c:v>7.5</c:v>
                </c:pt>
                <c:pt idx="142">
                  <c:v>7.5</c:v>
                </c:pt>
                <c:pt idx="143">
                  <c:v>7.5</c:v>
                </c:pt>
                <c:pt idx="144">
                  <c:v>7.5</c:v>
                </c:pt>
                <c:pt idx="145">
                  <c:v>7.5</c:v>
                </c:pt>
                <c:pt idx="146">
                  <c:v>7.5</c:v>
                </c:pt>
                <c:pt idx="147">
                  <c:v>7.5</c:v>
                </c:pt>
                <c:pt idx="148">
                  <c:v>7.5</c:v>
                </c:pt>
                <c:pt idx="149">
                  <c:v>7.5</c:v>
                </c:pt>
                <c:pt idx="150">
                  <c:v>7.5</c:v>
                </c:pt>
                <c:pt idx="151">
                  <c:v>7.5</c:v>
                </c:pt>
                <c:pt idx="152">
                  <c:v>7.5</c:v>
                </c:pt>
                <c:pt idx="153">
                  <c:v>7.5</c:v>
                </c:pt>
                <c:pt idx="154">
                  <c:v>7.5</c:v>
                </c:pt>
                <c:pt idx="155">
                  <c:v>7.5</c:v>
                </c:pt>
                <c:pt idx="156">
                  <c:v>7.5</c:v>
                </c:pt>
                <c:pt idx="157">
                  <c:v>7.5</c:v>
                </c:pt>
                <c:pt idx="158">
                  <c:v>7.5</c:v>
                </c:pt>
                <c:pt idx="159">
                  <c:v>7.5</c:v>
                </c:pt>
                <c:pt idx="160">
                  <c:v>7.5</c:v>
                </c:pt>
                <c:pt idx="161">
                  <c:v>7.5</c:v>
                </c:pt>
                <c:pt idx="162">
                  <c:v>7.5</c:v>
                </c:pt>
                <c:pt idx="163">
                  <c:v>7.5</c:v>
                </c:pt>
                <c:pt idx="164">
                  <c:v>7.5</c:v>
                </c:pt>
                <c:pt idx="165">
                  <c:v>7.5</c:v>
                </c:pt>
                <c:pt idx="166">
                  <c:v>7.5</c:v>
                </c:pt>
                <c:pt idx="167">
                  <c:v>7.5</c:v>
                </c:pt>
                <c:pt idx="168">
                  <c:v>7.5</c:v>
                </c:pt>
                <c:pt idx="169">
                  <c:v>7.5</c:v>
                </c:pt>
                <c:pt idx="170">
                  <c:v>7.5</c:v>
                </c:pt>
                <c:pt idx="171">
                  <c:v>7.5</c:v>
                </c:pt>
                <c:pt idx="172">
                  <c:v>7.5</c:v>
                </c:pt>
                <c:pt idx="173">
                  <c:v>7.5</c:v>
                </c:pt>
                <c:pt idx="174">
                  <c:v>7.5</c:v>
                </c:pt>
                <c:pt idx="175">
                  <c:v>7.5</c:v>
                </c:pt>
                <c:pt idx="176">
                  <c:v>7.5</c:v>
                </c:pt>
                <c:pt idx="177">
                  <c:v>7.5</c:v>
                </c:pt>
                <c:pt idx="178">
                  <c:v>7.5</c:v>
                </c:pt>
                <c:pt idx="179">
                  <c:v>7.5</c:v>
                </c:pt>
                <c:pt idx="180">
                  <c:v>7.5</c:v>
                </c:pt>
                <c:pt idx="181">
                  <c:v>7.5</c:v>
                </c:pt>
                <c:pt idx="182">
                  <c:v>7.5</c:v>
                </c:pt>
                <c:pt idx="183">
                  <c:v>7.5</c:v>
                </c:pt>
                <c:pt idx="184">
                  <c:v>7.5</c:v>
                </c:pt>
                <c:pt idx="185">
                  <c:v>7.5</c:v>
                </c:pt>
                <c:pt idx="186">
                  <c:v>7.5</c:v>
                </c:pt>
                <c:pt idx="187">
                  <c:v>7.5</c:v>
                </c:pt>
                <c:pt idx="188">
                  <c:v>7.5</c:v>
                </c:pt>
                <c:pt idx="189">
                  <c:v>7.5</c:v>
                </c:pt>
                <c:pt idx="190">
                  <c:v>7.5</c:v>
                </c:pt>
                <c:pt idx="191">
                  <c:v>7.5</c:v>
                </c:pt>
                <c:pt idx="192">
                  <c:v>7.5</c:v>
                </c:pt>
                <c:pt idx="193">
                  <c:v>7.5</c:v>
                </c:pt>
                <c:pt idx="194">
                  <c:v>7.5</c:v>
                </c:pt>
                <c:pt idx="195">
                  <c:v>7.5</c:v>
                </c:pt>
                <c:pt idx="196">
                  <c:v>7.5</c:v>
                </c:pt>
                <c:pt idx="197">
                  <c:v>7.5</c:v>
                </c:pt>
                <c:pt idx="198">
                  <c:v>7.5</c:v>
                </c:pt>
                <c:pt idx="199">
                  <c:v>7.5</c:v>
                </c:pt>
                <c:pt idx="200">
                  <c:v>7.5</c:v>
                </c:pt>
                <c:pt idx="201">
                  <c:v>7.5</c:v>
                </c:pt>
                <c:pt idx="202">
                  <c:v>7.5</c:v>
                </c:pt>
                <c:pt idx="203">
                  <c:v>7.5</c:v>
                </c:pt>
                <c:pt idx="204">
                  <c:v>7.5</c:v>
                </c:pt>
                <c:pt idx="205">
                  <c:v>7.5</c:v>
                </c:pt>
                <c:pt idx="206">
                  <c:v>7.5</c:v>
                </c:pt>
                <c:pt idx="207">
                  <c:v>7.5</c:v>
                </c:pt>
                <c:pt idx="208">
                  <c:v>7.5</c:v>
                </c:pt>
                <c:pt idx="209">
                  <c:v>7.5</c:v>
                </c:pt>
                <c:pt idx="210">
                  <c:v>7.5</c:v>
                </c:pt>
                <c:pt idx="211">
                  <c:v>7.5</c:v>
                </c:pt>
                <c:pt idx="212">
                  <c:v>7.5</c:v>
                </c:pt>
                <c:pt idx="213">
                  <c:v>7.5</c:v>
                </c:pt>
                <c:pt idx="214">
                  <c:v>7.5</c:v>
                </c:pt>
                <c:pt idx="215">
                  <c:v>7.5</c:v>
                </c:pt>
                <c:pt idx="216">
                  <c:v>7.5</c:v>
                </c:pt>
                <c:pt idx="217">
                  <c:v>7.5</c:v>
                </c:pt>
                <c:pt idx="218">
                  <c:v>7.5</c:v>
                </c:pt>
                <c:pt idx="219">
                  <c:v>7.5</c:v>
                </c:pt>
                <c:pt idx="220">
                  <c:v>7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019328"/>
        <c:axId val="134426624"/>
      </c:lineChart>
      <c:dateAx>
        <c:axId val="134019328"/>
        <c:scaling>
          <c:orientation val="minMax"/>
          <c:max val="41456"/>
          <c:min val="34881"/>
        </c:scaling>
        <c:delete val="0"/>
        <c:axPos val="b"/>
        <c:numFmt formatCode="[$-409]mmm\-yy;@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134426624"/>
        <c:crosses val="autoZero"/>
        <c:auto val="1"/>
        <c:lblOffset val="100"/>
        <c:baseTimeUnit val="months"/>
        <c:majorUnit val="6"/>
        <c:majorTimeUnit val="months"/>
        <c:minorUnit val="1"/>
        <c:minorTimeUnit val="months"/>
      </c:dateAx>
      <c:valAx>
        <c:axId val="134426624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134019328"/>
        <c:crosses val="autoZero"/>
        <c:crossBetween val="between"/>
        <c:majorUnit val="2"/>
      </c:valAx>
      <c:spPr>
        <a:noFill/>
      </c:spPr>
    </c:plotArea>
    <c:legend>
      <c:legendPos val="b"/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526413731807573E-2"/>
          <c:y val="6.9416944540408809E-2"/>
          <c:w val="0.94177614524312125"/>
          <c:h val="0.78020592841282477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asas Comerciales Nominales</c:v>
                </c:pt>
              </c:strCache>
            </c:strRef>
          </c:tx>
          <c:spPr>
            <a:ln w="44450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Hoja1!$A$41:$A$262</c:f>
              <c:numCache>
                <c:formatCode>mmm\-yy</c:formatCode>
                <c:ptCount val="222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</c:numCache>
            </c:numRef>
          </c:cat>
          <c:val>
            <c:numRef>
              <c:f>Hoja1!$B$41:$B$262</c:f>
              <c:numCache>
                <c:formatCode>0.00</c:formatCode>
                <c:ptCount val="222"/>
                <c:pt idx="0">
                  <c:v>35.58</c:v>
                </c:pt>
                <c:pt idx="1">
                  <c:v>33.979999999999997</c:v>
                </c:pt>
                <c:pt idx="2">
                  <c:v>32.799999999999997</c:v>
                </c:pt>
                <c:pt idx="3">
                  <c:v>35.47</c:v>
                </c:pt>
                <c:pt idx="4">
                  <c:v>34.74</c:v>
                </c:pt>
                <c:pt idx="5">
                  <c:v>34.880000000000003</c:v>
                </c:pt>
                <c:pt idx="6">
                  <c:v>32.54</c:v>
                </c:pt>
                <c:pt idx="7">
                  <c:v>33.33</c:v>
                </c:pt>
                <c:pt idx="8">
                  <c:v>33.33</c:v>
                </c:pt>
                <c:pt idx="9">
                  <c:v>33.35</c:v>
                </c:pt>
                <c:pt idx="10">
                  <c:v>34.06</c:v>
                </c:pt>
                <c:pt idx="11">
                  <c:v>33.270000000000003</c:v>
                </c:pt>
                <c:pt idx="12">
                  <c:v>31.9</c:v>
                </c:pt>
                <c:pt idx="13">
                  <c:v>32.42</c:v>
                </c:pt>
                <c:pt idx="14">
                  <c:v>33.82</c:v>
                </c:pt>
                <c:pt idx="15">
                  <c:v>32.64</c:v>
                </c:pt>
                <c:pt idx="16">
                  <c:v>32.270000000000003</c:v>
                </c:pt>
                <c:pt idx="17">
                  <c:v>32.64</c:v>
                </c:pt>
                <c:pt idx="18">
                  <c:v>32.79</c:v>
                </c:pt>
                <c:pt idx="19">
                  <c:v>32.020000000000003</c:v>
                </c:pt>
                <c:pt idx="20">
                  <c:v>30.51</c:v>
                </c:pt>
                <c:pt idx="21">
                  <c:v>30.62</c:v>
                </c:pt>
                <c:pt idx="22">
                  <c:v>30.42</c:v>
                </c:pt>
                <c:pt idx="23">
                  <c:v>30.55</c:v>
                </c:pt>
                <c:pt idx="24">
                  <c:v>29.04</c:v>
                </c:pt>
                <c:pt idx="25">
                  <c:v>28.6</c:v>
                </c:pt>
                <c:pt idx="26">
                  <c:v>28.38</c:v>
                </c:pt>
                <c:pt idx="27">
                  <c:v>29.24</c:v>
                </c:pt>
                <c:pt idx="28">
                  <c:v>26.83</c:v>
                </c:pt>
                <c:pt idx="29">
                  <c:v>28.19</c:v>
                </c:pt>
                <c:pt idx="30">
                  <c:v>27.31</c:v>
                </c:pt>
                <c:pt idx="31">
                  <c:v>27.63</c:v>
                </c:pt>
                <c:pt idx="32">
                  <c:v>29.77</c:v>
                </c:pt>
                <c:pt idx="33">
                  <c:v>25.16</c:v>
                </c:pt>
                <c:pt idx="34">
                  <c:v>26.18</c:v>
                </c:pt>
                <c:pt idx="35">
                  <c:v>27.11</c:v>
                </c:pt>
                <c:pt idx="36">
                  <c:v>27.16</c:v>
                </c:pt>
                <c:pt idx="37">
                  <c:v>29.23</c:v>
                </c:pt>
                <c:pt idx="38">
                  <c:v>29.45</c:v>
                </c:pt>
                <c:pt idx="39">
                  <c:v>30.36</c:v>
                </c:pt>
                <c:pt idx="40">
                  <c:v>30.75</c:v>
                </c:pt>
                <c:pt idx="41">
                  <c:v>31.52</c:v>
                </c:pt>
                <c:pt idx="42">
                  <c:v>31.64</c:v>
                </c:pt>
                <c:pt idx="43">
                  <c:v>30.83</c:v>
                </c:pt>
                <c:pt idx="44">
                  <c:v>30.39</c:v>
                </c:pt>
                <c:pt idx="45">
                  <c:v>30.78</c:v>
                </c:pt>
                <c:pt idx="46">
                  <c:v>31.74</c:v>
                </c:pt>
                <c:pt idx="47">
                  <c:v>32</c:v>
                </c:pt>
                <c:pt idx="48">
                  <c:v>30.94</c:v>
                </c:pt>
                <c:pt idx="49">
                  <c:v>31.79</c:v>
                </c:pt>
                <c:pt idx="50">
                  <c:v>30.9</c:v>
                </c:pt>
                <c:pt idx="51">
                  <c:v>35.04</c:v>
                </c:pt>
                <c:pt idx="52">
                  <c:v>32.82</c:v>
                </c:pt>
                <c:pt idx="53">
                  <c:v>30.48</c:v>
                </c:pt>
                <c:pt idx="54">
                  <c:v>31.24</c:v>
                </c:pt>
                <c:pt idx="55">
                  <c:v>29.55</c:v>
                </c:pt>
                <c:pt idx="56">
                  <c:v>27.39</c:v>
                </c:pt>
                <c:pt idx="57">
                  <c:v>27.1</c:v>
                </c:pt>
                <c:pt idx="58">
                  <c:v>26.58</c:v>
                </c:pt>
                <c:pt idx="59">
                  <c:v>28.67</c:v>
                </c:pt>
                <c:pt idx="60">
                  <c:v>31.19</c:v>
                </c:pt>
                <c:pt idx="61">
                  <c:v>27.46</c:v>
                </c:pt>
                <c:pt idx="62">
                  <c:v>28.64</c:v>
                </c:pt>
                <c:pt idx="63">
                  <c:v>27.25</c:v>
                </c:pt>
                <c:pt idx="64">
                  <c:v>23.98</c:v>
                </c:pt>
                <c:pt idx="65">
                  <c:v>25.72</c:v>
                </c:pt>
                <c:pt idx="66">
                  <c:v>25.45</c:v>
                </c:pt>
                <c:pt idx="67">
                  <c:v>25.7</c:v>
                </c:pt>
                <c:pt idx="68">
                  <c:v>27.29</c:v>
                </c:pt>
                <c:pt idx="69">
                  <c:v>25.86</c:v>
                </c:pt>
                <c:pt idx="70">
                  <c:v>26.4</c:v>
                </c:pt>
                <c:pt idx="71">
                  <c:v>26.44</c:v>
                </c:pt>
                <c:pt idx="72">
                  <c:v>26.44</c:v>
                </c:pt>
                <c:pt idx="73">
                  <c:v>26.13</c:v>
                </c:pt>
                <c:pt idx="74">
                  <c:v>26.88</c:v>
                </c:pt>
                <c:pt idx="75">
                  <c:v>26.65</c:v>
                </c:pt>
                <c:pt idx="76">
                  <c:v>26.81</c:v>
                </c:pt>
                <c:pt idx="77">
                  <c:v>26.77</c:v>
                </c:pt>
                <c:pt idx="78">
                  <c:v>27.55</c:v>
                </c:pt>
                <c:pt idx="79">
                  <c:v>30.24</c:v>
                </c:pt>
                <c:pt idx="80">
                  <c:v>30.13</c:v>
                </c:pt>
                <c:pt idx="81">
                  <c:v>29.52</c:v>
                </c:pt>
                <c:pt idx="82">
                  <c:v>30.5</c:v>
                </c:pt>
                <c:pt idx="83">
                  <c:v>31.29</c:v>
                </c:pt>
                <c:pt idx="84">
                  <c:v>30.56</c:v>
                </c:pt>
                <c:pt idx="85">
                  <c:v>31.43</c:v>
                </c:pt>
                <c:pt idx="86">
                  <c:v>32.49</c:v>
                </c:pt>
                <c:pt idx="87">
                  <c:v>31.38</c:v>
                </c:pt>
                <c:pt idx="88">
                  <c:v>31.61</c:v>
                </c:pt>
                <c:pt idx="89">
                  <c:v>31.01</c:v>
                </c:pt>
                <c:pt idx="90">
                  <c:v>33.159999999999997</c:v>
                </c:pt>
                <c:pt idx="91">
                  <c:v>39.119999999999997</c:v>
                </c:pt>
                <c:pt idx="92">
                  <c:v>37.493783643597432</c:v>
                </c:pt>
                <c:pt idx="93">
                  <c:v>37.11</c:v>
                </c:pt>
                <c:pt idx="94">
                  <c:v>37.69</c:v>
                </c:pt>
                <c:pt idx="95">
                  <c:v>37.526583062665949</c:v>
                </c:pt>
                <c:pt idx="96">
                  <c:v>39.751276819412936</c:v>
                </c:pt>
                <c:pt idx="97">
                  <c:v>40.820913931046867</c:v>
                </c:pt>
                <c:pt idx="98">
                  <c:v>38.314913002872935</c:v>
                </c:pt>
                <c:pt idx="99">
                  <c:v>35.570147262698356</c:v>
                </c:pt>
                <c:pt idx="100">
                  <c:v>32.085206460600759</c:v>
                </c:pt>
                <c:pt idx="101">
                  <c:v>31.139258402675555</c:v>
                </c:pt>
                <c:pt idx="102">
                  <c:v>26.268248185787343</c:v>
                </c:pt>
                <c:pt idx="103">
                  <c:v>26.992756202615539</c:v>
                </c:pt>
                <c:pt idx="104">
                  <c:v>24.204810824033828</c:v>
                </c:pt>
                <c:pt idx="105">
                  <c:v>23.279926226084505</c:v>
                </c:pt>
                <c:pt idx="106">
                  <c:v>24.261789302085294</c:v>
                </c:pt>
                <c:pt idx="107">
                  <c:v>22.84</c:v>
                </c:pt>
                <c:pt idx="108">
                  <c:v>24.342616921595585</c:v>
                </c:pt>
                <c:pt idx="109">
                  <c:v>25.247100644851997</c:v>
                </c:pt>
                <c:pt idx="110">
                  <c:v>25.51069677380999</c:v>
                </c:pt>
                <c:pt idx="111">
                  <c:v>22.592198638673128</c:v>
                </c:pt>
                <c:pt idx="112">
                  <c:v>22.052869586861839</c:v>
                </c:pt>
                <c:pt idx="113">
                  <c:v>24.610048535720779</c:v>
                </c:pt>
                <c:pt idx="114">
                  <c:v>20.421295988019423</c:v>
                </c:pt>
                <c:pt idx="115">
                  <c:v>19.308156590920369</c:v>
                </c:pt>
                <c:pt idx="116">
                  <c:v>18.559757460785416</c:v>
                </c:pt>
                <c:pt idx="117">
                  <c:v>17.490522681939321</c:v>
                </c:pt>
                <c:pt idx="118">
                  <c:v>16.699649207174662</c:v>
                </c:pt>
                <c:pt idx="119">
                  <c:v>17.333197277697618</c:v>
                </c:pt>
                <c:pt idx="120">
                  <c:v>14.71</c:v>
                </c:pt>
                <c:pt idx="121">
                  <c:v>16.16</c:v>
                </c:pt>
                <c:pt idx="122">
                  <c:v>16.23</c:v>
                </c:pt>
                <c:pt idx="123">
                  <c:v>15.39</c:v>
                </c:pt>
                <c:pt idx="124">
                  <c:v>15.66</c:v>
                </c:pt>
                <c:pt idx="125">
                  <c:v>16.149999999999999</c:v>
                </c:pt>
                <c:pt idx="126">
                  <c:v>15</c:v>
                </c:pt>
                <c:pt idx="127">
                  <c:v>15.64</c:v>
                </c:pt>
                <c:pt idx="128">
                  <c:v>14.92</c:v>
                </c:pt>
                <c:pt idx="129">
                  <c:v>14.72</c:v>
                </c:pt>
                <c:pt idx="130">
                  <c:v>14.853182883229104</c:v>
                </c:pt>
                <c:pt idx="131">
                  <c:v>14.538047091174874</c:v>
                </c:pt>
                <c:pt idx="132">
                  <c:v>14.272478281887025</c:v>
                </c:pt>
                <c:pt idx="133">
                  <c:v>16.037784207955955</c:v>
                </c:pt>
                <c:pt idx="134">
                  <c:v>16.207290645333124</c:v>
                </c:pt>
                <c:pt idx="135">
                  <c:v>16.95942552819557</c:v>
                </c:pt>
                <c:pt idx="136">
                  <c:v>16.739999999999998</c:v>
                </c:pt>
                <c:pt idx="137">
                  <c:v>17.09</c:v>
                </c:pt>
                <c:pt idx="138">
                  <c:v>16.781369391422885</c:v>
                </c:pt>
                <c:pt idx="139">
                  <c:v>17.166277072922746</c:v>
                </c:pt>
                <c:pt idx="140">
                  <c:v>16.58722110203605</c:v>
                </c:pt>
                <c:pt idx="141">
                  <c:v>16.758044151579707</c:v>
                </c:pt>
                <c:pt idx="142">
                  <c:v>17.25044039569925</c:v>
                </c:pt>
                <c:pt idx="143">
                  <c:v>17.134458386234275</c:v>
                </c:pt>
                <c:pt idx="144">
                  <c:v>17.270839508697094</c:v>
                </c:pt>
                <c:pt idx="145">
                  <c:v>18.361342573905883</c:v>
                </c:pt>
                <c:pt idx="146">
                  <c:v>17.024261947421685</c:v>
                </c:pt>
                <c:pt idx="147">
                  <c:v>14.434027044578745</c:v>
                </c:pt>
                <c:pt idx="148">
                  <c:v>15.226908928226022</c:v>
                </c:pt>
                <c:pt idx="149">
                  <c:v>12.379266355865738</c:v>
                </c:pt>
                <c:pt idx="150">
                  <c:v>14.93126294831338</c:v>
                </c:pt>
                <c:pt idx="151">
                  <c:v>12.916059916590424</c:v>
                </c:pt>
                <c:pt idx="152">
                  <c:v>13.17722060920217</c:v>
                </c:pt>
                <c:pt idx="153">
                  <c:v>13.429929396383868</c:v>
                </c:pt>
                <c:pt idx="154">
                  <c:v>13.689410478495601</c:v>
                </c:pt>
                <c:pt idx="155">
                  <c:v>11.807853423413247</c:v>
                </c:pt>
                <c:pt idx="156">
                  <c:v>13.568218554250175</c:v>
                </c:pt>
                <c:pt idx="157">
                  <c:v>13.511751304269694</c:v>
                </c:pt>
                <c:pt idx="158">
                  <c:v>14.045756610385272</c:v>
                </c:pt>
                <c:pt idx="159">
                  <c:v>13.295022583921295</c:v>
                </c:pt>
                <c:pt idx="160">
                  <c:v>14.183167647253294</c:v>
                </c:pt>
                <c:pt idx="161">
                  <c:v>13.248851555620057</c:v>
                </c:pt>
                <c:pt idx="162">
                  <c:v>14.112679039036571</c:v>
                </c:pt>
                <c:pt idx="163">
                  <c:v>13.397817440455489</c:v>
                </c:pt>
                <c:pt idx="164">
                  <c:v>13.368148772777372</c:v>
                </c:pt>
                <c:pt idx="165">
                  <c:v>16.431572849652252</c:v>
                </c:pt>
                <c:pt idx="166">
                  <c:v>17.508403184627237</c:v>
                </c:pt>
                <c:pt idx="167">
                  <c:v>18.29</c:v>
                </c:pt>
                <c:pt idx="168">
                  <c:v>19.63</c:v>
                </c:pt>
                <c:pt idx="169">
                  <c:v>18.818525550421032</c:v>
                </c:pt>
                <c:pt idx="170">
                  <c:v>16.945022200199844</c:v>
                </c:pt>
                <c:pt idx="171">
                  <c:v>16.128253885019827</c:v>
                </c:pt>
                <c:pt idx="172">
                  <c:v>15.697461120339369</c:v>
                </c:pt>
                <c:pt idx="173">
                  <c:v>14.548144036847422</c:v>
                </c:pt>
                <c:pt idx="174">
                  <c:v>14.868766945961228</c:v>
                </c:pt>
                <c:pt idx="175">
                  <c:v>14.712788394295838</c:v>
                </c:pt>
                <c:pt idx="176">
                  <c:v>14.190873807325897</c:v>
                </c:pt>
                <c:pt idx="177">
                  <c:v>14.556324662074392</c:v>
                </c:pt>
                <c:pt idx="178">
                  <c:v>13.444574496840572</c:v>
                </c:pt>
                <c:pt idx="179">
                  <c:v>13.483202335909596</c:v>
                </c:pt>
                <c:pt idx="180">
                  <c:v>14.415050509888751</c:v>
                </c:pt>
                <c:pt idx="181">
                  <c:v>13.295840566245166</c:v>
                </c:pt>
                <c:pt idx="182">
                  <c:v>13.454374875926494</c:v>
                </c:pt>
                <c:pt idx="183">
                  <c:v>13.335131093444099</c:v>
                </c:pt>
                <c:pt idx="184">
                  <c:v>12.738550017617724</c:v>
                </c:pt>
                <c:pt idx="185">
                  <c:v>12.737085172258459</c:v>
                </c:pt>
                <c:pt idx="186">
                  <c:v>12.87491596382584</c:v>
                </c:pt>
                <c:pt idx="187">
                  <c:v>12.6266033054532</c:v>
                </c:pt>
                <c:pt idx="188">
                  <c:v>12.506035452417384</c:v>
                </c:pt>
                <c:pt idx="189">
                  <c:v>12.86</c:v>
                </c:pt>
                <c:pt idx="190">
                  <c:v>13.48</c:v>
                </c:pt>
                <c:pt idx="191">
                  <c:v>14.4</c:v>
                </c:pt>
                <c:pt idx="192">
                  <c:v>14.96</c:v>
                </c:pt>
                <c:pt idx="193">
                  <c:v>15.42</c:v>
                </c:pt>
                <c:pt idx="194">
                  <c:v>16.21</c:v>
                </c:pt>
                <c:pt idx="195">
                  <c:v>16.34</c:v>
                </c:pt>
                <c:pt idx="196">
                  <c:v>17.376246858377844</c:v>
                </c:pt>
                <c:pt idx="197">
                  <c:v>17.193832862372023</c:v>
                </c:pt>
                <c:pt idx="198">
                  <c:v>17.3</c:v>
                </c:pt>
                <c:pt idx="199">
                  <c:v>16.72</c:v>
                </c:pt>
                <c:pt idx="200">
                  <c:v>16.37</c:v>
                </c:pt>
                <c:pt idx="201">
                  <c:v>16.670000000000002</c:v>
                </c:pt>
                <c:pt idx="202">
                  <c:v>15.95</c:v>
                </c:pt>
                <c:pt idx="203">
                  <c:v>15.198580679954535</c:v>
                </c:pt>
                <c:pt idx="204">
                  <c:v>15.920347739565024</c:v>
                </c:pt>
                <c:pt idx="205">
                  <c:v>15.873982278542721</c:v>
                </c:pt>
                <c:pt idx="206">
                  <c:v>15.49</c:v>
                </c:pt>
                <c:pt idx="207">
                  <c:v>15.34</c:v>
                </c:pt>
                <c:pt idx="208">
                  <c:v>15.68</c:v>
                </c:pt>
                <c:pt idx="209">
                  <c:v>15.06</c:v>
                </c:pt>
                <c:pt idx="210">
                  <c:v>15.88</c:v>
                </c:pt>
                <c:pt idx="211">
                  <c:v>15.43</c:v>
                </c:pt>
                <c:pt idx="212">
                  <c:v>15.28</c:v>
                </c:pt>
                <c:pt idx="213">
                  <c:v>15.76</c:v>
                </c:pt>
                <c:pt idx="214">
                  <c:v>16.239999999999998</c:v>
                </c:pt>
                <c:pt idx="215">
                  <c:v>15.56</c:v>
                </c:pt>
                <c:pt idx="216">
                  <c:v>16.809999999999999</c:v>
                </c:pt>
                <c:pt idx="217">
                  <c:v>16.71</c:v>
                </c:pt>
                <c:pt idx="218">
                  <c:v>16.001688519735403</c:v>
                </c:pt>
                <c:pt idx="219">
                  <c:v>15.903100122663224</c:v>
                </c:pt>
                <c:pt idx="220">
                  <c:v>16.099188772438112</c:v>
                </c:pt>
                <c:pt idx="221">
                  <c:v>15.6297980556105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asa de Promedio Real</c:v>
                </c:pt>
              </c:strCache>
            </c:strRef>
          </c:tx>
          <c:spPr>
            <a:ln w="44450">
              <a:solidFill>
                <a:srgbClr val="003399"/>
              </a:solidFill>
            </a:ln>
          </c:spPr>
          <c:marker>
            <c:symbol val="none"/>
          </c:marker>
          <c:dLbls>
            <c:dLbl>
              <c:idx val="117"/>
              <c:layout>
                <c:manualLayout>
                  <c:x val="0"/>
                  <c:y val="-1.9133699196821268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rgbClr val="000099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5"/>
              <c:layout>
                <c:manualLayout>
                  <c:x val="-0.11317041162093101"/>
                  <c:y val="3.8479793094884883E-2"/>
                </c:manualLayout>
              </c:layout>
              <c:spPr>
                <a:noFill/>
              </c:spPr>
              <c:txPr>
                <a:bodyPr/>
                <a:lstStyle/>
                <a:p>
                  <a:pPr>
                    <a:defRPr sz="1400" b="1">
                      <a:solidFill>
                        <a:srgbClr val="000099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rgbClr val="000099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41:$A$262</c:f>
              <c:numCache>
                <c:formatCode>mmm\-yy</c:formatCode>
                <c:ptCount val="222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</c:numCache>
            </c:numRef>
          </c:cat>
          <c:val>
            <c:numRef>
              <c:f>Hoja1!$C$41:$C$262</c:f>
              <c:numCache>
                <c:formatCode>0.00</c:formatCode>
                <c:ptCount val="222"/>
                <c:pt idx="0">
                  <c:v>20.104296105179777</c:v>
                </c:pt>
                <c:pt idx="1">
                  <c:v>20.104296105179777</c:v>
                </c:pt>
                <c:pt idx="2">
                  <c:v>20.104296105179777</c:v>
                </c:pt>
                <c:pt idx="3">
                  <c:v>20.104296105179777</c:v>
                </c:pt>
                <c:pt idx="4">
                  <c:v>20.104296105179777</c:v>
                </c:pt>
                <c:pt idx="5">
                  <c:v>20.104296105179777</c:v>
                </c:pt>
                <c:pt idx="6">
                  <c:v>20.104296105179777</c:v>
                </c:pt>
                <c:pt idx="7">
                  <c:v>20.104296105179777</c:v>
                </c:pt>
                <c:pt idx="8">
                  <c:v>20.104296105179777</c:v>
                </c:pt>
                <c:pt idx="9">
                  <c:v>20.104296105179777</c:v>
                </c:pt>
                <c:pt idx="10">
                  <c:v>20.104296105179777</c:v>
                </c:pt>
                <c:pt idx="11">
                  <c:v>20.104296105179777</c:v>
                </c:pt>
                <c:pt idx="12">
                  <c:v>20.104296105179777</c:v>
                </c:pt>
                <c:pt idx="13">
                  <c:v>20.104296105179777</c:v>
                </c:pt>
                <c:pt idx="14">
                  <c:v>20.104296105179777</c:v>
                </c:pt>
                <c:pt idx="15">
                  <c:v>20.104296105179777</c:v>
                </c:pt>
                <c:pt idx="16">
                  <c:v>20.104296105179777</c:v>
                </c:pt>
                <c:pt idx="17">
                  <c:v>20.104296105179777</c:v>
                </c:pt>
                <c:pt idx="18">
                  <c:v>20.104296105179777</c:v>
                </c:pt>
                <c:pt idx="19">
                  <c:v>20.104296105179777</c:v>
                </c:pt>
                <c:pt idx="20">
                  <c:v>20.104296105179777</c:v>
                </c:pt>
                <c:pt idx="21">
                  <c:v>20.104296105179777</c:v>
                </c:pt>
                <c:pt idx="22">
                  <c:v>20.104296105179777</c:v>
                </c:pt>
                <c:pt idx="23">
                  <c:v>20.104296105179777</c:v>
                </c:pt>
                <c:pt idx="24">
                  <c:v>20.104296105179777</c:v>
                </c:pt>
                <c:pt idx="25">
                  <c:v>20.104296105179777</c:v>
                </c:pt>
                <c:pt idx="26">
                  <c:v>20.104296105179777</c:v>
                </c:pt>
                <c:pt idx="27">
                  <c:v>20.104296105179777</c:v>
                </c:pt>
                <c:pt idx="28">
                  <c:v>20.104296105179777</c:v>
                </c:pt>
                <c:pt idx="29">
                  <c:v>20.104296105179777</c:v>
                </c:pt>
                <c:pt idx="30">
                  <c:v>20.104296105179777</c:v>
                </c:pt>
                <c:pt idx="31">
                  <c:v>20.104296105179777</c:v>
                </c:pt>
                <c:pt idx="32">
                  <c:v>20.104296105179777</c:v>
                </c:pt>
                <c:pt idx="33">
                  <c:v>20.104296105179777</c:v>
                </c:pt>
                <c:pt idx="34">
                  <c:v>20.104296105179777</c:v>
                </c:pt>
                <c:pt idx="35">
                  <c:v>20.104296105179777</c:v>
                </c:pt>
                <c:pt idx="36">
                  <c:v>20.104296105179777</c:v>
                </c:pt>
                <c:pt idx="37">
                  <c:v>20.104296105179777</c:v>
                </c:pt>
                <c:pt idx="38">
                  <c:v>20.104296105179777</c:v>
                </c:pt>
                <c:pt idx="39">
                  <c:v>20.104296105179777</c:v>
                </c:pt>
                <c:pt idx="40">
                  <c:v>20.104296105179777</c:v>
                </c:pt>
                <c:pt idx="41">
                  <c:v>20.104296105179777</c:v>
                </c:pt>
                <c:pt idx="42">
                  <c:v>20.104296105179777</c:v>
                </c:pt>
                <c:pt idx="43">
                  <c:v>20.104296105179777</c:v>
                </c:pt>
                <c:pt idx="44">
                  <c:v>20.104296105179777</c:v>
                </c:pt>
                <c:pt idx="45">
                  <c:v>20.104296105179777</c:v>
                </c:pt>
                <c:pt idx="46">
                  <c:v>20.104296105179777</c:v>
                </c:pt>
                <c:pt idx="47">
                  <c:v>20.104296105179777</c:v>
                </c:pt>
                <c:pt idx="48">
                  <c:v>20.104296105179777</c:v>
                </c:pt>
                <c:pt idx="49">
                  <c:v>20.104296105179777</c:v>
                </c:pt>
                <c:pt idx="50">
                  <c:v>20.104296105179777</c:v>
                </c:pt>
                <c:pt idx="51">
                  <c:v>20.104296105179777</c:v>
                </c:pt>
                <c:pt idx="52">
                  <c:v>20.104296105179777</c:v>
                </c:pt>
                <c:pt idx="53">
                  <c:v>20.104296105179777</c:v>
                </c:pt>
                <c:pt idx="54">
                  <c:v>20.104296105179777</c:v>
                </c:pt>
                <c:pt idx="55">
                  <c:v>20.104296105179777</c:v>
                </c:pt>
                <c:pt idx="56">
                  <c:v>20.104296105179777</c:v>
                </c:pt>
                <c:pt idx="57">
                  <c:v>20.104296105179777</c:v>
                </c:pt>
                <c:pt idx="58">
                  <c:v>20.104296105179777</c:v>
                </c:pt>
                <c:pt idx="59">
                  <c:v>20.104296105179777</c:v>
                </c:pt>
                <c:pt idx="60">
                  <c:v>20.104296105179777</c:v>
                </c:pt>
                <c:pt idx="61">
                  <c:v>20.104296105179777</c:v>
                </c:pt>
                <c:pt idx="62">
                  <c:v>20.104296105179777</c:v>
                </c:pt>
                <c:pt idx="63">
                  <c:v>20.104296105179777</c:v>
                </c:pt>
                <c:pt idx="64">
                  <c:v>20.104296105179777</c:v>
                </c:pt>
                <c:pt idx="65">
                  <c:v>20.104296105179777</c:v>
                </c:pt>
                <c:pt idx="66">
                  <c:v>20.104296105179777</c:v>
                </c:pt>
                <c:pt idx="67">
                  <c:v>20.104296105179777</c:v>
                </c:pt>
                <c:pt idx="68">
                  <c:v>20.104296105179777</c:v>
                </c:pt>
                <c:pt idx="69">
                  <c:v>20.104296105179777</c:v>
                </c:pt>
                <c:pt idx="70">
                  <c:v>20.104296105179777</c:v>
                </c:pt>
                <c:pt idx="71">
                  <c:v>20.104296105179777</c:v>
                </c:pt>
                <c:pt idx="72">
                  <c:v>20.104296105179777</c:v>
                </c:pt>
                <c:pt idx="73">
                  <c:v>20.104296105179777</c:v>
                </c:pt>
                <c:pt idx="74">
                  <c:v>20.104296105179777</c:v>
                </c:pt>
                <c:pt idx="75">
                  <c:v>20.104296105179777</c:v>
                </c:pt>
                <c:pt idx="76">
                  <c:v>20.104296105179777</c:v>
                </c:pt>
                <c:pt idx="77">
                  <c:v>20.104296105179777</c:v>
                </c:pt>
                <c:pt idx="78">
                  <c:v>20.104296105179777</c:v>
                </c:pt>
                <c:pt idx="79">
                  <c:v>20.104296105179777</c:v>
                </c:pt>
                <c:pt idx="80">
                  <c:v>20.104296105179777</c:v>
                </c:pt>
                <c:pt idx="81">
                  <c:v>20.104296105179777</c:v>
                </c:pt>
                <c:pt idx="82">
                  <c:v>20.104296105179777</c:v>
                </c:pt>
                <c:pt idx="83">
                  <c:v>20.104296105179777</c:v>
                </c:pt>
                <c:pt idx="84">
                  <c:v>20.104296105179777</c:v>
                </c:pt>
                <c:pt idx="85">
                  <c:v>20.104296105179777</c:v>
                </c:pt>
                <c:pt idx="86">
                  <c:v>20.104296105179777</c:v>
                </c:pt>
                <c:pt idx="87">
                  <c:v>20.104296105179777</c:v>
                </c:pt>
                <c:pt idx="88">
                  <c:v>20.104296105179777</c:v>
                </c:pt>
                <c:pt idx="89">
                  <c:v>20.104296105179777</c:v>
                </c:pt>
                <c:pt idx="90">
                  <c:v>20.104296105179777</c:v>
                </c:pt>
                <c:pt idx="91">
                  <c:v>20.104296105179777</c:v>
                </c:pt>
                <c:pt idx="92">
                  <c:v>20.104296105179777</c:v>
                </c:pt>
                <c:pt idx="93">
                  <c:v>20.104296105179777</c:v>
                </c:pt>
                <c:pt idx="94">
                  <c:v>20.104296105179777</c:v>
                </c:pt>
                <c:pt idx="95">
                  <c:v>20.104296105179777</c:v>
                </c:pt>
                <c:pt idx="96">
                  <c:v>20.104296105179777</c:v>
                </c:pt>
                <c:pt idx="97">
                  <c:v>20.104296105179777</c:v>
                </c:pt>
                <c:pt idx="98">
                  <c:v>20.104296105179777</c:v>
                </c:pt>
                <c:pt idx="99">
                  <c:v>20.104296105179777</c:v>
                </c:pt>
                <c:pt idx="100">
                  <c:v>20.104296105179777</c:v>
                </c:pt>
                <c:pt idx="101">
                  <c:v>20.104296105179777</c:v>
                </c:pt>
                <c:pt idx="102">
                  <c:v>20.104296105179777</c:v>
                </c:pt>
                <c:pt idx="103">
                  <c:v>20.104296105179777</c:v>
                </c:pt>
                <c:pt idx="104">
                  <c:v>20.104296105179777</c:v>
                </c:pt>
                <c:pt idx="105">
                  <c:v>20.104296105179777</c:v>
                </c:pt>
                <c:pt idx="106">
                  <c:v>20.104296105179777</c:v>
                </c:pt>
                <c:pt idx="107">
                  <c:v>20.104296105179777</c:v>
                </c:pt>
                <c:pt idx="108">
                  <c:v>20.104296105179777</c:v>
                </c:pt>
                <c:pt idx="109">
                  <c:v>20.104296105179777</c:v>
                </c:pt>
                <c:pt idx="110">
                  <c:v>20.104296105179777</c:v>
                </c:pt>
                <c:pt idx="111">
                  <c:v>20.104296105179777</c:v>
                </c:pt>
                <c:pt idx="112">
                  <c:v>20.104296105179777</c:v>
                </c:pt>
                <c:pt idx="113">
                  <c:v>20.104296105179777</c:v>
                </c:pt>
                <c:pt idx="114">
                  <c:v>20.104296105179777</c:v>
                </c:pt>
                <c:pt idx="115">
                  <c:v>20.104296105179777</c:v>
                </c:pt>
                <c:pt idx="116">
                  <c:v>20.104296105179777</c:v>
                </c:pt>
                <c:pt idx="117">
                  <c:v>20.104296105179777</c:v>
                </c:pt>
                <c:pt idx="118">
                  <c:v>20.104296105179777</c:v>
                </c:pt>
                <c:pt idx="120">
                  <c:v>8.9</c:v>
                </c:pt>
                <c:pt idx="121">
                  <c:v>8.9</c:v>
                </c:pt>
                <c:pt idx="122">
                  <c:v>8.9</c:v>
                </c:pt>
                <c:pt idx="123">
                  <c:v>8.9</c:v>
                </c:pt>
                <c:pt idx="124">
                  <c:v>8.9</c:v>
                </c:pt>
                <c:pt idx="125">
                  <c:v>8.9</c:v>
                </c:pt>
                <c:pt idx="126">
                  <c:v>8.9</c:v>
                </c:pt>
                <c:pt idx="127">
                  <c:v>8.9</c:v>
                </c:pt>
                <c:pt idx="128">
                  <c:v>8.9</c:v>
                </c:pt>
                <c:pt idx="129">
                  <c:v>8.9</c:v>
                </c:pt>
                <c:pt idx="130">
                  <c:v>8.9</c:v>
                </c:pt>
                <c:pt idx="131">
                  <c:v>8.9</c:v>
                </c:pt>
                <c:pt idx="132">
                  <c:v>8.9</c:v>
                </c:pt>
                <c:pt idx="133">
                  <c:v>8.9</c:v>
                </c:pt>
                <c:pt idx="134">
                  <c:v>8.9</c:v>
                </c:pt>
                <c:pt idx="135">
                  <c:v>8.9</c:v>
                </c:pt>
                <c:pt idx="136">
                  <c:v>8.9</c:v>
                </c:pt>
                <c:pt idx="137">
                  <c:v>8.9</c:v>
                </c:pt>
                <c:pt idx="138">
                  <c:v>8.9</c:v>
                </c:pt>
                <c:pt idx="139">
                  <c:v>8.9</c:v>
                </c:pt>
                <c:pt idx="140">
                  <c:v>8.9</c:v>
                </c:pt>
                <c:pt idx="141">
                  <c:v>8.9</c:v>
                </c:pt>
                <c:pt idx="142">
                  <c:v>8.9</c:v>
                </c:pt>
                <c:pt idx="143">
                  <c:v>8.9</c:v>
                </c:pt>
                <c:pt idx="144">
                  <c:v>8.9</c:v>
                </c:pt>
                <c:pt idx="145">
                  <c:v>8.9</c:v>
                </c:pt>
                <c:pt idx="146">
                  <c:v>8.9</c:v>
                </c:pt>
                <c:pt idx="147">
                  <c:v>8.9</c:v>
                </c:pt>
                <c:pt idx="148">
                  <c:v>8.9</c:v>
                </c:pt>
                <c:pt idx="149">
                  <c:v>8.9</c:v>
                </c:pt>
                <c:pt idx="150">
                  <c:v>8.9</c:v>
                </c:pt>
                <c:pt idx="151">
                  <c:v>8.9</c:v>
                </c:pt>
                <c:pt idx="152">
                  <c:v>8.9</c:v>
                </c:pt>
                <c:pt idx="153">
                  <c:v>8.9</c:v>
                </c:pt>
                <c:pt idx="154">
                  <c:v>8.9</c:v>
                </c:pt>
                <c:pt idx="155">
                  <c:v>8.9</c:v>
                </c:pt>
                <c:pt idx="156">
                  <c:v>8.9</c:v>
                </c:pt>
                <c:pt idx="157">
                  <c:v>8.9</c:v>
                </c:pt>
                <c:pt idx="158">
                  <c:v>8.9</c:v>
                </c:pt>
                <c:pt idx="159">
                  <c:v>8.9</c:v>
                </c:pt>
                <c:pt idx="160">
                  <c:v>8.9</c:v>
                </c:pt>
                <c:pt idx="161">
                  <c:v>8.9</c:v>
                </c:pt>
                <c:pt idx="162">
                  <c:v>8.9</c:v>
                </c:pt>
                <c:pt idx="163">
                  <c:v>8.9</c:v>
                </c:pt>
                <c:pt idx="164">
                  <c:v>8.9</c:v>
                </c:pt>
                <c:pt idx="165">
                  <c:v>8.9</c:v>
                </c:pt>
                <c:pt idx="166">
                  <c:v>8.9</c:v>
                </c:pt>
                <c:pt idx="167">
                  <c:v>8.9</c:v>
                </c:pt>
                <c:pt idx="168">
                  <c:v>8.9</c:v>
                </c:pt>
                <c:pt idx="169">
                  <c:v>8.9</c:v>
                </c:pt>
                <c:pt idx="170">
                  <c:v>8.9</c:v>
                </c:pt>
                <c:pt idx="171">
                  <c:v>8.9</c:v>
                </c:pt>
                <c:pt idx="172">
                  <c:v>8.9</c:v>
                </c:pt>
                <c:pt idx="173">
                  <c:v>8.9</c:v>
                </c:pt>
                <c:pt idx="174">
                  <c:v>8.9</c:v>
                </c:pt>
                <c:pt idx="175">
                  <c:v>8.9</c:v>
                </c:pt>
                <c:pt idx="176">
                  <c:v>8.9</c:v>
                </c:pt>
                <c:pt idx="177">
                  <c:v>8.9</c:v>
                </c:pt>
                <c:pt idx="178">
                  <c:v>8.9</c:v>
                </c:pt>
                <c:pt idx="179">
                  <c:v>8.9</c:v>
                </c:pt>
                <c:pt idx="180">
                  <c:v>8.9</c:v>
                </c:pt>
                <c:pt idx="181">
                  <c:v>8.9</c:v>
                </c:pt>
                <c:pt idx="182">
                  <c:v>8.9</c:v>
                </c:pt>
                <c:pt idx="183">
                  <c:v>8.9</c:v>
                </c:pt>
                <c:pt idx="184">
                  <c:v>8.9</c:v>
                </c:pt>
                <c:pt idx="185">
                  <c:v>8.9</c:v>
                </c:pt>
                <c:pt idx="186">
                  <c:v>8.9</c:v>
                </c:pt>
                <c:pt idx="187">
                  <c:v>8.9</c:v>
                </c:pt>
                <c:pt idx="188">
                  <c:v>8.9</c:v>
                </c:pt>
                <c:pt idx="189">
                  <c:v>8.9</c:v>
                </c:pt>
                <c:pt idx="190">
                  <c:v>8.9</c:v>
                </c:pt>
                <c:pt idx="191">
                  <c:v>8.9</c:v>
                </c:pt>
                <c:pt idx="192">
                  <c:v>8.9</c:v>
                </c:pt>
                <c:pt idx="193">
                  <c:v>8.9</c:v>
                </c:pt>
                <c:pt idx="194">
                  <c:v>8.9</c:v>
                </c:pt>
                <c:pt idx="195">
                  <c:v>8.9</c:v>
                </c:pt>
                <c:pt idx="196">
                  <c:v>8.9</c:v>
                </c:pt>
                <c:pt idx="197">
                  <c:v>8.9</c:v>
                </c:pt>
                <c:pt idx="198">
                  <c:v>8.9</c:v>
                </c:pt>
                <c:pt idx="199">
                  <c:v>8.9</c:v>
                </c:pt>
                <c:pt idx="200">
                  <c:v>8.9</c:v>
                </c:pt>
                <c:pt idx="201">
                  <c:v>8.9</c:v>
                </c:pt>
                <c:pt idx="202">
                  <c:v>8.9</c:v>
                </c:pt>
                <c:pt idx="203">
                  <c:v>8.9</c:v>
                </c:pt>
                <c:pt idx="204">
                  <c:v>8.9</c:v>
                </c:pt>
                <c:pt idx="205">
                  <c:v>8.9</c:v>
                </c:pt>
                <c:pt idx="206">
                  <c:v>8.9</c:v>
                </c:pt>
                <c:pt idx="207">
                  <c:v>8.9</c:v>
                </c:pt>
                <c:pt idx="208">
                  <c:v>8.9</c:v>
                </c:pt>
                <c:pt idx="209">
                  <c:v>8.9</c:v>
                </c:pt>
                <c:pt idx="210">
                  <c:v>8.9</c:v>
                </c:pt>
                <c:pt idx="211">
                  <c:v>8.9</c:v>
                </c:pt>
                <c:pt idx="212">
                  <c:v>8.9</c:v>
                </c:pt>
                <c:pt idx="213">
                  <c:v>8.9</c:v>
                </c:pt>
                <c:pt idx="214">
                  <c:v>8.9</c:v>
                </c:pt>
                <c:pt idx="215">
                  <c:v>8.9</c:v>
                </c:pt>
                <c:pt idx="216">
                  <c:v>8.9</c:v>
                </c:pt>
                <c:pt idx="217">
                  <c:v>8.9</c:v>
                </c:pt>
                <c:pt idx="218">
                  <c:v>8.9</c:v>
                </c:pt>
                <c:pt idx="219">
                  <c:v>8.9</c:v>
                </c:pt>
                <c:pt idx="220">
                  <c:v>8.9</c:v>
                </c:pt>
                <c:pt idx="221">
                  <c:v>8.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asas Comerciales Reales</c:v>
                </c:pt>
              </c:strCache>
            </c:strRef>
          </c:tx>
          <c:spPr>
            <a:ln w="44450">
              <a:solidFill>
                <a:srgbClr val="4A764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Hoja1!$A$41:$A$262</c:f>
              <c:numCache>
                <c:formatCode>mmm\-yy</c:formatCode>
                <c:ptCount val="222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</c:numCache>
            </c:numRef>
          </c:cat>
          <c:val>
            <c:numRef>
              <c:f>Hoja1!$D$41:$D$262</c:f>
              <c:numCache>
                <c:formatCode>#,#00</c:formatCode>
                <c:ptCount val="222"/>
                <c:pt idx="0">
                  <c:v>18.719926043625009</c:v>
                </c:pt>
                <c:pt idx="1">
                  <c:v>19.40387707309673</c:v>
                </c:pt>
                <c:pt idx="2">
                  <c:v>18.454881869736994</c:v>
                </c:pt>
                <c:pt idx="3">
                  <c:v>21.504797435875076</c:v>
                </c:pt>
                <c:pt idx="4">
                  <c:v>20.4733034867321</c:v>
                </c:pt>
                <c:pt idx="5">
                  <c:v>19.928115514687669</c:v>
                </c:pt>
                <c:pt idx="6">
                  <c:v>18.02828011090201</c:v>
                </c:pt>
                <c:pt idx="7">
                  <c:v>20.889321616279275</c:v>
                </c:pt>
                <c:pt idx="8">
                  <c:v>21.063523566076725</c:v>
                </c:pt>
                <c:pt idx="9">
                  <c:v>21.183613220908974</c:v>
                </c:pt>
                <c:pt idx="10">
                  <c:v>23.451449960398605</c:v>
                </c:pt>
                <c:pt idx="11">
                  <c:v>22.736840052015616</c:v>
                </c:pt>
                <c:pt idx="12">
                  <c:v>21.619029374201773</c:v>
                </c:pt>
                <c:pt idx="13">
                  <c:v>21.217468354430409</c:v>
                </c:pt>
                <c:pt idx="14">
                  <c:v>22.736562889165629</c:v>
                </c:pt>
                <c:pt idx="15">
                  <c:v>21.769092032118607</c:v>
                </c:pt>
                <c:pt idx="16">
                  <c:v>21.785634580012264</c:v>
                </c:pt>
                <c:pt idx="17">
                  <c:v>22.997792601576727</c:v>
                </c:pt>
                <c:pt idx="18">
                  <c:v>23.846422569027595</c:v>
                </c:pt>
                <c:pt idx="19">
                  <c:v>22.332876052948222</c:v>
                </c:pt>
                <c:pt idx="20">
                  <c:v>20.720210210210187</c:v>
                </c:pt>
                <c:pt idx="21">
                  <c:v>21.745670041691454</c:v>
                </c:pt>
                <c:pt idx="22">
                  <c:v>21.641826809015427</c:v>
                </c:pt>
                <c:pt idx="23">
                  <c:v>22.373529411764704</c:v>
                </c:pt>
                <c:pt idx="24">
                  <c:v>21.628303416328887</c:v>
                </c:pt>
                <c:pt idx="25">
                  <c:v>21.030278884462138</c:v>
                </c:pt>
                <c:pt idx="26">
                  <c:v>19.803766816143501</c:v>
                </c:pt>
                <c:pt idx="27">
                  <c:v>21.106295264623952</c:v>
                </c:pt>
                <c:pt idx="28">
                  <c:v>19.449311875693674</c:v>
                </c:pt>
                <c:pt idx="29">
                  <c:v>20.336017699115036</c:v>
                </c:pt>
                <c:pt idx="30">
                  <c:v>20.367851239669431</c:v>
                </c:pt>
                <c:pt idx="31">
                  <c:v>21.376571585298976</c:v>
                </c:pt>
                <c:pt idx="32">
                  <c:v>23.916608315098468</c:v>
                </c:pt>
                <c:pt idx="33">
                  <c:v>19.361312910284461</c:v>
                </c:pt>
                <c:pt idx="34">
                  <c:v>20.618386041439482</c:v>
                </c:pt>
                <c:pt idx="35">
                  <c:v>20.910978792822185</c:v>
                </c:pt>
                <c:pt idx="36">
                  <c:v>20.367547169811324</c:v>
                </c:pt>
                <c:pt idx="37">
                  <c:v>22.24587301587302</c:v>
                </c:pt>
                <c:pt idx="38">
                  <c:v>22.841843056272573</c:v>
                </c:pt>
                <c:pt idx="39">
                  <c:v>21.910747037609482</c:v>
                </c:pt>
                <c:pt idx="40">
                  <c:v>19.070413436692501</c:v>
                </c:pt>
                <c:pt idx="41">
                  <c:v>20.699487179487182</c:v>
                </c:pt>
                <c:pt idx="42">
                  <c:v>19.841957753735183</c:v>
                </c:pt>
                <c:pt idx="43">
                  <c:v>17.252302529685078</c:v>
                </c:pt>
                <c:pt idx="44">
                  <c:v>15.402919896640839</c:v>
                </c:pt>
                <c:pt idx="45">
                  <c:v>14.75104446742505</c:v>
                </c:pt>
                <c:pt idx="46">
                  <c:v>15.77925619834711</c:v>
                </c:pt>
                <c:pt idx="47">
                  <c:v>17.355862775217627</c:v>
                </c:pt>
                <c:pt idx="48">
                  <c:v>17.562917718324091</c:v>
                </c:pt>
                <c:pt idx="49">
                  <c:v>20.316211671612251</c:v>
                </c:pt>
                <c:pt idx="50">
                  <c:v>21.553753026634386</c:v>
                </c:pt>
                <c:pt idx="51">
                  <c:v>27.391543942992875</c:v>
                </c:pt>
                <c:pt idx="52">
                  <c:v>28.423887089310512</c:v>
                </c:pt>
                <c:pt idx="53">
                  <c:v>26.037612216566423</c:v>
                </c:pt>
                <c:pt idx="54">
                  <c:v>24.557972350230425</c:v>
                </c:pt>
                <c:pt idx="55">
                  <c:v>23.640909090909091</c:v>
                </c:pt>
                <c:pt idx="56">
                  <c:v>22.715842696629203</c:v>
                </c:pt>
                <c:pt idx="57">
                  <c:v>22.777361853832446</c:v>
                </c:pt>
                <c:pt idx="58">
                  <c:v>21.947483296213804</c:v>
                </c:pt>
                <c:pt idx="59">
                  <c:v>23.265801697186244</c:v>
                </c:pt>
                <c:pt idx="60">
                  <c:v>24.778601959038273</c:v>
                </c:pt>
                <c:pt idx="61">
                  <c:v>19.91785270629989</c:v>
                </c:pt>
                <c:pt idx="62">
                  <c:v>19.074012400354292</c:v>
                </c:pt>
                <c:pt idx="63">
                  <c:v>17.144086496028251</c:v>
                </c:pt>
                <c:pt idx="64">
                  <c:v>12.942765957446792</c:v>
                </c:pt>
                <c:pt idx="65">
                  <c:v>15.396561807709332</c:v>
                </c:pt>
                <c:pt idx="66">
                  <c:v>17.631425485961127</c:v>
                </c:pt>
                <c:pt idx="67">
                  <c:v>17.888841201716726</c:v>
                </c:pt>
                <c:pt idx="68">
                  <c:v>17.8438857878918</c:v>
                </c:pt>
                <c:pt idx="69">
                  <c:v>16.334156343442984</c:v>
                </c:pt>
                <c:pt idx="70">
                  <c:v>16.821455938697319</c:v>
                </c:pt>
                <c:pt idx="71">
                  <c:v>17.795932203389842</c:v>
                </c:pt>
                <c:pt idx="72">
                  <c:v>17.569707112970722</c:v>
                </c:pt>
                <c:pt idx="73">
                  <c:v>18.085445544554464</c:v>
                </c:pt>
                <c:pt idx="74">
                  <c:v>19.078868229587716</c:v>
                </c:pt>
                <c:pt idx="75">
                  <c:v>18.834368737474954</c:v>
                </c:pt>
                <c:pt idx="76">
                  <c:v>20.143333333333327</c:v>
                </c:pt>
                <c:pt idx="77">
                  <c:v>20.103333333333314</c:v>
                </c:pt>
                <c:pt idx="78">
                  <c:v>20.699038461538454</c:v>
                </c:pt>
                <c:pt idx="79">
                  <c:v>23.034585987261128</c:v>
                </c:pt>
                <c:pt idx="80">
                  <c:v>23.735335425657144</c:v>
                </c:pt>
                <c:pt idx="81">
                  <c:v>23.279750390015582</c:v>
                </c:pt>
                <c:pt idx="82">
                  <c:v>24.089743589743591</c:v>
                </c:pt>
                <c:pt idx="83">
                  <c:v>22.904664586583444</c:v>
                </c:pt>
                <c:pt idx="84">
                  <c:v>22.835172943889287</c:v>
                </c:pt>
                <c:pt idx="85">
                  <c:v>24.366235204276457</c:v>
                </c:pt>
                <c:pt idx="86">
                  <c:v>26.003310836145495</c:v>
                </c:pt>
                <c:pt idx="87">
                  <c:v>25.283345724907054</c:v>
                </c:pt>
                <c:pt idx="88">
                  <c:v>24.836047904191616</c:v>
                </c:pt>
                <c:pt idx="89">
                  <c:v>21.63500000000003</c:v>
                </c:pt>
                <c:pt idx="90">
                  <c:v>21.311481064866868</c:v>
                </c:pt>
                <c:pt idx="91">
                  <c:v>25.789142220571868</c:v>
                </c:pt>
                <c:pt idx="92">
                  <c:v>23.666350015278859</c:v>
                </c:pt>
                <c:pt idx="93">
                  <c:v>23.306769456681351</c:v>
                </c:pt>
                <c:pt idx="94">
                  <c:v>23.08612997444321</c:v>
                </c:pt>
                <c:pt idx="95">
                  <c:v>22.881027107286286</c:v>
                </c:pt>
                <c:pt idx="96">
                  <c:v>21.592161585734743</c:v>
                </c:pt>
                <c:pt idx="97">
                  <c:v>20.5998012348985</c:v>
                </c:pt>
                <c:pt idx="98">
                  <c:v>18.138856664844745</c:v>
                </c:pt>
                <c:pt idx="99">
                  <c:v>14.582060367113201</c:v>
                </c:pt>
                <c:pt idx="100">
                  <c:v>12.491796015455293</c:v>
                </c:pt>
                <c:pt idx="101">
                  <c:v>15.407760984431153</c:v>
                </c:pt>
                <c:pt idx="102">
                  <c:v>14.300430552532248</c:v>
                </c:pt>
                <c:pt idx="103">
                  <c:v>17.818444276010041</c:v>
                </c:pt>
                <c:pt idx="104">
                  <c:v>16.106333337801246</c:v>
                </c:pt>
                <c:pt idx="105">
                  <c:v>13.408958484149004</c:v>
                </c:pt>
                <c:pt idx="106">
                  <c:v>14.322318132923133</c:v>
                </c:pt>
                <c:pt idx="107">
                  <c:v>13.51796610169492</c:v>
                </c:pt>
                <c:pt idx="108">
                  <c:v>18.847447839469986</c:v>
                </c:pt>
                <c:pt idx="109">
                  <c:v>21.450007794065883</c:v>
                </c:pt>
                <c:pt idx="110">
                  <c:v>22.522123670967922</c:v>
                </c:pt>
                <c:pt idx="111">
                  <c:v>20.970420474757706</c:v>
                </c:pt>
                <c:pt idx="112">
                  <c:v>18.97549561265317</c:v>
                </c:pt>
                <c:pt idx="113">
                  <c:v>19.07762735785046</c:v>
                </c:pt>
                <c:pt idx="114">
                  <c:v>14.014110359276899</c:v>
                </c:pt>
                <c:pt idx="115">
                  <c:v>11.054855270392132</c:v>
                </c:pt>
                <c:pt idx="116">
                  <c:v>11.90707541104015</c:v>
                </c:pt>
                <c:pt idx="117">
                  <c:v>13.908608413002181</c:v>
                </c:pt>
                <c:pt idx="118">
                  <c:v>14.613297425082525</c:v>
                </c:pt>
                <c:pt idx="119">
                  <c:v>14.519530898139774</c:v>
                </c:pt>
                <c:pt idx="120">
                  <c:v>11.504504865483689</c:v>
                </c:pt>
                <c:pt idx="121">
                  <c:v>12.530391540440096</c:v>
                </c:pt>
                <c:pt idx="122">
                  <c:v>11.848776671408256</c:v>
                </c:pt>
                <c:pt idx="123">
                  <c:v>9.5193815901966303</c:v>
                </c:pt>
                <c:pt idx="124">
                  <c:v>8.4948023883992114</c:v>
                </c:pt>
                <c:pt idx="125">
                  <c:v>10.062063134160091</c:v>
                </c:pt>
                <c:pt idx="126">
                  <c:v>8.5846933033201935</c:v>
                </c:pt>
                <c:pt idx="127">
                  <c:v>10.926942057111191</c:v>
                </c:pt>
                <c:pt idx="128">
                  <c:v>7.3616971059286254</c:v>
                </c:pt>
                <c:pt idx="129">
                  <c:v>4.4592290249433137</c:v>
                </c:pt>
                <c:pt idx="130">
                  <c:v>2.5341366158433747</c:v>
                </c:pt>
                <c:pt idx="131">
                  <c:v>4.6804654100802168</c:v>
                </c:pt>
                <c:pt idx="132">
                  <c:v>3.6512913711826585</c:v>
                </c:pt>
                <c:pt idx="133">
                  <c:v>4.8132944120376102</c:v>
                </c:pt>
                <c:pt idx="134">
                  <c:v>4.6510082795658789</c:v>
                </c:pt>
                <c:pt idx="135">
                  <c:v>6.3268548687069917</c:v>
                </c:pt>
                <c:pt idx="136">
                  <c:v>8.010894136375672</c:v>
                </c:pt>
                <c:pt idx="137">
                  <c:v>8.6946758767268726</c:v>
                </c:pt>
                <c:pt idx="138">
                  <c:v>9.1134688097200751</c:v>
                </c:pt>
                <c:pt idx="139">
                  <c:v>9.144037200007709</c:v>
                </c:pt>
                <c:pt idx="140">
                  <c:v>8.2538877687027075</c:v>
                </c:pt>
                <c:pt idx="141">
                  <c:v>8.0433911952815258</c:v>
                </c:pt>
                <c:pt idx="142">
                  <c:v>8.3548123946883877</c:v>
                </c:pt>
                <c:pt idx="143">
                  <c:v>4.6535229515621701</c:v>
                </c:pt>
                <c:pt idx="144">
                  <c:v>7.493953070993399</c:v>
                </c:pt>
                <c:pt idx="145">
                  <c:v>10.104461839960916</c:v>
                </c:pt>
                <c:pt idx="146">
                  <c:v>11.380479880478127</c:v>
                </c:pt>
                <c:pt idx="147">
                  <c:v>8.2296474825349328</c:v>
                </c:pt>
                <c:pt idx="148">
                  <c:v>8.1258840380356911</c:v>
                </c:pt>
                <c:pt idx="149">
                  <c:v>5.541031061748086</c:v>
                </c:pt>
                <c:pt idx="150">
                  <c:v>7.4410861310245959</c:v>
                </c:pt>
                <c:pt idx="151">
                  <c:v>2.0091971714923993</c:v>
                </c:pt>
                <c:pt idx="152">
                  <c:v>3.0735311951679201</c:v>
                </c:pt>
                <c:pt idx="153">
                  <c:v>1.4649258494460593</c:v>
                </c:pt>
                <c:pt idx="154">
                  <c:v>6.2630934675882042</c:v>
                </c:pt>
                <c:pt idx="155">
                  <c:v>5.8417517284979947</c:v>
                </c:pt>
                <c:pt idx="156">
                  <c:v>4.7757088488379882</c:v>
                </c:pt>
                <c:pt idx="157">
                  <c:v>2.9991310569037068</c:v>
                </c:pt>
                <c:pt idx="158">
                  <c:v>1.7006132246313577</c:v>
                </c:pt>
                <c:pt idx="159">
                  <c:v>1.1457442334058499</c:v>
                </c:pt>
                <c:pt idx="160">
                  <c:v>2.8608163143756489</c:v>
                </c:pt>
                <c:pt idx="161">
                  <c:v>-0.13050150700899366</c:v>
                </c:pt>
                <c:pt idx="162">
                  <c:v>0.66394703081176232</c:v>
                </c:pt>
                <c:pt idx="163">
                  <c:v>3.0379279376930608</c:v>
                </c:pt>
                <c:pt idx="164">
                  <c:v>4.3073077740914538</c:v>
                </c:pt>
                <c:pt idx="165">
                  <c:v>10.966208541310134</c:v>
                </c:pt>
                <c:pt idx="166">
                  <c:v>9.2227907413349435</c:v>
                </c:pt>
                <c:pt idx="167">
                  <c:v>10.79</c:v>
                </c:pt>
                <c:pt idx="168">
                  <c:v>13.724488188976384</c:v>
                </c:pt>
                <c:pt idx="169">
                  <c:v>14.542529437690238</c:v>
                </c:pt>
                <c:pt idx="170">
                  <c:v>13.566643821821472</c:v>
                </c:pt>
                <c:pt idx="171">
                  <c:v>14.11675963214628</c:v>
                </c:pt>
                <c:pt idx="172">
                  <c:v>13.490167454312498</c:v>
                </c:pt>
                <c:pt idx="173">
                  <c:v>12.650610830016294</c:v>
                </c:pt>
                <c:pt idx="174">
                  <c:v>13.735622470040555</c:v>
                </c:pt>
                <c:pt idx="175">
                  <c:v>13.116544262840431</c:v>
                </c:pt>
                <c:pt idx="176">
                  <c:v>11.93098680167618</c:v>
                </c:pt>
                <c:pt idx="177">
                  <c:v>11.739423253623688</c:v>
                </c:pt>
                <c:pt idx="178">
                  <c:v>11.480121737252189</c:v>
                </c:pt>
                <c:pt idx="179">
                  <c:v>11.622737219630537</c:v>
                </c:pt>
                <c:pt idx="180">
                  <c:v>11.626946420669434</c:v>
                </c:pt>
                <c:pt idx="181">
                  <c:v>10.313547928780116</c:v>
                </c:pt>
                <c:pt idx="182">
                  <c:v>9.3460648852635479</c:v>
                </c:pt>
                <c:pt idx="183">
                  <c:v>7.7952249901577151</c:v>
                </c:pt>
                <c:pt idx="184">
                  <c:v>8.2315077640966035</c:v>
                </c:pt>
                <c:pt idx="185">
                  <c:v>8.4540311685340566</c:v>
                </c:pt>
                <c:pt idx="186">
                  <c:v>8.2063818835270421</c:v>
                </c:pt>
                <c:pt idx="187">
                  <c:v>8.0979526585031021</c:v>
                </c:pt>
                <c:pt idx="188">
                  <c:v>8.730713168807787</c:v>
                </c:pt>
                <c:pt idx="189">
                  <c:v>7.6545205479451965</c:v>
                </c:pt>
                <c:pt idx="190">
                  <c:v>7.3332110091743168</c:v>
                </c:pt>
                <c:pt idx="191">
                  <c:v>7.1853881278538783</c:v>
                </c:pt>
                <c:pt idx="192">
                  <c:v>7.1842314647377989</c:v>
                </c:pt>
                <c:pt idx="193">
                  <c:v>5.917737556561077</c:v>
                </c:pt>
                <c:pt idx="194">
                  <c:v>5.896098654708517</c:v>
                </c:pt>
                <c:pt idx="195">
                  <c:v>7.2652669039146041</c:v>
                </c:pt>
                <c:pt idx="196">
                  <c:v>7.1762468583778443</c:v>
                </c:pt>
                <c:pt idx="197">
                  <c:v>8.3938328623720224</c:v>
                </c:pt>
                <c:pt idx="198">
                  <c:v>8.6000000000000014</c:v>
                </c:pt>
                <c:pt idx="199">
                  <c:v>7.9199999999999982</c:v>
                </c:pt>
                <c:pt idx="200">
                  <c:v>6.9644986690328459</c:v>
                </c:pt>
                <c:pt idx="201">
                  <c:v>10.506805555555559</c:v>
                </c:pt>
                <c:pt idx="202">
                  <c:v>10.332022471910118</c:v>
                </c:pt>
                <c:pt idx="203">
                  <c:v>10.258205892901731</c:v>
                </c:pt>
                <c:pt idx="204">
                  <c:v>11.474039014732817</c:v>
                </c:pt>
                <c:pt idx="205">
                  <c:v>11.411172361187349</c:v>
                </c:pt>
                <c:pt idx="206">
                  <c:v>12.190000000000001</c:v>
                </c:pt>
                <c:pt idx="207">
                  <c:v>12.04</c:v>
                </c:pt>
                <c:pt idx="208">
                  <c:v>11.879999999999999</c:v>
                </c:pt>
                <c:pt idx="209">
                  <c:v>11.16</c:v>
                </c:pt>
                <c:pt idx="210">
                  <c:v>11.88</c:v>
                </c:pt>
                <c:pt idx="211">
                  <c:v>12.629999999999999</c:v>
                </c:pt>
                <c:pt idx="212">
                  <c:v>12.48</c:v>
                </c:pt>
                <c:pt idx="213">
                  <c:v>12.36</c:v>
                </c:pt>
                <c:pt idx="214">
                  <c:v>12.139999999999999</c:v>
                </c:pt>
                <c:pt idx="215">
                  <c:v>11.56</c:v>
                </c:pt>
                <c:pt idx="216">
                  <c:v>12.709999999999999</c:v>
                </c:pt>
                <c:pt idx="217">
                  <c:v>15.010000000000002</c:v>
                </c:pt>
                <c:pt idx="218">
                  <c:v>14.801688519735404</c:v>
                </c:pt>
                <c:pt idx="219">
                  <c:v>14.303100122663224</c:v>
                </c:pt>
                <c:pt idx="220">
                  <c:v>15.199188772438111</c:v>
                </c:pt>
                <c:pt idx="221">
                  <c:v>13.9297980556105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154112"/>
        <c:axId val="134155648"/>
      </c:lineChart>
      <c:dateAx>
        <c:axId val="134154112"/>
        <c:scaling>
          <c:orientation val="minMax"/>
          <c:min val="34851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 rot="-5400000" vert="horz" anchor="ctr" anchorCtr="0"/>
          <a:lstStyle/>
          <a:p>
            <a:pPr>
              <a:defRPr lang="es-ES" sz="1100"/>
            </a:pPr>
            <a:endParaRPr lang="en-US"/>
          </a:p>
        </c:txPr>
        <c:crossAx val="134155648"/>
        <c:crosses val="autoZero"/>
        <c:auto val="1"/>
        <c:lblOffset val="100"/>
        <c:baseTimeUnit val="months"/>
        <c:majorUnit val="3"/>
        <c:majorTimeUnit val="months"/>
      </c:dateAx>
      <c:valAx>
        <c:axId val="134155648"/>
        <c:scaling>
          <c:orientation val="minMax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lang="es-ES" sz="1400"/>
            </a:pPr>
            <a:endParaRPr lang="en-US"/>
          </a:p>
        </c:txPr>
        <c:crossAx val="134154112"/>
        <c:crossesAt val="34700"/>
        <c:crossBetween val="between"/>
      </c:valAx>
    </c:plotArea>
    <c:legend>
      <c:legendPos val="b"/>
      <c:overlay val="0"/>
      <c:txPr>
        <a:bodyPr/>
        <a:lstStyle/>
        <a:p>
          <a:pPr>
            <a:defRPr lang="es-ES"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4226304"/>
        <c:axId val="134227840"/>
      </c:barChart>
      <c:catAx>
        <c:axId val="134226304"/>
        <c:scaling>
          <c:orientation val="minMax"/>
        </c:scaling>
        <c:delete val="0"/>
        <c:axPos val="b"/>
        <c:majorTickMark val="out"/>
        <c:minorTickMark val="none"/>
        <c:tickLblPos val="nextTo"/>
        <c:crossAx val="134227840"/>
        <c:crosses val="autoZero"/>
        <c:auto val="1"/>
        <c:lblAlgn val="ctr"/>
        <c:lblOffset val="100"/>
        <c:noMultiLvlLbl val="0"/>
      </c:catAx>
      <c:valAx>
        <c:axId val="1342278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34226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071861808247228E-2"/>
          <c:y val="0.13433803580420728"/>
          <c:w val="0.89680654973934493"/>
          <c:h val="0.64426722674936399"/>
        </c:manualLayout>
      </c:layout>
      <c:scatterChart>
        <c:scatterStyle val="lineMarker"/>
        <c:varyColors val="0"/>
        <c:ser>
          <c:idx val="0"/>
          <c:order val="0"/>
          <c:tx>
            <c:strRef>
              <c:f>IRM!$R$97</c:f>
              <c:strCache>
                <c:ptCount val="1"/>
                <c:pt idx="0">
                  <c:v>Subasta LRM 15/07/2013</c:v>
                </c:pt>
              </c:strCache>
            </c:strRef>
          </c:tx>
          <c:spPr>
            <a:ln w="47625">
              <a:solidFill>
                <a:srgbClr val="7030A0"/>
              </a:solidFill>
            </a:ln>
          </c:spPr>
          <c:marker>
            <c:symbol val="diamond"/>
            <c:size val="7"/>
            <c:spPr>
              <a:solidFill>
                <a:srgbClr val="7030A0"/>
              </a:solidFill>
              <a:ln w="15875"/>
            </c:spPr>
          </c:marker>
          <c:dPt>
            <c:idx val="62"/>
            <c:marker>
              <c:symbol val="none"/>
            </c:marker>
            <c:bubble3D val="0"/>
          </c:dPt>
          <c:dLbls>
            <c:dLbl>
              <c:idx val="37"/>
              <c:delete val="1"/>
            </c:dLbl>
            <c:dLbl>
              <c:idx val="39"/>
              <c:delete val="1"/>
            </c:dLbl>
            <c:dLbl>
              <c:idx val="43"/>
              <c:layout>
                <c:manualLayout>
                  <c:x val="-4.6646141500189045E-2"/>
                  <c:y val="1.76025069631597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4"/>
              <c:layout>
                <c:manualLayout>
                  <c:x val="-4.9912678019810128E-2"/>
                  <c:y val="-1.10530592615585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5"/>
              <c:delete val="1"/>
            </c:dLbl>
            <c:dLbl>
              <c:idx val="46"/>
              <c:delete val="1"/>
            </c:dLbl>
            <c:dLbl>
              <c:idx val="47"/>
              <c:delete val="1"/>
            </c:dLbl>
            <c:dLbl>
              <c:idx val="48"/>
              <c:layout>
                <c:manualLayout>
                  <c:x val="-2.2112622705590047E-2"/>
                  <c:y val="3.15143594577595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9"/>
              <c:layout>
                <c:manualLayout>
                  <c:x val="-4.8869678459136465E-2"/>
                  <c:y val="-5.3531285005189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0"/>
              <c:layout>
                <c:manualLayout>
                  <c:x val="-4.9912678019810128E-2"/>
                  <c:y val="-4.78951933648766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1"/>
              <c:layout>
                <c:manualLayout>
                  <c:x val="-3.0313458902083638E-2"/>
                  <c:y val="-3.97079808238721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2"/>
              <c:delete val="1"/>
            </c:dLbl>
            <c:numFmt formatCode="#,##0.0" sourceLinked="0"/>
            <c:spPr>
              <a:solidFill>
                <a:srgbClr val="7030A0"/>
              </a:solidFill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numRef>
              <c:f>IRM!$A$98:$A$160</c:f>
              <c:numCache>
                <c:formatCode>General</c:formatCode>
                <c:ptCount val="63"/>
                <c:pt idx="0">
                  <c:v>72</c:v>
                </c:pt>
                <c:pt idx="1">
                  <c:v>163</c:v>
                </c:pt>
                <c:pt idx="2">
                  <c:v>254</c:v>
                </c:pt>
                <c:pt idx="3">
                  <c:v>345</c:v>
                </c:pt>
                <c:pt idx="4">
                  <c:v>60</c:v>
                </c:pt>
                <c:pt idx="5">
                  <c:v>151</c:v>
                </c:pt>
                <c:pt idx="6">
                  <c:v>242</c:v>
                </c:pt>
                <c:pt idx="7">
                  <c:v>333</c:v>
                </c:pt>
                <c:pt idx="8">
                  <c:v>53</c:v>
                </c:pt>
                <c:pt idx="9">
                  <c:v>144</c:v>
                </c:pt>
                <c:pt idx="10">
                  <c:v>235</c:v>
                </c:pt>
                <c:pt idx="11">
                  <c:v>326</c:v>
                </c:pt>
                <c:pt idx="12">
                  <c:v>88</c:v>
                </c:pt>
                <c:pt idx="13">
                  <c:v>179</c:v>
                </c:pt>
                <c:pt idx="14">
                  <c:v>270</c:v>
                </c:pt>
                <c:pt idx="15">
                  <c:v>361</c:v>
                </c:pt>
                <c:pt idx="16">
                  <c:v>452</c:v>
                </c:pt>
                <c:pt idx="17">
                  <c:v>85</c:v>
                </c:pt>
                <c:pt idx="18">
                  <c:v>176</c:v>
                </c:pt>
                <c:pt idx="19" formatCode="0">
                  <c:v>267</c:v>
                </c:pt>
                <c:pt idx="20">
                  <c:v>358</c:v>
                </c:pt>
                <c:pt idx="21">
                  <c:v>730</c:v>
                </c:pt>
                <c:pt idx="22">
                  <c:v>1095</c:v>
                </c:pt>
                <c:pt idx="23">
                  <c:v>1460</c:v>
                </c:pt>
                <c:pt idx="24">
                  <c:v>1825</c:v>
                </c:pt>
                <c:pt idx="25">
                  <c:v>21</c:v>
                </c:pt>
                <c:pt idx="26">
                  <c:v>1</c:v>
                </c:pt>
                <c:pt idx="27">
                  <c:v>14</c:v>
                </c:pt>
                <c:pt idx="28">
                  <c:v>63</c:v>
                </c:pt>
                <c:pt idx="29">
                  <c:v>336</c:v>
                </c:pt>
                <c:pt idx="30">
                  <c:v>70</c:v>
                </c:pt>
                <c:pt idx="31">
                  <c:v>39</c:v>
                </c:pt>
                <c:pt idx="32">
                  <c:v>63</c:v>
                </c:pt>
                <c:pt idx="33">
                  <c:v>140</c:v>
                </c:pt>
                <c:pt idx="34">
                  <c:v>32</c:v>
                </c:pt>
                <c:pt idx="35">
                  <c:v>56</c:v>
                </c:pt>
                <c:pt idx="36">
                  <c:v>406</c:v>
                </c:pt>
                <c:pt idx="37">
                  <c:v>35</c:v>
                </c:pt>
                <c:pt idx="38">
                  <c:v>308</c:v>
                </c:pt>
                <c:pt idx="39">
                  <c:v>35</c:v>
                </c:pt>
                <c:pt idx="40">
                  <c:v>308</c:v>
                </c:pt>
                <c:pt idx="41">
                  <c:v>385</c:v>
                </c:pt>
                <c:pt idx="42">
                  <c:v>476</c:v>
                </c:pt>
                <c:pt idx="43">
                  <c:v>24</c:v>
                </c:pt>
                <c:pt idx="44">
                  <c:v>62</c:v>
                </c:pt>
                <c:pt idx="45">
                  <c:v>192</c:v>
                </c:pt>
                <c:pt idx="46">
                  <c:v>283</c:v>
                </c:pt>
                <c:pt idx="47">
                  <c:v>374</c:v>
                </c:pt>
                <c:pt idx="48">
                  <c:v>52</c:v>
                </c:pt>
                <c:pt idx="49">
                  <c:v>91</c:v>
                </c:pt>
                <c:pt idx="50">
                  <c:v>182</c:v>
                </c:pt>
                <c:pt idx="51">
                  <c:v>273</c:v>
                </c:pt>
                <c:pt idx="52">
                  <c:v>364</c:v>
                </c:pt>
                <c:pt idx="53">
                  <c:v>38</c:v>
                </c:pt>
                <c:pt idx="54">
                  <c:v>63</c:v>
                </c:pt>
                <c:pt idx="55">
                  <c:v>91</c:v>
                </c:pt>
                <c:pt idx="56">
                  <c:v>182</c:v>
                </c:pt>
                <c:pt idx="57">
                  <c:v>350</c:v>
                </c:pt>
                <c:pt idx="58">
                  <c:v>532</c:v>
                </c:pt>
                <c:pt idx="59" formatCode="#,##0_);[Red]\(#,##0\)">
                  <c:v>179</c:v>
                </c:pt>
                <c:pt idx="60" formatCode="#,##0_);[Red]\(#,##0\)">
                  <c:v>347</c:v>
                </c:pt>
                <c:pt idx="61" formatCode="#,##0_);[Red]\(#,##0\)">
                  <c:v>529</c:v>
                </c:pt>
                <c:pt idx="62">
                  <c:v>730</c:v>
                </c:pt>
              </c:numCache>
            </c:numRef>
          </c:xVal>
          <c:yVal>
            <c:numRef>
              <c:f>IRM!$R$98:$R$160</c:f>
              <c:numCache>
                <c:formatCode>General</c:formatCode>
                <c:ptCount val="63"/>
                <c:pt idx="59">
                  <c:v>5.79</c:v>
                </c:pt>
                <c:pt idx="60">
                  <c:v>6.74</c:v>
                </c:pt>
                <c:pt idx="61">
                  <c:v>6.99</c:v>
                </c:pt>
                <c:pt idx="62">
                  <c:v>7.2</c:v>
                </c:pt>
              </c:numCache>
            </c:numRef>
          </c:yVal>
          <c:smooth val="0"/>
        </c:ser>
        <c:ser>
          <c:idx val="4"/>
          <c:order val="1"/>
          <c:tx>
            <c:strRef>
              <c:f>IRM!$P$97</c:f>
              <c:strCache>
                <c:ptCount val="1"/>
                <c:pt idx="0">
                  <c:v>Subasta LRM 27/06/2013</c:v>
                </c:pt>
              </c:strCache>
            </c:strRef>
          </c:tx>
          <c:spPr>
            <a:ln w="12700">
              <a:solidFill>
                <a:srgbClr val="00B050"/>
              </a:solidFill>
            </a:ln>
          </c:spPr>
          <c:marker>
            <c:symbol val="circle"/>
            <c:size val="3"/>
            <c:spPr>
              <a:noFill/>
            </c:spPr>
          </c:marker>
          <c:dPt>
            <c:idx val="25"/>
            <c:bubble3D val="0"/>
          </c:dPt>
          <c:dPt>
            <c:idx val="34"/>
            <c:marker>
              <c:symbol val="none"/>
            </c:marker>
            <c:bubble3D val="0"/>
          </c:dPt>
          <c:xVal>
            <c:numRef>
              <c:f>IRM!$A$98:$A$159</c:f>
              <c:numCache>
                <c:formatCode>General</c:formatCode>
                <c:ptCount val="62"/>
                <c:pt idx="0">
                  <c:v>72</c:v>
                </c:pt>
                <c:pt idx="1">
                  <c:v>163</c:v>
                </c:pt>
                <c:pt idx="2">
                  <c:v>254</c:v>
                </c:pt>
                <c:pt idx="3">
                  <c:v>345</c:v>
                </c:pt>
                <c:pt idx="4">
                  <c:v>60</c:v>
                </c:pt>
                <c:pt idx="5">
                  <c:v>151</c:v>
                </c:pt>
                <c:pt idx="6">
                  <c:v>242</c:v>
                </c:pt>
                <c:pt idx="7">
                  <c:v>333</c:v>
                </c:pt>
                <c:pt idx="8">
                  <c:v>53</c:v>
                </c:pt>
                <c:pt idx="9">
                  <c:v>144</c:v>
                </c:pt>
                <c:pt idx="10">
                  <c:v>235</c:v>
                </c:pt>
                <c:pt idx="11">
                  <c:v>326</c:v>
                </c:pt>
                <c:pt idx="12">
                  <c:v>88</c:v>
                </c:pt>
                <c:pt idx="13">
                  <c:v>179</c:v>
                </c:pt>
                <c:pt idx="14">
                  <c:v>270</c:v>
                </c:pt>
                <c:pt idx="15">
                  <c:v>361</c:v>
                </c:pt>
                <c:pt idx="16">
                  <c:v>452</c:v>
                </c:pt>
                <c:pt idx="17">
                  <c:v>85</c:v>
                </c:pt>
                <c:pt idx="18">
                  <c:v>176</c:v>
                </c:pt>
                <c:pt idx="19" formatCode="0">
                  <c:v>267</c:v>
                </c:pt>
                <c:pt idx="20">
                  <c:v>358</c:v>
                </c:pt>
                <c:pt idx="21">
                  <c:v>730</c:v>
                </c:pt>
                <c:pt idx="22">
                  <c:v>1095</c:v>
                </c:pt>
                <c:pt idx="23">
                  <c:v>1460</c:v>
                </c:pt>
                <c:pt idx="24">
                  <c:v>1825</c:v>
                </c:pt>
                <c:pt idx="25">
                  <c:v>21</c:v>
                </c:pt>
                <c:pt idx="26">
                  <c:v>1</c:v>
                </c:pt>
                <c:pt idx="27">
                  <c:v>14</c:v>
                </c:pt>
                <c:pt idx="28">
                  <c:v>63</c:v>
                </c:pt>
                <c:pt idx="29">
                  <c:v>336</c:v>
                </c:pt>
                <c:pt idx="30">
                  <c:v>70</c:v>
                </c:pt>
                <c:pt idx="31">
                  <c:v>39</c:v>
                </c:pt>
                <c:pt idx="32">
                  <c:v>63</c:v>
                </c:pt>
                <c:pt idx="33">
                  <c:v>140</c:v>
                </c:pt>
                <c:pt idx="34">
                  <c:v>32</c:v>
                </c:pt>
                <c:pt idx="35">
                  <c:v>56</c:v>
                </c:pt>
                <c:pt idx="36">
                  <c:v>406</c:v>
                </c:pt>
                <c:pt idx="37">
                  <c:v>35</c:v>
                </c:pt>
                <c:pt idx="38">
                  <c:v>308</c:v>
                </c:pt>
                <c:pt idx="39">
                  <c:v>35</c:v>
                </c:pt>
                <c:pt idx="40">
                  <c:v>308</c:v>
                </c:pt>
                <c:pt idx="41">
                  <c:v>385</c:v>
                </c:pt>
                <c:pt idx="42">
                  <c:v>476</c:v>
                </c:pt>
                <c:pt idx="43">
                  <c:v>24</c:v>
                </c:pt>
                <c:pt idx="44">
                  <c:v>62</c:v>
                </c:pt>
                <c:pt idx="45">
                  <c:v>192</c:v>
                </c:pt>
                <c:pt idx="46">
                  <c:v>283</c:v>
                </c:pt>
                <c:pt idx="47">
                  <c:v>374</c:v>
                </c:pt>
                <c:pt idx="48">
                  <c:v>52</c:v>
                </c:pt>
                <c:pt idx="49">
                  <c:v>91</c:v>
                </c:pt>
                <c:pt idx="50">
                  <c:v>182</c:v>
                </c:pt>
                <c:pt idx="51">
                  <c:v>273</c:v>
                </c:pt>
                <c:pt idx="52">
                  <c:v>364</c:v>
                </c:pt>
                <c:pt idx="53">
                  <c:v>38</c:v>
                </c:pt>
                <c:pt idx="54">
                  <c:v>63</c:v>
                </c:pt>
                <c:pt idx="55">
                  <c:v>91</c:v>
                </c:pt>
                <c:pt idx="56">
                  <c:v>182</c:v>
                </c:pt>
                <c:pt idx="57">
                  <c:v>350</c:v>
                </c:pt>
                <c:pt idx="58">
                  <c:v>532</c:v>
                </c:pt>
                <c:pt idx="59" formatCode="#,##0_);[Red]\(#,##0\)">
                  <c:v>179</c:v>
                </c:pt>
                <c:pt idx="60" formatCode="#,##0_);[Red]\(#,##0\)">
                  <c:v>347</c:v>
                </c:pt>
                <c:pt idx="61" formatCode="#,##0_);[Red]\(#,##0\)">
                  <c:v>529</c:v>
                </c:pt>
              </c:numCache>
            </c:numRef>
          </c:xVal>
          <c:yVal>
            <c:numRef>
              <c:f>IRM!$P$98:$P$159</c:f>
              <c:numCache>
                <c:formatCode>General</c:formatCode>
                <c:ptCount val="62"/>
                <c:pt idx="48">
                  <c:v>4.9000000000000004</c:v>
                </c:pt>
                <c:pt idx="49">
                  <c:v>5.43</c:v>
                </c:pt>
                <c:pt idx="50">
                  <c:v>5.78</c:v>
                </c:pt>
                <c:pt idx="51">
                  <c:v>6.4</c:v>
                </c:pt>
                <c:pt idx="52">
                  <c:v>6.75</c:v>
                </c:pt>
              </c:numCache>
            </c:numRef>
          </c:yVal>
          <c:smooth val="0"/>
        </c:ser>
        <c:ser>
          <c:idx val="1"/>
          <c:order val="2"/>
          <c:tx>
            <c:strRef>
              <c:f>IRM!$Q$97</c:f>
              <c:strCache>
                <c:ptCount val="1"/>
                <c:pt idx="0">
                  <c:v>Subasta LRM 11/07/2013</c:v>
                </c:pt>
              </c:strCache>
            </c:strRef>
          </c:tx>
          <c:spPr>
            <a:ln w="12700">
              <a:solidFill>
                <a:srgbClr val="002060"/>
              </a:solidFill>
            </a:ln>
          </c:spPr>
          <c:marker>
            <c:symbol val="square"/>
            <c:size val="2"/>
            <c:spPr>
              <a:solidFill>
                <a:srgbClr val="002060"/>
              </a:solidFill>
              <a:ln w="9525">
                <a:solidFill>
                  <a:srgbClr val="002060"/>
                </a:solidFill>
              </a:ln>
            </c:spPr>
          </c:marker>
          <c:dPt>
            <c:idx val="31"/>
            <c:marker>
              <c:symbol val="none"/>
            </c:marker>
            <c:bubble3D val="0"/>
          </c:dPt>
          <c:dPt>
            <c:idx val="37"/>
            <c:marker>
              <c:symbol val="none"/>
            </c:marker>
            <c:bubble3D val="0"/>
          </c:dPt>
          <c:dPt>
            <c:idx val="43"/>
            <c:marker>
              <c:symbol val="none"/>
            </c:marker>
            <c:bubble3D val="0"/>
          </c:dPt>
          <c:dPt>
            <c:idx val="54"/>
            <c:bubble3D val="0"/>
          </c:dPt>
          <c:dPt>
            <c:idx val="56"/>
            <c:bubble3D val="0"/>
          </c:dPt>
          <c:dPt>
            <c:idx val="57"/>
            <c:bubble3D val="0"/>
          </c:dPt>
          <c:dPt>
            <c:idx val="58"/>
            <c:bubble3D val="0"/>
          </c:dPt>
          <c:dPt>
            <c:idx val="59"/>
            <c:bubble3D val="0"/>
          </c:dPt>
          <c:dLbls>
            <c:dLbl>
              <c:idx val="53"/>
              <c:layout>
                <c:manualLayout>
                  <c:x val="-5.2214544217393404E-2"/>
                  <c:y val="8.1571726597264322E-3"/>
                </c:manualLayout>
              </c:layout>
              <c:tx>
                <c:rich>
                  <a:bodyPr/>
                  <a:lstStyle/>
                  <a:p>
                    <a:r>
                      <a:rPr lang="en-US" sz="500"/>
                      <a:t>5.1</a:t>
                    </a:r>
                    <a:endParaRPr lang="en-US" sz="30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5"/>
              <c:layout>
                <c:manualLayout>
                  <c:x val="-9.7902270407612627E-3"/>
                  <c:y val="2.4471517979179298E-2"/>
                </c:manualLayout>
              </c:layout>
              <c:spPr/>
              <c:txPr>
                <a:bodyPr/>
                <a:lstStyle/>
                <a:p>
                  <a:pPr>
                    <a:defRPr sz="1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5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xVal>
            <c:numRef>
              <c:f>IRM!$A$98:$A$159</c:f>
              <c:numCache>
                <c:formatCode>General</c:formatCode>
                <c:ptCount val="62"/>
                <c:pt idx="0">
                  <c:v>72</c:v>
                </c:pt>
                <c:pt idx="1">
                  <c:v>163</c:v>
                </c:pt>
                <c:pt idx="2">
                  <c:v>254</c:v>
                </c:pt>
                <c:pt idx="3">
                  <c:v>345</c:v>
                </c:pt>
                <c:pt idx="4">
                  <c:v>60</c:v>
                </c:pt>
                <c:pt idx="5">
                  <c:v>151</c:v>
                </c:pt>
                <c:pt idx="6">
                  <c:v>242</c:v>
                </c:pt>
                <c:pt idx="7">
                  <c:v>333</c:v>
                </c:pt>
                <c:pt idx="8">
                  <c:v>53</c:v>
                </c:pt>
                <c:pt idx="9">
                  <c:v>144</c:v>
                </c:pt>
                <c:pt idx="10">
                  <c:v>235</c:v>
                </c:pt>
                <c:pt idx="11">
                  <c:v>326</c:v>
                </c:pt>
                <c:pt idx="12">
                  <c:v>88</c:v>
                </c:pt>
                <c:pt idx="13">
                  <c:v>179</c:v>
                </c:pt>
                <c:pt idx="14">
                  <c:v>270</c:v>
                </c:pt>
                <c:pt idx="15">
                  <c:v>361</c:v>
                </c:pt>
                <c:pt idx="16">
                  <c:v>452</c:v>
                </c:pt>
                <c:pt idx="17">
                  <c:v>85</c:v>
                </c:pt>
                <c:pt idx="18">
                  <c:v>176</c:v>
                </c:pt>
                <c:pt idx="19" formatCode="0">
                  <c:v>267</c:v>
                </c:pt>
                <c:pt idx="20">
                  <c:v>358</c:v>
                </c:pt>
                <c:pt idx="21">
                  <c:v>730</c:v>
                </c:pt>
                <c:pt idx="22">
                  <c:v>1095</c:v>
                </c:pt>
                <c:pt idx="23">
                  <c:v>1460</c:v>
                </c:pt>
                <c:pt idx="24">
                  <c:v>1825</c:v>
                </c:pt>
                <c:pt idx="25">
                  <c:v>21</c:v>
                </c:pt>
                <c:pt idx="26">
                  <c:v>1</c:v>
                </c:pt>
                <c:pt idx="27">
                  <c:v>14</c:v>
                </c:pt>
                <c:pt idx="28">
                  <c:v>63</c:v>
                </c:pt>
                <c:pt idx="29">
                  <c:v>336</c:v>
                </c:pt>
                <c:pt idx="30">
                  <c:v>70</c:v>
                </c:pt>
                <c:pt idx="31">
                  <c:v>39</c:v>
                </c:pt>
                <c:pt idx="32">
                  <c:v>63</c:v>
                </c:pt>
                <c:pt idx="33">
                  <c:v>140</c:v>
                </c:pt>
                <c:pt idx="34">
                  <c:v>32</c:v>
                </c:pt>
                <c:pt idx="35">
                  <c:v>56</c:v>
                </c:pt>
                <c:pt idx="36">
                  <c:v>406</c:v>
                </c:pt>
                <c:pt idx="37">
                  <c:v>35</c:v>
                </c:pt>
                <c:pt idx="38">
                  <c:v>308</c:v>
                </c:pt>
                <c:pt idx="39">
                  <c:v>35</c:v>
                </c:pt>
                <c:pt idx="40">
                  <c:v>308</c:v>
                </c:pt>
                <c:pt idx="41">
                  <c:v>385</c:v>
                </c:pt>
                <c:pt idx="42">
                  <c:v>476</c:v>
                </c:pt>
                <c:pt idx="43">
                  <c:v>24</c:v>
                </c:pt>
                <c:pt idx="44">
                  <c:v>62</c:v>
                </c:pt>
                <c:pt idx="45">
                  <c:v>192</c:v>
                </c:pt>
                <c:pt idx="46">
                  <c:v>283</c:v>
                </c:pt>
                <c:pt idx="47">
                  <c:v>374</c:v>
                </c:pt>
                <c:pt idx="48">
                  <c:v>52</c:v>
                </c:pt>
                <c:pt idx="49">
                  <c:v>91</c:v>
                </c:pt>
                <c:pt idx="50">
                  <c:v>182</c:v>
                </c:pt>
                <c:pt idx="51">
                  <c:v>273</c:v>
                </c:pt>
                <c:pt idx="52">
                  <c:v>364</c:v>
                </c:pt>
                <c:pt idx="53">
                  <c:v>38</c:v>
                </c:pt>
                <c:pt idx="54">
                  <c:v>63</c:v>
                </c:pt>
                <c:pt idx="55">
                  <c:v>91</c:v>
                </c:pt>
                <c:pt idx="56">
                  <c:v>182</c:v>
                </c:pt>
                <c:pt idx="57">
                  <c:v>350</c:v>
                </c:pt>
                <c:pt idx="58">
                  <c:v>532</c:v>
                </c:pt>
                <c:pt idx="59" formatCode="#,##0_);[Red]\(#,##0\)">
                  <c:v>179</c:v>
                </c:pt>
                <c:pt idx="60" formatCode="#,##0_);[Red]\(#,##0\)">
                  <c:v>347</c:v>
                </c:pt>
                <c:pt idx="61" formatCode="#,##0_);[Red]\(#,##0\)">
                  <c:v>529</c:v>
                </c:pt>
              </c:numCache>
            </c:numRef>
          </c:xVal>
          <c:yVal>
            <c:numRef>
              <c:f>IRM!$Q$98:$Q$159</c:f>
              <c:numCache>
                <c:formatCode>General</c:formatCode>
                <c:ptCount val="62"/>
                <c:pt idx="53">
                  <c:v>5.07</c:v>
                </c:pt>
                <c:pt idx="54">
                  <c:v>5.22</c:v>
                </c:pt>
                <c:pt idx="55">
                  <c:v>5.5</c:v>
                </c:pt>
                <c:pt idx="56">
                  <c:v>5.75</c:v>
                </c:pt>
                <c:pt idx="57">
                  <c:v>6.75</c:v>
                </c:pt>
                <c:pt idx="58">
                  <c:v>6.99</c:v>
                </c:pt>
              </c:numCache>
            </c:numRef>
          </c:yVal>
          <c:smooth val="0"/>
        </c:ser>
        <c:ser>
          <c:idx val="14"/>
          <c:order val="3"/>
          <c:tx>
            <c:strRef>
              <c:f>IRM!$A$26</c:f>
              <c:strCache>
                <c:ptCount val="1"/>
                <c:pt idx="0">
                  <c:v>Botes 26/03/2012 (Promedios)</c:v>
                </c:pt>
              </c:strCache>
            </c:strRef>
          </c:tx>
          <c:dLbls>
            <c:dLbl>
              <c:idx val="26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2"/>
              <c:delete val="1"/>
            </c:dLbl>
            <c:dLbl>
              <c:idx val="33"/>
              <c:layout>
                <c:manualLayout>
                  <c:x val="3.2653052829039928E-3"/>
                  <c:y val="1.22230837910038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4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txPr>
              <a:bodyPr/>
              <a:lstStyle/>
              <a:p>
                <a:pPr>
                  <a:defRPr sz="600">
                    <a:solidFill>
                      <a:srgbClr val="0070C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strRef>
              <c:f>IRM!$B$1:$AU$1</c:f>
              <c:strCache>
                <c:ptCount val="46"/>
                <c:pt idx="0">
                  <c:v>1 día</c:v>
                </c:pt>
                <c:pt idx="1">
                  <c:v>14 días</c:v>
                </c:pt>
                <c:pt idx="2">
                  <c:v>53 dias</c:v>
                </c:pt>
                <c:pt idx="3">
                  <c:v>60 días</c:v>
                </c:pt>
                <c:pt idx="4">
                  <c:v>72 días</c:v>
                </c:pt>
                <c:pt idx="5">
                  <c:v>79 dias</c:v>
                </c:pt>
                <c:pt idx="6">
                  <c:v>88 dias</c:v>
                </c:pt>
                <c:pt idx="7">
                  <c:v>91 días</c:v>
                </c:pt>
                <c:pt idx="8">
                  <c:v>119 días</c:v>
                </c:pt>
                <c:pt idx="9">
                  <c:v>144 días</c:v>
                </c:pt>
                <c:pt idx="10">
                  <c:v>149 días</c:v>
                </c:pt>
                <c:pt idx="11">
                  <c:v>151 días</c:v>
                </c:pt>
                <c:pt idx="12">
                  <c:v>163 días</c:v>
                </c:pt>
                <c:pt idx="13">
                  <c:v>170 días</c:v>
                </c:pt>
                <c:pt idx="14">
                  <c:v>179 dias</c:v>
                </c:pt>
                <c:pt idx="15">
                  <c:v>182 días</c:v>
                </c:pt>
                <c:pt idx="16">
                  <c:v>210 días</c:v>
                </c:pt>
                <c:pt idx="17">
                  <c:v>235 días</c:v>
                </c:pt>
                <c:pt idx="18">
                  <c:v>240 días</c:v>
                </c:pt>
                <c:pt idx="19">
                  <c:v>242 días</c:v>
                </c:pt>
                <c:pt idx="20">
                  <c:v>254 días</c:v>
                </c:pt>
                <c:pt idx="21">
                  <c:v>261 días</c:v>
                </c:pt>
                <c:pt idx="22">
                  <c:v>270 dias</c:v>
                </c:pt>
                <c:pt idx="23">
                  <c:v>273 días</c:v>
                </c:pt>
                <c:pt idx="24">
                  <c:v>301 días</c:v>
                </c:pt>
                <c:pt idx="25">
                  <c:v>326 días</c:v>
                </c:pt>
                <c:pt idx="26">
                  <c:v>333 días</c:v>
                </c:pt>
                <c:pt idx="27">
                  <c:v>345 días</c:v>
                </c:pt>
                <c:pt idx="28">
                  <c:v>352 días</c:v>
                </c:pt>
                <c:pt idx="29">
                  <c:v>361 dias</c:v>
                </c:pt>
                <c:pt idx="30">
                  <c:v>364 días</c:v>
                </c:pt>
                <c:pt idx="31">
                  <c:v>392 días</c:v>
                </c:pt>
                <c:pt idx="32">
                  <c:v>443 días</c:v>
                </c:pt>
                <c:pt idx="33">
                  <c:v>452 dias</c:v>
                </c:pt>
                <c:pt idx="34">
                  <c:v>2 años</c:v>
                </c:pt>
                <c:pt idx="35">
                  <c:v>2,5 años</c:v>
                </c:pt>
                <c:pt idx="36">
                  <c:v>2,7 años</c:v>
                </c:pt>
                <c:pt idx="37">
                  <c:v>3 años</c:v>
                </c:pt>
                <c:pt idx="38">
                  <c:v>3.25</c:v>
                </c:pt>
                <c:pt idx="39">
                  <c:v>3.5</c:v>
                </c:pt>
                <c:pt idx="40">
                  <c:v>3.7</c:v>
                </c:pt>
                <c:pt idx="41">
                  <c:v>4 años</c:v>
                </c:pt>
                <c:pt idx="42">
                  <c:v>4.25</c:v>
                </c:pt>
                <c:pt idx="43">
                  <c:v>4.5</c:v>
                </c:pt>
                <c:pt idx="44">
                  <c:v>4.7</c:v>
                </c:pt>
                <c:pt idx="45">
                  <c:v>5 años</c:v>
                </c:pt>
              </c:strCache>
            </c:strRef>
          </c:xVal>
          <c:yVal>
            <c:numRef>
              <c:f>IRM!$B$26:$AO$26</c:f>
            </c:numRef>
          </c:yVal>
          <c:smooth val="0"/>
        </c:ser>
        <c:ser>
          <c:idx val="10"/>
          <c:order val="4"/>
          <c:tx>
            <c:strRef>
              <c:f>IRM!$A$32</c:f>
              <c:strCache>
                <c:ptCount val="1"/>
                <c:pt idx="0">
                  <c:v>Botes 23/10/2012 -16/10/2012-22/11/2012 (Promedios)</c:v>
                </c:pt>
              </c:strCache>
            </c:strRef>
          </c:tx>
          <c:dLbls>
            <c:dLbl>
              <c:idx val="35"/>
              <c:layout>
                <c:manualLayout>
                  <c:x val="3.2653052829039928E-3"/>
                  <c:y val="-4.07436126366795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600">
                    <a:solidFill>
                      <a:srgbClr val="CC00F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strRef>
              <c:f>IRM!$B$1:$AU$1</c:f>
              <c:strCache>
                <c:ptCount val="46"/>
                <c:pt idx="0">
                  <c:v>1 día</c:v>
                </c:pt>
                <c:pt idx="1">
                  <c:v>14 días</c:v>
                </c:pt>
                <c:pt idx="2">
                  <c:v>53 dias</c:v>
                </c:pt>
                <c:pt idx="3">
                  <c:v>60 días</c:v>
                </c:pt>
                <c:pt idx="4">
                  <c:v>72 días</c:v>
                </c:pt>
                <c:pt idx="5">
                  <c:v>79 dias</c:v>
                </c:pt>
                <c:pt idx="6">
                  <c:v>88 dias</c:v>
                </c:pt>
                <c:pt idx="7">
                  <c:v>91 días</c:v>
                </c:pt>
                <c:pt idx="8">
                  <c:v>119 días</c:v>
                </c:pt>
                <c:pt idx="9">
                  <c:v>144 días</c:v>
                </c:pt>
                <c:pt idx="10">
                  <c:v>149 días</c:v>
                </c:pt>
                <c:pt idx="11">
                  <c:v>151 días</c:v>
                </c:pt>
                <c:pt idx="12">
                  <c:v>163 días</c:v>
                </c:pt>
                <c:pt idx="13">
                  <c:v>170 días</c:v>
                </c:pt>
                <c:pt idx="14">
                  <c:v>179 dias</c:v>
                </c:pt>
                <c:pt idx="15">
                  <c:v>182 días</c:v>
                </c:pt>
                <c:pt idx="16">
                  <c:v>210 días</c:v>
                </c:pt>
                <c:pt idx="17">
                  <c:v>235 días</c:v>
                </c:pt>
                <c:pt idx="18">
                  <c:v>240 días</c:v>
                </c:pt>
                <c:pt idx="19">
                  <c:v>242 días</c:v>
                </c:pt>
                <c:pt idx="20">
                  <c:v>254 días</c:v>
                </c:pt>
                <c:pt idx="21">
                  <c:v>261 días</c:v>
                </c:pt>
                <c:pt idx="22">
                  <c:v>270 dias</c:v>
                </c:pt>
                <c:pt idx="23">
                  <c:v>273 días</c:v>
                </c:pt>
                <c:pt idx="24">
                  <c:v>301 días</c:v>
                </c:pt>
                <c:pt idx="25">
                  <c:v>326 días</c:v>
                </c:pt>
                <c:pt idx="26">
                  <c:v>333 días</c:v>
                </c:pt>
                <c:pt idx="27">
                  <c:v>345 días</c:v>
                </c:pt>
                <c:pt idx="28">
                  <c:v>352 días</c:v>
                </c:pt>
                <c:pt idx="29">
                  <c:v>361 dias</c:v>
                </c:pt>
                <c:pt idx="30">
                  <c:v>364 días</c:v>
                </c:pt>
                <c:pt idx="31">
                  <c:v>392 días</c:v>
                </c:pt>
                <c:pt idx="32">
                  <c:v>443 días</c:v>
                </c:pt>
                <c:pt idx="33">
                  <c:v>452 dias</c:v>
                </c:pt>
                <c:pt idx="34">
                  <c:v>2 años</c:v>
                </c:pt>
                <c:pt idx="35">
                  <c:v>2,5 años</c:v>
                </c:pt>
                <c:pt idx="36">
                  <c:v>2,7 años</c:v>
                </c:pt>
                <c:pt idx="37">
                  <c:v>3 años</c:v>
                </c:pt>
                <c:pt idx="38">
                  <c:v>3.25</c:v>
                </c:pt>
                <c:pt idx="39">
                  <c:v>3.5</c:v>
                </c:pt>
                <c:pt idx="40">
                  <c:v>3.7</c:v>
                </c:pt>
                <c:pt idx="41">
                  <c:v>4 años</c:v>
                </c:pt>
                <c:pt idx="42">
                  <c:v>4.25</c:v>
                </c:pt>
                <c:pt idx="43">
                  <c:v>4.5</c:v>
                </c:pt>
                <c:pt idx="44">
                  <c:v>4.7</c:v>
                </c:pt>
                <c:pt idx="45">
                  <c:v>5 años</c:v>
                </c:pt>
              </c:strCache>
            </c:strRef>
          </c:xVal>
          <c:yVal>
            <c:numRef>
              <c:f>IRM!$B$32:$AO$32</c:f>
            </c:numRef>
          </c:yVal>
          <c:smooth val="0"/>
        </c:ser>
        <c:ser>
          <c:idx val="2"/>
          <c:order val="5"/>
          <c:tx>
            <c:strRef>
              <c:f>IRM!$S$97</c:f>
              <c:strCache>
                <c:ptCount val="1"/>
                <c:pt idx="0">
                  <c:v>Botes 12/03/2013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noFill/>
              </a:ln>
            </c:spPr>
          </c:marker>
          <c:dLbls>
            <c:numFmt formatCode="#,##0.0" sourceLinked="0"/>
            <c:spPr>
              <a:solidFill>
                <a:srgbClr val="FF0000"/>
              </a:solidFill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numRef>
              <c:f>IRM!$A$98:$A$159</c:f>
              <c:numCache>
                <c:formatCode>General</c:formatCode>
                <c:ptCount val="62"/>
                <c:pt idx="0">
                  <c:v>72</c:v>
                </c:pt>
                <c:pt idx="1">
                  <c:v>163</c:v>
                </c:pt>
                <c:pt idx="2">
                  <c:v>254</c:v>
                </c:pt>
                <c:pt idx="3">
                  <c:v>345</c:v>
                </c:pt>
                <c:pt idx="4">
                  <c:v>60</c:v>
                </c:pt>
                <c:pt idx="5">
                  <c:v>151</c:v>
                </c:pt>
                <c:pt idx="6">
                  <c:v>242</c:v>
                </c:pt>
                <c:pt idx="7">
                  <c:v>333</c:v>
                </c:pt>
                <c:pt idx="8">
                  <c:v>53</c:v>
                </c:pt>
                <c:pt idx="9">
                  <c:v>144</c:v>
                </c:pt>
                <c:pt idx="10">
                  <c:v>235</c:v>
                </c:pt>
                <c:pt idx="11">
                  <c:v>326</c:v>
                </c:pt>
                <c:pt idx="12">
                  <c:v>88</c:v>
                </c:pt>
                <c:pt idx="13">
                  <c:v>179</c:v>
                </c:pt>
                <c:pt idx="14">
                  <c:v>270</c:v>
                </c:pt>
                <c:pt idx="15">
                  <c:v>361</c:v>
                </c:pt>
                <c:pt idx="16">
                  <c:v>452</c:v>
                </c:pt>
                <c:pt idx="17">
                  <c:v>85</c:v>
                </c:pt>
                <c:pt idx="18">
                  <c:v>176</c:v>
                </c:pt>
                <c:pt idx="19" formatCode="0">
                  <c:v>267</c:v>
                </c:pt>
                <c:pt idx="20">
                  <c:v>358</c:v>
                </c:pt>
                <c:pt idx="21">
                  <c:v>730</c:v>
                </c:pt>
                <c:pt idx="22">
                  <c:v>1095</c:v>
                </c:pt>
                <c:pt idx="23">
                  <c:v>1460</c:v>
                </c:pt>
                <c:pt idx="24">
                  <c:v>1825</c:v>
                </c:pt>
                <c:pt idx="25">
                  <c:v>21</c:v>
                </c:pt>
                <c:pt idx="26">
                  <c:v>1</c:v>
                </c:pt>
                <c:pt idx="27">
                  <c:v>14</c:v>
                </c:pt>
                <c:pt idx="28">
                  <c:v>63</c:v>
                </c:pt>
                <c:pt idx="29">
                  <c:v>336</c:v>
                </c:pt>
                <c:pt idx="30">
                  <c:v>70</c:v>
                </c:pt>
                <c:pt idx="31">
                  <c:v>39</c:v>
                </c:pt>
                <c:pt idx="32">
                  <c:v>63</c:v>
                </c:pt>
                <c:pt idx="33">
                  <c:v>140</c:v>
                </c:pt>
                <c:pt idx="34">
                  <c:v>32</c:v>
                </c:pt>
                <c:pt idx="35">
                  <c:v>56</c:v>
                </c:pt>
                <c:pt idx="36">
                  <c:v>406</c:v>
                </c:pt>
                <c:pt idx="37">
                  <c:v>35</c:v>
                </c:pt>
                <c:pt idx="38">
                  <c:v>308</c:v>
                </c:pt>
                <c:pt idx="39">
                  <c:v>35</c:v>
                </c:pt>
                <c:pt idx="40">
                  <c:v>308</c:v>
                </c:pt>
                <c:pt idx="41">
                  <c:v>385</c:v>
                </c:pt>
                <c:pt idx="42">
                  <c:v>476</c:v>
                </c:pt>
                <c:pt idx="43">
                  <c:v>24</c:v>
                </c:pt>
                <c:pt idx="44">
                  <c:v>62</c:v>
                </c:pt>
                <c:pt idx="45">
                  <c:v>192</c:v>
                </c:pt>
                <c:pt idx="46">
                  <c:v>283</c:v>
                </c:pt>
                <c:pt idx="47">
                  <c:v>374</c:v>
                </c:pt>
                <c:pt idx="48">
                  <c:v>52</c:v>
                </c:pt>
                <c:pt idx="49">
                  <c:v>91</c:v>
                </c:pt>
                <c:pt idx="50">
                  <c:v>182</c:v>
                </c:pt>
                <c:pt idx="51">
                  <c:v>273</c:v>
                </c:pt>
                <c:pt idx="52">
                  <c:v>364</c:v>
                </c:pt>
                <c:pt idx="53">
                  <c:v>38</c:v>
                </c:pt>
                <c:pt idx="54">
                  <c:v>63</c:v>
                </c:pt>
                <c:pt idx="55">
                  <c:v>91</c:v>
                </c:pt>
                <c:pt idx="56">
                  <c:v>182</c:v>
                </c:pt>
                <c:pt idx="57">
                  <c:v>350</c:v>
                </c:pt>
                <c:pt idx="58">
                  <c:v>532</c:v>
                </c:pt>
                <c:pt idx="59" formatCode="#,##0_);[Red]\(#,##0\)">
                  <c:v>179</c:v>
                </c:pt>
                <c:pt idx="60" formatCode="#,##0_);[Red]\(#,##0\)">
                  <c:v>347</c:v>
                </c:pt>
                <c:pt idx="61" formatCode="#,##0_);[Red]\(#,##0\)">
                  <c:v>529</c:v>
                </c:pt>
              </c:numCache>
            </c:numRef>
          </c:xVal>
          <c:yVal>
            <c:numRef>
              <c:f>IRM!$S$98:$S$159</c:f>
              <c:numCache>
                <c:formatCode>General</c:formatCode>
                <c:ptCount val="62"/>
                <c:pt idx="21">
                  <c:v>7.2</c:v>
                </c:pt>
                <c:pt idx="22">
                  <c:v>7.8</c:v>
                </c:pt>
                <c:pt idx="23">
                  <c:v>8.4</c:v>
                </c:pt>
                <c:pt idx="24">
                  <c:v>9</c:v>
                </c:pt>
              </c:numCache>
            </c:numRef>
          </c:yVal>
          <c:smooth val="0"/>
        </c:ser>
        <c:ser>
          <c:idx val="3"/>
          <c:order val="6"/>
          <c:tx>
            <c:strRef>
              <c:f>IRM!$U$97</c:f>
              <c:strCache>
                <c:ptCount val="1"/>
                <c:pt idx="0">
                  <c:v>Tasa de política Monetaria</c:v>
                </c:pt>
              </c:strCache>
            </c:strRef>
          </c:tx>
          <c:spPr>
            <a:ln>
              <a:solidFill>
                <a:srgbClr val="CC00FF"/>
              </a:solidFill>
            </a:ln>
          </c:spPr>
          <c:marker>
            <c:symbol val="x"/>
            <c:size val="5"/>
            <c:spPr>
              <a:solidFill>
                <a:srgbClr val="CC00FF"/>
              </a:solidFill>
              <a:ln>
                <a:solidFill>
                  <a:schemeClr val="bg1"/>
                </a:solidFill>
              </a:ln>
            </c:spPr>
          </c:marker>
          <c:dPt>
            <c:idx val="12"/>
            <c:bubble3D val="0"/>
          </c:dPt>
          <c:dPt>
            <c:idx val="21"/>
            <c:bubble3D val="0"/>
          </c:dPt>
          <c:dPt>
            <c:idx val="26"/>
            <c:marker>
              <c:symbol val="x"/>
              <c:size val="8"/>
              <c:spPr>
                <a:solidFill>
                  <a:srgbClr val="CC00FF"/>
                </a:solidFill>
                <a:ln w="15875">
                  <a:solidFill>
                    <a:schemeClr val="bg1"/>
                  </a:solidFill>
                </a:ln>
              </c:spPr>
            </c:marker>
            <c:bubble3D val="0"/>
            <c:spPr>
              <a:ln>
                <a:solidFill>
                  <a:srgbClr val="FFFF00"/>
                </a:solidFill>
              </a:ln>
            </c:spPr>
          </c:dPt>
          <c:dLbls>
            <c:dLbl>
              <c:idx val="21"/>
              <c:layout>
                <c:manualLayout>
                  <c:x val="-4.8921731649535498E-2"/>
                  <c:y val="4.44433274404301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-1.8580201059773187E-2"/>
                  <c:y val="-3.6017855722580129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numRef>
              <c:f>IRM!$A$98:$A$159</c:f>
              <c:numCache>
                <c:formatCode>General</c:formatCode>
                <c:ptCount val="62"/>
                <c:pt idx="0">
                  <c:v>72</c:v>
                </c:pt>
                <c:pt idx="1">
                  <c:v>163</c:v>
                </c:pt>
                <c:pt idx="2">
                  <c:v>254</c:v>
                </c:pt>
                <c:pt idx="3">
                  <c:v>345</c:v>
                </c:pt>
                <c:pt idx="4">
                  <c:v>60</c:v>
                </c:pt>
                <c:pt idx="5">
                  <c:v>151</c:v>
                </c:pt>
                <c:pt idx="6">
                  <c:v>242</c:v>
                </c:pt>
                <c:pt idx="7">
                  <c:v>333</c:v>
                </c:pt>
                <c:pt idx="8">
                  <c:v>53</c:v>
                </c:pt>
                <c:pt idx="9">
                  <c:v>144</c:v>
                </c:pt>
                <c:pt idx="10">
                  <c:v>235</c:v>
                </c:pt>
                <c:pt idx="11">
                  <c:v>326</c:v>
                </c:pt>
                <c:pt idx="12">
                  <c:v>88</c:v>
                </c:pt>
                <c:pt idx="13">
                  <c:v>179</c:v>
                </c:pt>
                <c:pt idx="14">
                  <c:v>270</c:v>
                </c:pt>
                <c:pt idx="15">
                  <c:v>361</c:v>
                </c:pt>
                <c:pt idx="16">
                  <c:v>452</c:v>
                </c:pt>
                <c:pt idx="17">
                  <c:v>85</c:v>
                </c:pt>
                <c:pt idx="18">
                  <c:v>176</c:v>
                </c:pt>
                <c:pt idx="19" formatCode="0">
                  <c:v>267</c:v>
                </c:pt>
                <c:pt idx="20">
                  <c:v>358</c:v>
                </c:pt>
                <c:pt idx="21">
                  <c:v>730</c:v>
                </c:pt>
                <c:pt idx="22">
                  <c:v>1095</c:v>
                </c:pt>
                <c:pt idx="23">
                  <c:v>1460</c:v>
                </c:pt>
                <c:pt idx="24">
                  <c:v>1825</c:v>
                </c:pt>
                <c:pt idx="25">
                  <c:v>21</c:v>
                </c:pt>
                <c:pt idx="26">
                  <c:v>1</c:v>
                </c:pt>
                <c:pt idx="27">
                  <c:v>14</c:v>
                </c:pt>
                <c:pt idx="28">
                  <c:v>63</c:v>
                </c:pt>
                <c:pt idx="29">
                  <c:v>336</c:v>
                </c:pt>
                <c:pt idx="30">
                  <c:v>70</c:v>
                </c:pt>
                <c:pt idx="31">
                  <c:v>39</c:v>
                </c:pt>
                <c:pt idx="32">
                  <c:v>63</c:v>
                </c:pt>
                <c:pt idx="33">
                  <c:v>140</c:v>
                </c:pt>
                <c:pt idx="34">
                  <c:v>32</c:v>
                </c:pt>
                <c:pt idx="35">
                  <c:v>56</c:v>
                </c:pt>
                <c:pt idx="36">
                  <c:v>406</c:v>
                </c:pt>
                <c:pt idx="37">
                  <c:v>35</c:v>
                </c:pt>
                <c:pt idx="38">
                  <c:v>308</c:v>
                </c:pt>
                <c:pt idx="39">
                  <c:v>35</c:v>
                </c:pt>
                <c:pt idx="40">
                  <c:v>308</c:v>
                </c:pt>
                <c:pt idx="41">
                  <c:v>385</c:v>
                </c:pt>
                <c:pt idx="42">
                  <c:v>476</c:v>
                </c:pt>
                <c:pt idx="43">
                  <c:v>24</c:v>
                </c:pt>
                <c:pt idx="44">
                  <c:v>62</c:v>
                </c:pt>
                <c:pt idx="45">
                  <c:v>192</c:v>
                </c:pt>
                <c:pt idx="46">
                  <c:v>283</c:v>
                </c:pt>
                <c:pt idx="47">
                  <c:v>374</c:v>
                </c:pt>
                <c:pt idx="48">
                  <c:v>52</c:v>
                </c:pt>
                <c:pt idx="49">
                  <c:v>91</c:v>
                </c:pt>
                <c:pt idx="50">
                  <c:v>182</c:v>
                </c:pt>
                <c:pt idx="51">
                  <c:v>273</c:v>
                </c:pt>
                <c:pt idx="52">
                  <c:v>364</c:v>
                </c:pt>
                <c:pt idx="53">
                  <c:v>38</c:v>
                </c:pt>
                <c:pt idx="54">
                  <c:v>63</c:v>
                </c:pt>
                <c:pt idx="55">
                  <c:v>91</c:v>
                </c:pt>
                <c:pt idx="56">
                  <c:v>182</c:v>
                </c:pt>
                <c:pt idx="57">
                  <c:v>350</c:v>
                </c:pt>
                <c:pt idx="58">
                  <c:v>532</c:v>
                </c:pt>
                <c:pt idx="59" formatCode="#,##0_);[Red]\(#,##0\)">
                  <c:v>179</c:v>
                </c:pt>
                <c:pt idx="60" formatCode="#,##0_);[Red]\(#,##0\)">
                  <c:v>347</c:v>
                </c:pt>
                <c:pt idx="61" formatCode="#,##0_);[Red]\(#,##0\)">
                  <c:v>529</c:v>
                </c:pt>
              </c:numCache>
            </c:numRef>
          </c:xVal>
          <c:yVal>
            <c:numRef>
              <c:f>IRM!$U$98:$U$159</c:f>
              <c:numCache>
                <c:formatCode>General</c:formatCode>
                <c:ptCount val="62"/>
                <c:pt idx="26">
                  <c:v>5.5</c:v>
                </c:pt>
              </c:numCache>
            </c:numRef>
          </c:yVal>
          <c:smooth val="0"/>
        </c:ser>
        <c:ser>
          <c:idx val="5"/>
          <c:order val="7"/>
          <c:tx>
            <c:strRef>
              <c:f>IRM!$T$97</c:f>
              <c:strCache>
                <c:ptCount val="1"/>
                <c:pt idx="0">
                  <c:v>Botes 19/06/2013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diamond"/>
            <c:size val="5"/>
            <c:spPr>
              <a:solidFill>
                <a:srgbClr val="50AFFE"/>
              </a:solidFill>
            </c:spPr>
          </c:marker>
          <c:dLbls>
            <c:dLbl>
              <c:idx val="22"/>
              <c:layout>
                <c:manualLayout>
                  <c:x val="-3.9198438235452979E-2"/>
                  <c:y val="3.68424564345205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3.5931901715831896E-2"/>
                  <c:y val="3.68424564345205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5.2264584313937192E-2"/>
                  <c:y val="4.09360627050227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solidFill>
                <a:srgbClr val="00B0F0"/>
              </a:solidFill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numRef>
              <c:f>IRM!$A$98:$A$159</c:f>
              <c:numCache>
                <c:formatCode>General</c:formatCode>
                <c:ptCount val="62"/>
                <c:pt idx="0">
                  <c:v>72</c:v>
                </c:pt>
                <c:pt idx="1">
                  <c:v>163</c:v>
                </c:pt>
                <c:pt idx="2">
                  <c:v>254</c:v>
                </c:pt>
                <c:pt idx="3">
                  <c:v>345</c:v>
                </c:pt>
                <c:pt idx="4">
                  <c:v>60</c:v>
                </c:pt>
                <c:pt idx="5">
                  <c:v>151</c:v>
                </c:pt>
                <c:pt idx="6">
                  <c:v>242</c:v>
                </c:pt>
                <c:pt idx="7">
                  <c:v>333</c:v>
                </c:pt>
                <c:pt idx="8">
                  <c:v>53</c:v>
                </c:pt>
                <c:pt idx="9">
                  <c:v>144</c:v>
                </c:pt>
                <c:pt idx="10">
                  <c:v>235</c:v>
                </c:pt>
                <c:pt idx="11">
                  <c:v>326</c:v>
                </c:pt>
                <c:pt idx="12">
                  <c:v>88</c:v>
                </c:pt>
                <c:pt idx="13">
                  <c:v>179</c:v>
                </c:pt>
                <c:pt idx="14">
                  <c:v>270</c:v>
                </c:pt>
                <c:pt idx="15">
                  <c:v>361</c:v>
                </c:pt>
                <c:pt idx="16">
                  <c:v>452</c:v>
                </c:pt>
                <c:pt idx="17">
                  <c:v>85</c:v>
                </c:pt>
                <c:pt idx="18">
                  <c:v>176</c:v>
                </c:pt>
                <c:pt idx="19" formatCode="0">
                  <c:v>267</c:v>
                </c:pt>
                <c:pt idx="20">
                  <c:v>358</c:v>
                </c:pt>
                <c:pt idx="21">
                  <c:v>730</c:v>
                </c:pt>
                <c:pt idx="22">
                  <c:v>1095</c:v>
                </c:pt>
                <c:pt idx="23">
                  <c:v>1460</c:v>
                </c:pt>
                <c:pt idx="24">
                  <c:v>1825</c:v>
                </c:pt>
                <c:pt idx="25">
                  <c:v>21</c:v>
                </c:pt>
                <c:pt idx="26">
                  <c:v>1</c:v>
                </c:pt>
                <c:pt idx="27">
                  <c:v>14</c:v>
                </c:pt>
                <c:pt idx="28">
                  <c:v>63</c:v>
                </c:pt>
                <c:pt idx="29">
                  <c:v>336</c:v>
                </c:pt>
                <c:pt idx="30">
                  <c:v>70</c:v>
                </c:pt>
                <c:pt idx="31">
                  <c:v>39</c:v>
                </c:pt>
                <c:pt idx="32">
                  <c:v>63</c:v>
                </c:pt>
                <c:pt idx="33">
                  <c:v>140</c:v>
                </c:pt>
                <c:pt idx="34">
                  <c:v>32</c:v>
                </c:pt>
                <c:pt idx="35">
                  <c:v>56</c:v>
                </c:pt>
                <c:pt idx="36">
                  <c:v>406</c:v>
                </c:pt>
                <c:pt idx="37">
                  <c:v>35</c:v>
                </c:pt>
                <c:pt idx="38">
                  <c:v>308</c:v>
                </c:pt>
                <c:pt idx="39">
                  <c:v>35</c:v>
                </c:pt>
                <c:pt idx="40">
                  <c:v>308</c:v>
                </c:pt>
                <c:pt idx="41">
                  <c:v>385</c:v>
                </c:pt>
                <c:pt idx="42">
                  <c:v>476</c:v>
                </c:pt>
                <c:pt idx="43">
                  <c:v>24</c:v>
                </c:pt>
                <c:pt idx="44">
                  <c:v>62</c:v>
                </c:pt>
                <c:pt idx="45">
                  <c:v>192</c:v>
                </c:pt>
                <c:pt idx="46">
                  <c:v>283</c:v>
                </c:pt>
                <c:pt idx="47">
                  <c:v>374</c:v>
                </c:pt>
                <c:pt idx="48">
                  <c:v>52</c:v>
                </c:pt>
                <c:pt idx="49">
                  <c:v>91</c:v>
                </c:pt>
                <c:pt idx="50">
                  <c:v>182</c:v>
                </c:pt>
                <c:pt idx="51">
                  <c:v>273</c:v>
                </c:pt>
                <c:pt idx="52">
                  <c:v>364</c:v>
                </c:pt>
                <c:pt idx="53">
                  <c:v>38</c:v>
                </c:pt>
                <c:pt idx="54">
                  <c:v>63</c:v>
                </c:pt>
                <c:pt idx="55">
                  <c:v>91</c:v>
                </c:pt>
                <c:pt idx="56">
                  <c:v>182</c:v>
                </c:pt>
                <c:pt idx="57">
                  <c:v>350</c:v>
                </c:pt>
                <c:pt idx="58">
                  <c:v>532</c:v>
                </c:pt>
                <c:pt idx="59" formatCode="#,##0_);[Red]\(#,##0\)">
                  <c:v>179</c:v>
                </c:pt>
                <c:pt idx="60" formatCode="#,##0_);[Red]\(#,##0\)">
                  <c:v>347</c:v>
                </c:pt>
                <c:pt idx="61" formatCode="#,##0_);[Red]\(#,##0\)">
                  <c:v>529</c:v>
                </c:pt>
              </c:numCache>
            </c:numRef>
          </c:xVal>
          <c:yVal>
            <c:numRef>
              <c:f>IRM!$T$98:$T$159</c:f>
              <c:numCache>
                <c:formatCode>General</c:formatCode>
                <c:ptCount val="62"/>
                <c:pt idx="22">
                  <c:v>7.65</c:v>
                </c:pt>
                <c:pt idx="23">
                  <c:v>8.1</c:v>
                </c:pt>
                <c:pt idx="24">
                  <c:v>8.550000000000000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4901120"/>
        <c:axId val="134923776"/>
      </c:scatterChart>
      <c:valAx>
        <c:axId val="134901120"/>
        <c:scaling>
          <c:orientation val="minMax"/>
          <c:min val="1"/>
        </c:scaling>
        <c:delete val="0"/>
        <c:axPos val="b"/>
        <c:title>
          <c:tx>
            <c:rich>
              <a:bodyPr/>
              <a:lstStyle/>
              <a:p>
                <a:pPr>
                  <a:defRPr sz="1200" b="1"/>
                </a:pPr>
                <a:r>
                  <a:rPr lang="es-PY" sz="1200" b="1" dirty="0" smtClean="0"/>
                  <a:t>Días</a:t>
                </a:r>
                <a:endParaRPr lang="es-PY" sz="1200" b="1" dirty="0"/>
              </a:p>
            </c:rich>
          </c:tx>
          <c:layout>
            <c:manualLayout>
              <c:xMode val="edge"/>
              <c:yMode val="edge"/>
              <c:x val="0.47985675729213095"/>
              <c:y val="0.8618881730692754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420000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134923776"/>
        <c:crossesAt val="0"/>
        <c:crossBetween val="midCat"/>
        <c:majorUnit val="45"/>
        <c:minorUnit val="1"/>
      </c:valAx>
      <c:valAx>
        <c:axId val="134923776"/>
        <c:scaling>
          <c:orientation val="minMax"/>
          <c:max val="12"/>
          <c:min val="0"/>
        </c:scaling>
        <c:delete val="0"/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s-ES" sz="1200" b="1"/>
                  <a:t>%</a:t>
                </a:r>
              </a:p>
            </c:rich>
          </c:tx>
          <c:layout>
            <c:manualLayout>
              <c:xMode val="edge"/>
              <c:yMode val="edge"/>
              <c:x val="2.7322958450948353E-2"/>
              <c:y val="5.9151356080489936E-2"/>
            </c:manualLayout>
          </c:layout>
          <c:overlay val="0"/>
          <c:spPr>
            <a:noFill/>
            <a:ln w="25400">
              <a:noFill/>
            </a:ln>
          </c:spPr>
        </c:title>
        <c:numFmt formatCode="#,##0" sourceLinked="0"/>
        <c:majorTickMark val="none"/>
        <c:minorTickMark val="none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134901120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7.1534614372203209E-2"/>
          <c:y val="0.90885826771653544"/>
          <c:w val="0.81253578400734583"/>
          <c:h val="6.8048993875765545E-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span"/>
    <c:showDLblsOverMax val="0"/>
  </c:chart>
  <c:spPr>
    <a:noFill/>
    <a:ln w="6350">
      <a:noFill/>
      <a:prstDash val="solid"/>
    </a:ln>
  </c:spPr>
  <c:txPr>
    <a:bodyPr/>
    <a:lstStyle/>
    <a:p>
      <a:pPr>
        <a:defRPr sz="825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5869409670401058E-2"/>
          <c:y val="0.12742930754173978"/>
          <c:w val="0.79301185093448667"/>
          <c:h val="0.71659232698714226"/>
        </c:manualLayout>
      </c:layout>
      <c:lineChart>
        <c:grouping val="standard"/>
        <c:varyColors val="0"/>
        <c:ser>
          <c:idx val="0"/>
          <c:order val="0"/>
          <c:tx>
            <c:strRef>
              <c:f>'951_excel'!$D$7</c:f>
              <c:strCache>
                <c:ptCount val="1"/>
                <c:pt idx="0">
                  <c:v>Guaraní (Paraguay) 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D$176:$D$243</c:f>
              <c:numCache>
                <c:formatCode>0.00</c:formatCode>
                <c:ptCount val="65"/>
                <c:pt idx="0">
                  <c:v>90.414885116264614</c:v>
                </c:pt>
                <c:pt idx="1">
                  <c:v>86.230081951924149</c:v>
                </c:pt>
                <c:pt idx="2">
                  <c:v>83.986637714677954</c:v>
                </c:pt>
                <c:pt idx="3">
                  <c:v>84.385931730998564</c:v>
                </c:pt>
                <c:pt idx="4">
                  <c:v>84.632238960871504</c:v>
                </c:pt>
                <c:pt idx="5">
                  <c:v>84.936844480904952</c:v>
                </c:pt>
                <c:pt idx="6">
                  <c:v>91.585698956804123</c:v>
                </c:pt>
                <c:pt idx="7">
                  <c:v>102.55586903441845</c:v>
                </c:pt>
                <c:pt idx="8">
                  <c:v>103.60475516364072</c:v>
                </c:pt>
                <c:pt idx="9">
                  <c:v>105.99355929262944</c:v>
                </c:pt>
                <c:pt idx="10">
                  <c:v>108.08793279474517</c:v>
                </c:pt>
                <c:pt idx="11">
                  <c:v>109.26253443164606</c:v>
                </c:pt>
                <c:pt idx="12">
                  <c:v>107.30257426079508</c:v>
                </c:pt>
                <c:pt idx="13">
                  <c:v>107.01525964638654</c:v>
                </c:pt>
                <c:pt idx="14">
                  <c:v>106.84655735268774</c:v>
                </c:pt>
                <c:pt idx="15">
                  <c:v>106.91313663782798</c:v>
                </c:pt>
                <c:pt idx="16">
                  <c:v>105.35737409777448</c:v>
                </c:pt>
                <c:pt idx="17">
                  <c:v>104.91960786987799</c:v>
                </c:pt>
                <c:pt idx="18">
                  <c:v>103.79490382353245</c:v>
                </c:pt>
                <c:pt idx="19">
                  <c:v>102.88897494321405</c:v>
                </c:pt>
                <c:pt idx="20">
                  <c:v>99.373542943542716</c:v>
                </c:pt>
                <c:pt idx="21">
                  <c:v>98.863195098574394</c:v>
                </c:pt>
                <c:pt idx="22">
                  <c:v>99.835795180084702</c:v>
                </c:pt>
                <c:pt idx="23">
                  <c:v>99.899458802562975</c:v>
                </c:pt>
                <c:pt idx="24">
                  <c:v>99.840376019589471</c:v>
                </c:pt>
                <c:pt idx="25">
                  <c:v>100.40225456821707</c:v>
                </c:pt>
                <c:pt idx="26">
                  <c:v>101.03436766822529</c:v>
                </c:pt>
                <c:pt idx="27">
                  <c:v>101.36314924742771</c:v>
                </c:pt>
                <c:pt idx="28">
                  <c:v>101.02506918392953</c:v>
                </c:pt>
                <c:pt idx="29">
                  <c:v>101.79168325608894</c:v>
                </c:pt>
                <c:pt idx="30">
                  <c:v>104.42625380655363</c:v>
                </c:pt>
                <c:pt idx="31">
                  <c:v>102.45636965402328</c:v>
                </c:pt>
                <c:pt idx="32">
                  <c:v>98.578185653238165</c:v>
                </c:pt>
                <c:pt idx="33">
                  <c:v>97.763866295234607</c:v>
                </c:pt>
                <c:pt idx="34">
                  <c:v>97.388263106833506</c:v>
                </c:pt>
                <c:pt idx="35">
                  <c:v>92.148397593641832</c:v>
                </c:pt>
                <c:pt idx="36">
                  <c:v>86.064419300677869</c:v>
                </c:pt>
                <c:pt idx="37">
                  <c:v>84.964050077590613</c:v>
                </c:pt>
                <c:pt idx="38">
                  <c:v>85.111413726304306</c:v>
                </c:pt>
                <c:pt idx="39">
                  <c:v>83.660911249954424</c:v>
                </c:pt>
                <c:pt idx="40">
                  <c:v>82.165760132785763</c:v>
                </c:pt>
                <c:pt idx="41">
                  <c:v>84.897655466631718</c:v>
                </c:pt>
                <c:pt idx="42">
                  <c:v>88.647800373168465</c:v>
                </c:pt>
                <c:pt idx="43">
                  <c:v>91.417282386645809</c:v>
                </c:pt>
                <c:pt idx="44">
                  <c:v>94.241945103747781</c:v>
                </c:pt>
                <c:pt idx="45">
                  <c:v>97.692382812640375</c:v>
                </c:pt>
                <c:pt idx="46">
                  <c:v>95.357559639943872</c:v>
                </c:pt>
                <c:pt idx="47">
                  <c:v>90.691800391340067</c:v>
                </c:pt>
                <c:pt idx="48">
                  <c:v>91.563350530755343</c:v>
                </c:pt>
                <c:pt idx="49">
                  <c:v>92.735458321293322</c:v>
                </c:pt>
                <c:pt idx="50">
                  <c:v>96.135232546562193</c:v>
                </c:pt>
                <c:pt idx="51">
                  <c:v>94.411679340892647</c:v>
                </c:pt>
                <c:pt idx="52">
                  <c:v>93.805869000411434</c:v>
                </c:pt>
                <c:pt idx="53">
                  <c:v>94.129078347590294</c:v>
                </c:pt>
                <c:pt idx="54">
                  <c:v>94.76292302667288</c:v>
                </c:pt>
                <c:pt idx="55">
                  <c:v>94.93538707709051</c:v>
                </c:pt>
                <c:pt idx="56">
                  <c:v>91.061018620524749</c:v>
                </c:pt>
                <c:pt idx="57">
                  <c:v>89.166343137063194</c:v>
                </c:pt>
                <c:pt idx="58">
                  <c:v>85.412456608676464</c:v>
                </c:pt>
                <c:pt idx="59">
                  <c:v>84.831034142367017</c:v>
                </c:pt>
                <c:pt idx="60">
                  <c:v>86.750874802762894</c:v>
                </c:pt>
                <c:pt idx="61">
                  <c:v>88.531545881065782</c:v>
                </c:pt>
                <c:pt idx="62">
                  <c:v>92.867275914758167</c:v>
                </c:pt>
                <c:pt idx="63">
                  <c:v>95.151574407895808</c:v>
                </c:pt>
                <c:pt idx="64">
                  <c:v>94.3101441675481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951_excel'!$F$7</c:f>
              <c:strCache>
                <c:ptCount val="1"/>
                <c:pt idx="0">
                  <c:v>Peso argentino 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F$176:$F$243</c:f>
              <c:numCache>
                <c:formatCode>0.00</c:formatCode>
                <c:ptCount val="65"/>
                <c:pt idx="0">
                  <c:v>100.70292620865141</c:v>
                </c:pt>
                <c:pt idx="1">
                  <c:v>100.29580152671755</c:v>
                </c:pt>
                <c:pt idx="2">
                  <c:v>96.917938931297698</c:v>
                </c:pt>
                <c:pt idx="3">
                  <c:v>96.078244274809165</c:v>
                </c:pt>
                <c:pt idx="4">
                  <c:v>96.459923664122144</c:v>
                </c:pt>
                <c:pt idx="5">
                  <c:v>97.763994910941477</c:v>
                </c:pt>
                <c:pt idx="6">
                  <c:v>102.48091603053436</c:v>
                </c:pt>
                <c:pt idx="7">
                  <c:v>105.75699745547074</c:v>
                </c:pt>
                <c:pt idx="8">
                  <c:v>108.69274809160305</c:v>
                </c:pt>
                <c:pt idx="9">
                  <c:v>110.07951653944019</c:v>
                </c:pt>
                <c:pt idx="10">
                  <c:v>111.57760814249365</c:v>
                </c:pt>
                <c:pt idx="11">
                  <c:v>116.05916030534351</c:v>
                </c:pt>
                <c:pt idx="12">
                  <c:v>117.3823155216285</c:v>
                </c:pt>
                <c:pt idx="13">
                  <c:v>118.4033078880407</c:v>
                </c:pt>
                <c:pt idx="14">
                  <c:v>119.66921119592875</c:v>
                </c:pt>
                <c:pt idx="15">
                  <c:v>121.04007633587786</c:v>
                </c:pt>
                <c:pt idx="16">
                  <c:v>122.0324427480916</c:v>
                </c:pt>
                <c:pt idx="17">
                  <c:v>122.15648854961832</c:v>
                </c:pt>
                <c:pt idx="18">
                  <c:v>121.67302798982189</c:v>
                </c:pt>
                <c:pt idx="19">
                  <c:v>121.14503816793894</c:v>
                </c:pt>
                <c:pt idx="20">
                  <c:v>120.97328244274807</c:v>
                </c:pt>
                <c:pt idx="21">
                  <c:v>120.85241730279897</c:v>
                </c:pt>
                <c:pt idx="22">
                  <c:v>122.32824427480915</c:v>
                </c:pt>
                <c:pt idx="23">
                  <c:v>122.75445292620863</c:v>
                </c:pt>
                <c:pt idx="24">
                  <c:v>123.18702290076335</c:v>
                </c:pt>
                <c:pt idx="25">
                  <c:v>123.93447837150127</c:v>
                </c:pt>
                <c:pt idx="26">
                  <c:v>124.72964376590329</c:v>
                </c:pt>
                <c:pt idx="27">
                  <c:v>125.05725190839694</c:v>
                </c:pt>
                <c:pt idx="28">
                  <c:v>125.162213740458</c:v>
                </c:pt>
                <c:pt idx="29">
                  <c:v>125.64567430025444</c:v>
                </c:pt>
                <c:pt idx="30">
                  <c:v>125.82061068702291</c:v>
                </c:pt>
                <c:pt idx="31">
                  <c:v>126.13670786380693</c:v>
                </c:pt>
                <c:pt idx="32">
                  <c:v>126.43765903307889</c:v>
                </c:pt>
                <c:pt idx="33">
                  <c:v>126.52671755725191</c:v>
                </c:pt>
                <c:pt idx="34">
                  <c:v>127.81488549618321</c:v>
                </c:pt>
                <c:pt idx="35">
                  <c:v>128.28589998893671</c:v>
                </c:pt>
                <c:pt idx="36">
                  <c:v>129.21930661577611</c:v>
                </c:pt>
                <c:pt idx="37">
                  <c:v>129.79296784640297</c:v>
                </c:pt>
                <c:pt idx="38">
                  <c:v>130.14040348964028</c:v>
                </c:pt>
                <c:pt idx="39">
                  <c:v>131.11398885253845</c:v>
                </c:pt>
                <c:pt idx="40">
                  <c:v>132.44043488318289</c:v>
                </c:pt>
                <c:pt idx="41">
                  <c:v>133.64231188658684</c:v>
                </c:pt>
                <c:pt idx="42">
                  <c:v>134.1750368287131</c:v>
                </c:pt>
                <c:pt idx="43">
                  <c:v>135.4431721798133</c:v>
                </c:pt>
                <c:pt idx="44">
                  <c:v>136.31694535320486</c:v>
                </c:pt>
                <c:pt idx="45">
                  <c:v>137.29325699745544</c:v>
                </c:pt>
                <c:pt idx="46">
                  <c:v>138.18656852053817</c:v>
                </c:pt>
                <c:pt idx="47">
                  <c:v>138.47010178117048</c:v>
                </c:pt>
                <c:pt idx="48">
                  <c:v>139.76208651399489</c:v>
                </c:pt>
                <c:pt idx="49">
                  <c:v>141.39176663031614</c:v>
                </c:pt>
                <c:pt idx="50">
                  <c:v>142.90106627892874</c:v>
                </c:pt>
                <c:pt idx="51">
                  <c:v>144.66777989821881</c:v>
                </c:pt>
                <c:pt idx="52">
                  <c:v>146.52454892435813</c:v>
                </c:pt>
                <c:pt idx="53">
                  <c:v>148.38422391857503</c:v>
                </c:pt>
                <c:pt idx="54">
                  <c:v>150.22770645385145</c:v>
                </c:pt>
                <c:pt idx="55">
                  <c:v>152.52942111959285</c:v>
                </c:pt>
                <c:pt idx="56">
                  <c:v>155.7888040712468</c:v>
                </c:pt>
                <c:pt idx="57">
                  <c:v>157.31985889428626</c:v>
                </c:pt>
                <c:pt idx="58">
                  <c:v>159.23107506361322</c:v>
                </c:pt>
                <c:pt idx="59">
                  <c:v>161.61895674300254</c:v>
                </c:pt>
                <c:pt idx="60">
                  <c:v>163.77110802683333</c:v>
                </c:pt>
                <c:pt idx="61">
                  <c:v>166.50354416575794</c:v>
                </c:pt>
                <c:pt idx="62">
                  <c:v>169.35830152671755</c:v>
                </c:pt>
                <c:pt idx="63">
                  <c:v>172.80057251908397</c:v>
                </c:pt>
                <c:pt idx="64">
                  <c:v>175.7633587786259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951_excel'!$H$7</c:f>
              <c:strCache>
                <c:ptCount val="1"/>
                <c:pt idx="0">
                  <c:v>Real (Brasil) </c:v>
                </c:pt>
              </c:strCache>
            </c:strRef>
          </c:tx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H$176:$H$243</c:f>
              <c:numCache>
                <c:formatCode>0.00</c:formatCode>
                <c:ptCount val="65"/>
                <c:pt idx="0">
                  <c:v>95.307653262647335</c:v>
                </c:pt>
                <c:pt idx="1">
                  <c:v>93.643900513225432</c:v>
                </c:pt>
                <c:pt idx="2">
                  <c:v>91.337206023348941</c:v>
                </c:pt>
                <c:pt idx="3">
                  <c:v>89.752411031526705</c:v>
                </c:pt>
                <c:pt idx="4">
                  <c:v>90.643505724437432</c:v>
                </c:pt>
                <c:pt idx="5">
                  <c:v>100.27071231177035</c:v>
                </c:pt>
                <c:pt idx="6">
                  <c:v>122.45220235745305</c:v>
                </c:pt>
                <c:pt idx="7">
                  <c:v>127.52241836331848</c:v>
                </c:pt>
                <c:pt idx="8">
                  <c:v>134.97264677683157</c:v>
                </c:pt>
                <c:pt idx="9">
                  <c:v>130.36489763690713</c:v>
                </c:pt>
                <c:pt idx="10">
                  <c:v>130.67508882747731</c:v>
                </c:pt>
                <c:pt idx="11">
                  <c:v>130.67508882747731</c:v>
                </c:pt>
                <c:pt idx="12">
                  <c:v>124.7194179685297</c:v>
                </c:pt>
                <c:pt idx="13">
                  <c:v>116.94771868478935</c:v>
                </c:pt>
                <c:pt idx="14">
                  <c:v>110.35474592521575</c:v>
                </c:pt>
                <c:pt idx="15">
                  <c:v>109.1872990807061</c:v>
                </c:pt>
                <c:pt idx="16">
                  <c:v>103.9817269189555</c:v>
                </c:pt>
                <c:pt idx="17">
                  <c:v>102.92707687101688</c:v>
                </c:pt>
                <c:pt idx="18">
                  <c:v>98.020416220179357</c:v>
                </c:pt>
                <c:pt idx="19">
                  <c:v>97.512830635609959</c:v>
                </c:pt>
                <c:pt idx="20">
                  <c:v>98.759235237719253</c:v>
                </c:pt>
                <c:pt idx="21">
                  <c:v>100.09587727708534</c:v>
                </c:pt>
                <c:pt idx="22">
                  <c:v>104.08888387569792</c:v>
                </c:pt>
                <c:pt idx="23">
                  <c:v>100.750098697197</c:v>
                </c:pt>
                <c:pt idx="24">
                  <c:v>99.131464666403474</c:v>
                </c:pt>
                <c:pt idx="25">
                  <c:v>102.04726185776325</c:v>
                </c:pt>
                <c:pt idx="26">
                  <c:v>102.09802041622018</c:v>
                </c:pt>
                <c:pt idx="27">
                  <c:v>99.859004004286277</c:v>
                </c:pt>
                <c:pt idx="28">
                  <c:v>99.170943545203315</c:v>
                </c:pt>
                <c:pt idx="29">
                  <c:v>97.067283289154588</c:v>
                </c:pt>
                <c:pt idx="30">
                  <c:v>94.929783994134581</c:v>
                </c:pt>
                <c:pt idx="31">
                  <c:v>96.601593657597434</c:v>
                </c:pt>
                <c:pt idx="32">
                  <c:v>95.679882691331557</c:v>
                </c:pt>
                <c:pt idx="33">
                  <c:v>94.427838249393716</c:v>
                </c:pt>
                <c:pt idx="34">
                  <c:v>94.038689301223854</c:v>
                </c:pt>
                <c:pt idx="35">
                  <c:v>93.597800952887596</c:v>
                </c:pt>
                <c:pt idx="36">
                  <c:v>89.515537758727675</c:v>
                </c:pt>
                <c:pt idx="37">
                  <c:v>90.845770889197453</c:v>
                </c:pt>
                <c:pt idx="38">
                  <c:v>89.516074886330159</c:v>
                </c:pt>
                <c:pt idx="39">
                  <c:v>88.158216306656698</c:v>
                </c:pt>
                <c:pt idx="40">
                  <c:v>89.854184504796692</c:v>
                </c:pt>
                <c:pt idx="41">
                  <c:v>97.666717693788854</c:v>
                </c:pt>
                <c:pt idx="42">
                  <c:v>100.67143777327226</c:v>
                </c:pt>
                <c:pt idx="43">
                  <c:v>100.63327344360556</c:v>
                </c:pt>
                <c:pt idx="44">
                  <c:v>103.64065089122892</c:v>
                </c:pt>
                <c:pt idx="45">
                  <c:v>101.11591921698495</c:v>
                </c:pt>
                <c:pt idx="46">
                  <c:v>96.861831981114435</c:v>
                </c:pt>
                <c:pt idx="47">
                  <c:v>100.88545485308218</c:v>
                </c:pt>
                <c:pt idx="48">
                  <c:v>104.40386893012239</c:v>
                </c:pt>
                <c:pt idx="49">
                  <c:v>111.48056538051436</c:v>
                </c:pt>
                <c:pt idx="50">
                  <c:v>115.54098149326828</c:v>
                </c:pt>
                <c:pt idx="51">
                  <c:v>114.43545203316228</c:v>
                </c:pt>
                <c:pt idx="52">
                  <c:v>114.37108095221025</c:v>
                </c:pt>
                <c:pt idx="53">
                  <c:v>114.3168992824133</c:v>
                </c:pt>
                <c:pt idx="54">
                  <c:v>114.41671238355029</c:v>
                </c:pt>
                <c:pt idx="55">
                  <c:v>116.51175906604252</c:v>
                </c:pt>
                <c:pt idx="56">
                  <c:v>116.19761998759235</c:v>
                </c:pt>
                <c:pt idx="57">
                  <c:v>114.5151532241938</c:v>
                </c:pt>
                <c:pt idx="58">
                  <c:v>111.29180531272912</c:v>
                </c:pt>
                <c:pt idx="59">
                  <c:v>111.71958716372457</c:v>
                </c:pt>
                <c:pt idx="60">
                  <c:v>112.90344081500818</c:v>
                </c:pt>
                <c:pt idx="61">
                  <c:v>114.7030624330269</c:v>
                </c:pt>
                <c:pt idx="62">
                  <c:v>122.27821329874232</c:v>
                </c:pt>
                <c:pt idx="63">
                  <c:v>126.78821376018388</c:v>
                </c:pt>
                <c:pt idx="64">
                  <c:v>129.9475494895945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951_excel'!$J$7</c:f>
              <c:strCache>
                <c:ptCount val="1"/>
                <c:pt idx="0">
                  <c:v>Peso (Chile)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J$176:$J$243</c:f>
              <c:numCache>
                <c:formatCode>0.00</c:formatCode>
                <c:ptCount val="65"/>
                <c:pt idx="0">
                  <c:v>92.832189644416729</c:v>
                </c:pt>
                <c:pt idx="1">
                  <c:v>97.754210854647553</c:v>
                </c:pt>
                <c:pt idx="2">
                  <c:v>102.64296111457685</c:v>
                </c:pt>
                <c:pt idx="3">
                  <c:v>104.43751299646497</c:v>
                </c:pt>
                <c:pt idx="4">
                  <c:v>107.44437512996466</c:v>
                </c:pt>
                <c:pt idx="5">
                  <c:v>110.24537325847371</c:v>
                </c:pt>
                <c:pt idx="6">
                  <c:v>128.59014348097318</c:v>
                </c:pt>
                <c:pt idx="7">
                  <c:v>135.47723019338741</c:v>
                </c:pt>
                <c:pt idx="8">
                  <c:v>135.02183406113539</c:v>
                </c:pt>
                <c:pt idx="9">
                  <c:v>129.55084217092951</c:v>
                </c:pt>
                <c:pt idx="10">
                  <c:v>126.01372426699938</c:v>
                </c:pt>
                <c:pt idx="11">
                  <c:v>123.29590351424413</c:v>
                </c:pt>
                <c:pt idx="12">
                  <c:v>121.26845498024537</c:v>
                </c:pt>
                <c:pt idx="13">
                  <c:v>117.63776252859223</c:v>
                </c:pt>
                <c:pt idx="14">
                  <c:v>115.00935745477233</c:v>
                </c:pt>
                <c:pt idx="15">
                  <c:v>112.3767935121647</c:v>
                </c:pt>
                <c:pt idx="16">
                  <c:v>113.72010813058849</c:v>
                </c:pt>
                <c:pt idx="17">
                  <c:v>114.17550426284053</c:v>
                </c:pt>
                <c:pt idx="18">
                  <c:v>113.50176751923478</c:v>
                </c:pt>
                <c:pt idx="19">
                  <c:v>105.58951965065502</c:v>
                </c:pt>
                <c:pt idx="20">
                  <c:v>104.27323767935121</c:v>
                </c:pt>
                <c:pt idx="21">
                  <c:v>104.10896236223748</c:v>
                </c:pt>
                <c:pt idx="22">
                  <c:v>110.74235807860262</c:v>
                </c:pt>
                <c:pt idx="23">
                  <c:v>108.78768974838844</c:v>
                </c:pt>
                <c:pt idx="24">
                  <c:v>108.25951341235185</c:v>
                </c:pt>
                <c:pt idx="25">
                  <c:v>110.87752131420254</c:v>
                </c:pt>
                <c:pt idx="26">
                  <c:v>111.59700561447285</c:v>
                </c:pt>
                <c:pt idx="27">
                  <c:v>110.56768558951966</c:v>
                </c:pt>
                <c:pt idx="28">
                  <c:v>105.90975254730715</c:v>
                </c:pt>
                <c:pt idx="29">
                  <c:v>102.70950301517988</c:v>
                </c:pt>
                <c:pt idx="30">
                  <c:v>100.6529423996673</c:v>
                </c:pt>
                <c:pt idx="31">
                  <c:v>100.2945865391281</c:v>
                </c:pt>
                <c:pt idx="32">
                  <c:v>98.726991058432105</c:v>
                </c:pt>
                <c:pt idx="33">
                  <c:v>101.77604491578292</c:v>
                </c:pt>
                <c:pt idx="34">
                  <c:v>98.916822624246208</c:v>
                </c:pt>
                <c:pt idx="35">
                  <c:v>99.740522751724697</c:v>
                </c:pt>
                <c:pt idx="36">
                  <c:v>98.007901850696626</c:v>
                </c:pt>
                <c:pt idx="37">
                  <c:v>97.261101344070696</c:v>
                </c:pt>
                <c:pt idx="38">
                  <c:v>97.611125964213983</c:v>
                </c:pt>
                <c:pt idx="39">
                  <c:v>96.264741704542118</c:v>
                </c:pt>
                <c:pt idx="40">
                  <c:v>97.066012590030155</c:v>
                </c:pt>
                <c:pt idx="41">
                  <c:v>100.58095436136618</c:v>
                </c:pt>
                <c:pt idx="42">
                  <c:v>106.41385122194136</c:v>
                </c:pt>
                <c:pt idx="43">
                  <c:v>105.72626721722168</c:v>
                </c:pt>
                <c:pt idx="44">
                  <c:v>107.54250462921711</c:v>
                </c:pt>
                <c:pt idx="45">
                  <c:v>104.25026938127367</c:v>
                </c:pt>
                <c:pt idx="46">
                  <c:v>100.12238956718049</c:v>
                </c:pt>
                <c:pt idx="47">
                  <c:v>100.93480973175298</c:v>
                </c:pt>
                <c:pt idx="48">
                  <c:v>101.06071948430026</c:v>
                </c:pt>
                <c:pt idx="49">
                  <c:v>103.36620820089313</c:v>
                </c:pt>
                <c:pt idx="50">
                  <c:v>105.14204517323664</c:v>
                </c:pt>
                <c:pt idx="51">
                  <c:v>102.29455188188814</c:v>
                </c:pt>
                <c:pt idx="52">
                  <c:v>100.01956558725121</c:v>
                </c:pt>
                <c:pt idx="53">
                  <c:v>98.767262363460588</c:v>
                </c:pt>
                <c:pt idx="54">
                  <c:v>98.848560464280936</c:v>
                </c:pt>
                <c:pt idx="55">
                  <c:v>99.931482636722819</c:v>
                </c:pt>
                <c:pt idx="56">
                  <c:v>98.777292576419214</c:v>
                </c:pt>
                <c:pt idx="57">
                  <c:v>98.288341934630068</c:v>
                </c:pt>
                <c:pt idx="58">
                  <c:v>98.22000415886879</c:v>
                </c:pt>
                <c:pt idx="59">
                  <c:v>98.249116240382634</c:v>
                </c:pt>
                <c:pt idx="60">
                  <c:v>98.177848352520897</c:v>
                </c:pt>
                <c:pt idx="61">
                  <c:v>99.726108784124975</c:v>
                </c:pt>
                <c:pt idx="62">
                  <c:v>104.57184445830737</c:v>
                </c:pt>
                <c:pt idx="63">
                  <c:v>105.0035917503167</c:v>
                </c:pt>
                <c:pt idx="64">
                  <c:v>107.2655437720940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951_excel'!$L$7</c:f>
              <c:strCache>
                <c:ptCount val="1"/>
                <c:pt idx="0">
                  <c:v>Nuevo sol  (Perú) </c:v>
                </c:pt>
              </c:strCache>
            </c:strRef>
          </c:tx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L$176:$L$243</c:f>
              <c:numCache>
                <c:formatCode>0.00</c:formatCode>
                <c:ptCount val="65"/>
                <c:pt idx="0">
                  <c:v>92.960515166920871</c:v>
                </c:pt>
                <c:pt idx="1">
                  <c:v>94.773767158108797</c:v>
                </c:pt>
                <c:pt idx="2">
                  <c:v>97.786815793933243</c:v>
                </c:pt>
                <c:pt idx="3">
                  <c:v>96.671750550754112</c:v>
                </c:pt>
                <c:pt idx="4">
                  <c:v>97.725809184883914</c:v>
                </c:pt>
                <c:pt idx="5">
                  <c:v>100.48466361633621</c:v>
                </c:pt>
                <c:pt idx="6">
                  <c:v>103.73496017624133</c:v>
                </c:pt>
                <c:pt idx="7">
                  <c:v>104.79918657854601</c:v>
                </c:pt>
                <c:pt idx="8">
                  <c:v>105.39569564480598</c:v>
                </c:pt>
                <c:pt idx="9">
                  <c:v>106.71072699542449</c:v>
                </c:pt>
                <c:pt idx="10">
                  <c:v>109.48652770716826</c:v>
                </c:pt>
                <c:pt idx="11">
                  <c:v>107.65294017963056</c:v>
                </c:pt>
                <c:pt idx="12">
                  <c:v>104.68395187256397</c:v>
                </c:pt>
                <c:pt idx="13">
                  <c:v>101.57261481104898</c:v>
                </c:pt>
                <c:pt idx="14">
                  <c:v>101.26080325368581</c:v>
                </c:pt>
                <c:pt idx="15">
                  <c:v>101.95221148957805</c:v>
                </c:pt>
                <c:pt idx="16">
                  <c:v>100.0033892560583</c:v>
                </c:pt>
                <c:pt idx="17">
                  <c:v>98.674800881206579</c:v>
                </c:pt>
                <c:pt idx="18">
                  <c:v>97.247924080664291</c:v>
                </c:pt>
                <c:pt idx="19">
                  <c:v>97.763091001525169</c:v>
                </c:pt>
                <c:pt idx="20">
                  <c:v>97.502118285036431</c:v>
                </c:pt>
                <c:pt idx="21">
                  <c:v>96.827656329435698</c:v>
                </c:pt>
                <c:pt idx="22">
                  <c:v>96.698864599220471</c:v>
                </c:pt>
                <c:pt idx="23">
                  <c:v>96.217590238942563</c:v>
                </c:pt>
                <c:pt idx="24">
                  <c:v>96.220979495000847</c:v>
                </c:pt>
                <c:pt idx="25">
                  <c:v>96.400610066090493</c:v>
                </c:pt>
                <c:pt idx="26">
                  <c:v>96.143026605660069</c:v>
                </c:pt>
                <c:pt idx="27">
                  <c:v>95.671920013557028</c:v>
                </c:pt>
                <c:pt idx="28">
                  <c:v>94.963565497373324</c:v>
                </c:pt>
                <c:pt idx="29">
                  <c:v>94.573801050669388</c:v>
                </c:pt>
                <c:pt idx="30">
                  <c:v>94.580579562785971</c:v>
                </c:pt>
                <c:pt idx="31">
                  <c:v>95.025863251587879</c:v>
                </c:pt>
                <c:pt idx="32">
                  <c:v>95.37366548042705</c:v>
                </c:pt>
                <c:pt idx="33">
                  <c:v>94.441620064395863</c:v>
                </c:pt>
                <c:pt idx="34">
                  <c:v>93.889171326893745</c:v>
                </c:pt>
                <c:pt idx="35">
                  <c:v>94.134081916845275</c:v>
                </c:pt>
                <c:pt idx="36">
                  <c:v>95.389256058295217</c:v>
                </c:pt>
                <c:pt idx="37">
                  <c:v>94.143365531265886</c:v>
                </c:pt>
                <c:pt idx="38">
                  <c:v>93.651923402813082</c:v>
                </c:pt>
                <c:pt idx="39">
                  <c:v>92.914195334124045</c:v>
                </c:pt>
                <c:pt idx="40">
                  <c:v>92.808152701390952</c:v>
                </c:pt>
                <c:pt idx="41">
                  <c:v>92.9127427958136</c:v>
                </c:pt>
                <c:pt idx="42">
                  <c:v>92.645849499192678</c:v>
                </c:pt>
                <c:pt idx="43">
                  <c:v>91.662430096593795</c:v>
                </c:pt>
                <c:pt idx="44">
                  <c:v>91.273472615618033</c:v>
                </c:pt>
                <c:pt idx="45">
                  <c:v>91.070850857327585</c:v>
                </c:pt>
                <c:pt idx="46">
                  <c:v>90.724413134174213</c:v>
                </c:pt>
                <c:pt idx="47">
                  <c:v>90.269445856634476</c:v>
                </c:pt>
                <c:pt idx="48">
                  <c:v>89.910693102863931</c:v>
                </c:pt>
                <c:pt idx="49">
                  <c:v>90.36369945368412</c:v>
                </c:pt>
                <c:pt idx="50">
                  <c:v>90.52428563358923</c:v>
                </c:pt>
                <c:pt idx="51">
                  <c:v>89.260803253685822</c:v>
                </c:pt>
                <c:pt idx="52">
                  <c:v>88.62827563895172</c:v>
                </c:pt>
                <c:pt idx="53">
                  <c:v>88.200604085050344</c:v>
                </c:pt>
                <c:pt idx="54">
                  <c:v>87.727503812913071</c:v>
                </c:pt>
                <c:pt idx="55">
                  <c:v>88.057278427385185</c:v>
                </c:pt>
                <c:pt idx="56">
                  <c:v>86.798847652940182</c:v>
                </c:pt>
                <c:pt idx="57">
                  <c:v>86.428494400024746</c:v>
                </c:pt>
                <c:pt idx="58">
                  <c:v>87.354685646500599</c:v>
                </c:pt>
                <c:pt idx="59">
                  <c:v>87.890188103711239</c:v>
                </c:pt>
                <c:pt idx="60">
                  <c:v>87.95489208300593</c:v>
                </c:pt>
                <c:pt idx="61">
                  <c:v>89.546727350489405</c:v>
                </c:pt>
                <c:pt idx="62">
                  <c:v>93.093035078800213</c:v>
                </c:pt>
                <c:pt idx="63">
                  <c:v>94.105159372063369</c:v>
                </c:pt>
                <c:pt idx="64">
                  <c:v>94.69581426876800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951_excel'!$N$7</c:f>
              <c:strCache>
                <c:ptCount val="1"/>
                <c:pt idx="0">
                  <c:v>Peso (Colombia) </c:v>
                </c:pt>
              </c:strCache>
            </c:strRef>
          </c:tx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N$176:$N$243</c:f>
              <c:numCache>
                <c:formatCode>0.00</c:formatCode>
                <c:ptCount val="65"/>
                <c:pt idx="0">
                  <c:v>90.678346455280902</c:v>
                </c:pt>
                <c:pt idx="1">
                  <c:v>89.665954199830594</c:v>
                </c:pt>
                <c:pt idx="2">
                  <c:v>87.091374894634029</c:v>
                </c:pt>
                <c:pt idx="3">
                  <c:v>89.915700657243207</c:v>
                </c:pt>
                <c:pt idx="4">
                  <c:v>93.050773630075696</c:v>
                </c:pt>
                <c:pt idx="5">
                  <c:v>104.12042001210619</c:v>
                </c:pt>
                <c:pt idx="6">
                  <c:v>115.46930799858985</c:v>
                </c:pt>
                <c:pt idx="7">
                  <c:v>117.59857574658359</c:v>
                </c:pt>
                <c:pt idx="8">
                  <c:v>113.82608632839066</c:v>
                </c:pt>
                <c:pt idx="9">
                  <c:v>113.80825992422791</c:v>
                </c:pt>
                <c:pt idx="10">
                  <c:v>126.99065091228101</c:v>
                </c:pt>
                <c:pt idx="11">
                  <c:v>124.88305873817851</c:v>
                </c:pt>
                <c:pt idx="12">
                  <c:v>120.13371369057231</c:v>
                </c:pt>
                <c:pt idx="13">
                  <c:v>112.63262650218017</c:v>
                </c:pt>
                <c:pt idx="14">
                  <c:v>105.29500779355843</c:v>
                </c:pt>
                <c:pt idx="15">
                  <c:v>103.57321153657794</c:v>
                </c:pt>
                <c:pt idx="16">
                  <c:v>101.89596866149466</c:v>
                </c:pt>
                <c:pt idx="17">
                  <c:v>100.08177212541402</c:v>
                </c:pt>
                <c:pt idx="18">
                  <c:v>96.127664533441987</c:v>
                </c:pt>
                <c:pt idx="19">
                  <c:v>99.658676642313679</c:v>
                </c:pt>
                <c:pt idx="20">
                  <c:v>101.82938105603337</c:v>
                </c:pt>
                <c:pt idx="21">
                  <c:v>99.821296486238424</c:v>
                </c:pt>
                <c:pt idx="22">
                  <c:v>98.607822998001112</c:v>
                </c:pt>
                <c:pt idx="23">
                  <c:v>96.412346499834285</c:v>
                </c:pt>
                <c:pt idx="24">
                  <c:v>97.947993473788301</c:v>
                </c:pt>
                <c:pt idx="25">
                  <c:v>100.14607649633822</c:v>
                </c:pt>
                <c:pt idx="26">
                  <c:v>97.409609800774149</c:v>
                </c:pt>
                <c:pt idx="27">
                  <c:v>94.653781074279024</c:v>
                </c:pt>
                <c:pt idx="28">
                  <c:v>91.887516147443804</c:v>
                </c:pt>
                <c:pt idx="29">
                  <c:v>91.164756234152165</c:v>
                </c:pt>
                <c:pt idx="30">
                  <c:v>91.379264098354469</c:v>
                </c:pt>
                <c:pt idx="31">
                  <c:v>94.191603120186983</c:v>
                </c:pt>
                <c:pt idx="32">
                  <c:v>97.143304841563477</c:v>
                </c:pt>
                <c:pt idx="33">
                  <c:v>99.343554916362137</c:v>
                </c:pt>
                <c:pt idx="34">
                  <c:v>95.176530652398412</c:v>
                </c:pt>
                <c:pt idx="35">
                  <c:v>95.122853995907946</c:v>
                </c:pt>
                <c:pt idx="36">
                  <c:v>91.397979549593586</c:v>
                </c:pt>
                <c:pt idx="37">
                  <c:v>90.943637919193392</c:v>
                </c:pt>
                <c:pt idx="38">
                  <c:v>89.993742200647617</c:v>
                </c:pt>
                <c:pt idx="39">
                  <c:v>88.960176865717074</c:v>
                </c:pt>
                <c:pt idx="40">
                  <c:v>90.147835165547392</c:v>
                </c:pt>
                <c:pt idx="41">
                  <c:v>92.751544101701029</c:v>
                </c:pt>
                <c:pt idx="42">
                  <c:v>96.468041683429334</c:v>
                </c:pt>
                <c:pt idx="43">
                  <c:v>96.908488650110314</c:v>
                </c:pt>
                <c:pt idx="44">
                  <c:v>97.632114277803069</c:v>
                </c:pt>
                <c:pt idx="45">
                  <c:v>93.455218870968309</c:v>
                </c:pt>
                <c:pt idx="46">
                  <c:v>90.049668457483108</c:v>
                </c:pt>
                <c:pt idx="47">
                  <c:v>89.171699590790823</c:v>
                </c:pt>
                <c:pt idx="48">
                  <c:v>89.603241021117043</c:v>
                </c:pt>
                <c:pt idx="49">
                  <c:v>90.483175124447143</c:v>
                </c:pt>
                <c:pt idx="50">
                  <c:v>90.431698913854731</c:v>
                </c:pt>
                <c:pt idx="51">
                  <c:v>90.074006602285849</c:v>
                </c:pt>
                <c:pt idx="52">
                  <c:v>91.145028206051521</c:v>
                </c:pt>
                <c:pt idx="53">
                  <c:v>91.041867464302868</c:v>
                </c:pt>
                <c:pt idx="54">
                  <c:v>91.174303387415861</c:v>
                </c:pt>
                <c:pt idx="55">
                  <c:v>91.877206232199811</c:v>
                </c:pt>
                <c:pt idx="56">
                  <c:v>90.301925943691913</c:v>
                </c:pt>
                <c:pt idx="57">
                  <c:v>89.390193471844</c:v>
                </c:pt>
                <c:pt idx="58">
                  <c:v>90.449578478029196</c:v>
                </c:pt>
                <c:pt idx="59">
                  <c:v>91.489056360886849</c:v>
                </c:pt>
                <c:pt idx="60">
                  <c:v>92.34700975054551</c:v>
                </c:pt>
                <c:pt idx="61">
                  <c:v>93.441397486556824</c:v>
                </c:pt>
                <c:pt idx="62">
                  <c:v>96.31155583895054</c:v>
                </c:pt>
                <c:pt idx="63">
                  <c:v>96.02360515505309</c:v>
                </c:pt>
                <c:pt idx="64">
                  <c:v>94.88001324680144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951_excel'!$P$7</c:f>
              <c:strCache>
                <c:ptCount val="1"/>
                <c:pt idx="0">
                  <c:v>Peso (Uruguay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951_excel'!$B$176:$B$243</c:f>
              <c:strCache>
                <c:ptCount val="65"/>
                <c:pt idx="0">
                  <c:v>Abr.08</c:v>
                </c:pt>
                <c:pt idx="1">
                  <c:v>May.08</c:v>
                </c:pt>
                <c:pt idx="2">
                  <c:v>Jun.08</c:v>
                </c:pt>
                <c:pt idx="3">
                  <c:v>jul-08</c:v>
                </c:pt>
                <c:pt idx="4">
                  <c:v>ago-08</c:v>
                </c:pt>
                <c:pt idx="5">
                  <c:v>sep-08</c:v>
                </c:pt>
                <c:pt idx="6">
                  <c:v>oct-08</c:v>
                </c:pt>
                <c:pt idx="7">
                  <c:v>nov-08</c:v>
                </c:pt>
                <c:pt idx="8">
                  <c:v>dic-08</c:v>
                </c:pt>
                <c:pt idx="9">
                  <c:v>ene-09</c:v>
                </c:pt>
                <c:pt idx="10">
                  <c:v>feb-09</c:v>
                </c:pt>
                <c:pt idx="11">
                  <c:v>mar-09</c:v>
                </c:pt>
                <c:pt idx="12">
                  <c:v>abr-09</c:v>
                </c:pt>
                <c:pt idx="13">
                  <c:v>may-09</c:v>
                </c:pt>
                <c:pt idx="14">
                  <c:v>jun-09</c:v>
                </c:pt>
                <c:pt idx="15">
                  <c:v>jul-09</c:v>
                </c:pt>
                <c:pt idx="16">
                  <c:v>ago-09</c:v>
                </c:pt>
                <c:pt idx="17">
                  <c:v>sep-09</c:v>
                </c:pt>
                <c:pt idx="18">
                  <c:v>oct-09</c:v>
                </c:pt>
                <c:pt idx="19">
                  <c:v>nov-09</c:v>
                </c:pt>
                <c:pt idx="20">
                  <c:v>dic-09</c:v>
                </c:pt>
                <c:pt idx="21">
                  <c:v>ene-10</c:v>
                </c:pt>
                <c:pt idx="22">
                  <c:v>feb-10</c:v>
                </c:pt>
                <c:pt idx="23">
                  <c:v>mar-10</c:v>
                </c:pt>
                <c:pt idx="24">
                  <c:v>abr-10</c:v>
                </c:pt>
                <c:pt idx="25">
                  <c:v>may-10</c:v>
                </c:pt>
                <c:pt idx="26">
                  <c:v>jun-10</c:v>
                </c:pt>
                <c:pt idx="27">
                  <c:v>jul-10</c:v>
                </c:pt>
                <c:pt idx="28">
                  <c:v>ago-10</c:v>
                </c:pt>
                <c:pt idx="29">
                  <c:v>sep-10</c:v>
                </c:pt>
                <c:pt idx="30">
                  <c:v>oct-10</c:v>
                </c:pt>
                <c:pt idx="31">
                  <c:v>nov-10</c:v>
                </c:pt>
                <c:pt idx="32">
                  <c:v>dic-10</c:v>
                </c:pt>
                <c:pt idx="33">
                  <c:v>ene-11</c:v>
                </c:pt>
                <c:pt idx="34">
                  <c:v>feb-11</c:v>
                </c:pt>
                <c:pt idx="35">
                  <c:v>mar-11</c:v>
                </c:pt>
                <c:pt idx="36">
                  <c:v>abr-11</c:v>
                </c:pt>
                <c:pt idx="37">
                  <c:v>may-11</c:v>
                </c:pt>
                <c:pt idx="38">
                  <c:v>jun-11</c:v>
                </c:pt>
                <c:pt idx="39">
                  <c:v>jul-11</c:v>
                </c:pt>
                <c:pt idx="40">
                  <c:v>ago-11</c:v>
                </c:pt>
                <c:pt idx="41">
                  <c:v>sep-11</c:v>
                </c:pt>
                <c:pt idx="42">
                  <c:v>oct-11</c:v>
                </c:pt>
                <c:pt idx="43">
                  <c:v>nov-11</c:v>
                </c:pt>
                <c:pt idx="44">
                  <c:v>dic-11</c:v>
                </c:pt>
                <c:pt idx="45">
                  <c:v>ene-12</c:v>
                </c:pt>
                <c:pt idx="46">
                  <c:v>feb-12</c:v>
                </c:pt>
                <c:pt idx="47">
                  <c:v>mar-12</c:v>
                </c:pt>
                <c:pt idx="48">
                  <c:v>abr-12</c:v>
                </c:pt>
                <c:pt idx="49">
                  <c:v>may-12</c:v>
                </c:pt>
                <c:pt idx="50">
                  <c:v>jun-12</c:v>
                </c:pt>
                <c:pt idx="51">
                  <c:v>jul-12</c:v>
                </c:pt>
                <c:pt idx="52">
                  <c:v>ago-12</c:v>
                </c:pt>
                <c:pt idx="53">
                  <c:v>sep-12</c:v>
                </c:pt>
                <c:pt idx="54">
                  <c:v>oct-12</c:v>
                </c:pt>
                <c:pt idx="55">
                  <c:v>nov-12</c:v>
                </c:pt>
                <c:pt idx="56">
                  <c:v>dic-12</c:v>
                </c:pt>
                <c:pt idx="57">
                  <c:v>ene-13</c:v>
                </c:pt>
                <c:pt idx="58">
                  <c:v>feb-13</c:v>
                </c:pt>
                <c:pt idx="59">
                  <c:v>mar-13</c:v>
                </c:pt>
                <c:pt idx="60">
                  <c:v>abr-13</c:v>
                </c:pt>
                <c:pt idx="61">
                  <c:v>may-13</c:v>
                </c:pt>
                <c:pt idx="62">
                  <c:v>jun-13</c:v>
                </c:pt>
                <c:pt idx="63">
                  <c:v>jul-13</c:v>
                </c:pt>
                <c:pt idx="64">
                  <c:v>ago-13</c:v>
                </c:pt>
              </c:strCache>
            </c:strRef>
          </c:cat>
          <c:val>
            <c:numRef>
              <c:f>'951_excel'!$P$176:$P$243</c:f>
              <c:numCache>
                <c:formatCode>0.00</c:formatCode>
                <c:ptCount val="65"/>
                <c:pt idx="0">
                  <c:v>93.648132890113743</c:v>
                </c:pt>
                <c:pt idx="1">
                  <c:v>93.466772736312748</c:v>
                </c:pt>
                <c:pt idx="2">
                  <c:v>91.698156092848805</c:v>
                </c:pt>
                <c:pt idx="3">
                  <c:v>90.602418766750958</c:v>
                </c:pt>
                <c:pt idx="4">
                  <c:v>90.641721358827922</c:v>
                </c:pt>
                <c:pt idx="5">
                  <c:v>94.867460294911496</c:v>
                </c:pt>
                <c:pt idx="6">
                  <c:v>103.90658294741029</c:v>
                </c:pt>
                <c:pt idx="7">
                  <c:v>110.83473023269028</c:v>
                </c:pt>
                <c:pt idx="8">
                  <c:v>113.87050032673238</c:v>
                </c:pt>
                <c:pt idx="9">
                  <c:v>110.32853178774704</c:v>
                </c:pt>
                <c:pt idx="10">
                  <c:v>108.93447358202877</c:v>
                </c:pt>
                <c:pt idx="11">
                  <c:v>112.84200357985054</c:v>
                </c:pt>
                <c:pt idx="12">
                  <c:v>113.38655756645926</c:v>
                </c:pt>
                <c:pt idx="13">
                  <c:v>112.11088066217762</c:v>
                </c:pt>
                <c:pt idx="14">
                  <c:v>109.85453305679459</c:v>
                </c:pt>
                <c:pt idx="15">
                  <c:v>109.54200642100179</c:v>
                </c:pt>
                <c:pt idx="16">
                  <c:v>108.46663067875102</c:v>
                </c:pt>
                <c:pt idx="17">
                  <c:v>103.9420973378413</c:v>
                </c:pt>
                <c:pt idx="18">
                  <c:v>97.883342330312232</c:v>
                </c:pt>
                <c:pt idx="19">
                  <c:v>96.575939237245592</c:v>
                </c:pt>
                <c:pt idx="20">
                  <c:v>92.768323057836369</c:v>
                </c:pt>
                <c:pt idx="21">
                  <c:v>92.068926328948493</c:v>
                </c:pt>
                <c:pt idx="22">
                  <c:v>92.678353268744488</c:v>
                </c:pt>
                <c:pt idx="23">
                  <c:v>92.518775274407844</c:v>
                </c:pt>
                <c:pt idx="24">
                  <c:v>91.271509882471037</c:v>
                </c:pt>
                <c:pt idx="25">
                  <c:v>90.45562595296947</c:v>
                </c:pt>
                <c:pt idx="26">
                  <c:v>94.641588771770316</c:v>
                </c:pt>
                <c:pt idx="27">
                  <c:v>99.097460957846778</c:v>
                </c:pt>
                <c:pt idx="28">
                  <c:v>98.116790256745361</c:v>
                </c:pt>
                <c:pt idx="29">
                  <c:v>97.037152787642881</c:v>
                </c:pt>
                <c:pt idx="30">
                  <c:v>94.918127491926398</c:v>
                </c:pt>
                <c:pt idx="31">
                  <c:v>93.915832473095719</c:v>
                </c:pt>
                <c:pt idx="32">
                  <c:v>93.645291738879251</c:v>
                </c:pt>
                <c:pt idx="33">
                  <c:v>93.604568571185041</c:v>
                </c:pt>
                <c:pt idx="34">
                  <c:v>92.124328778020839</c:v>
                </c:pt>
                <c:pt idx="35">
                  <c:v>91.01977976548568</c:v>
                </c:pt>
                <c:pt idx="36">
                  <c:v>89.43707323540832</c:v>
                </c:pt>
                <c:pt idx="37">
                  <c:v>88.581499284116063</c:v>
                </c:pt>
                <c:pt idx="38">
                  <c:v>87.107216479037973</c:v>
                </c:pt>
                <c:pt idx="39">
                  <c:v>86.812954386895186</c:v>
                </c:pt>
                <c:pt idx="40">
                  <c:v>87.957414586814693</c:v>
                </c:pt>
                <c:pt idx="41">
                  <c:v>91.116667140191865</c:v>
                </c:pt>
                <c:pt idx="42">
                  <c:v>94.097807378918191</c:v>
                </c:pt>
                <c:pt idx="43">
                  <c:v>93.510179213506348</c:v>
                </c:pt>
                <c:pt idx="44">
                  <c:v>93.987830853188711</c:v>
                </c:pt>
                <c:pt idx="45">
                  <c:v>92.414470585905519</c:v>
                </c:pt>
                <c:pt idx="46">
                  <c:v>91.913925744934218</c:v>
                </c:pt>
                <c:pt idx="47">
                  <c:v>92.064664602096755</c:v>
                </c:pt>
                <c:pt idx="48">
                  <c:v>92.696252521521728</c:v>
                </c:pt>
                <c:pt idx="49">
                  <c:v>94.813433323817847</c:v>
                </c:pt>
                <c:pt idx="50">
                  <c:v>100.16120150932797</c:v>
                </c:pt>
                <c:pt idx="51">
                  <c:v>102.32169408377607</c:v>
                </c:pt>
                <c:pt idx="52">
                  <c:v>100.40286233072561</c:v>
                </c:pt>
                <c:pt idx="53">
                  <c:v>100.50447147066367</c:v>
                </c:pt>
                <c:pt idx="54">
                  <c:v>95.317481431354949</c:v>
                </c:pt>
                <c:pt idx="55">
                  <c:v>92.864046178178057</c:v>
                </c:pt>
                <c:pt idx="56">
                  <c:v>90.680076900493404</c:v>
                </c:pt>
                <c:pt idx="57">
                  <c:v>90.99040810124157</c:v>
                </c:pt>
                <c:pt idx="58">
                  <c:v>89.971114962449448</c:v>
                </c:pt>
                <c:pt idx="59">
                  <c:v>89.610856985917351</c:v>
                </c:pt>
                <c:pt idx="60">
                  <c:v>89.470219999810581</c:v>
                </c:pt>
                <c:pt idx="61">
                  <c:v>90.298753816951248</c:v>
                </c:pt>
                <c:pt idx="62">
                  <c:v>97.355503783466375</c:v>
                </c:pt>
                <c:pt idx="63">
                  <c:v>99.132652490182863</c:v>
                </c:pt>
                <c:pt idx="64">
                  <c:v>101.8079192355408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605440"/>
        <c:axId val="134746496"/>
      </c:lineChart>
      <c:catAx>
        <c:axId val="1346054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txPr>
          <a:bodyPr rot="-5400000" vert="horz"/>
          <a:lstStyle/>
          <a:p>
            <a:pPr>
              <a:defRPr lang="es-PY" sz="1200"/>
            </a:pPr>
            <a:endParaRPr lang="en-US"/>
          </a:p>
        </c:txPr>
        <c:crossAx val="134746496"/>
        <c:crossesAt val="100"/>
        <c:auto val="1"/>
        <c:lblAlgn val="ctr"/>
        <c:lblOffset val="100"/>
        <c:tickLblSkip val="2"/>
        <c:tickMarkSkip val="4"/>
        <c:noMultiLvlLbl val="0"/>
      </c:catAx>
      <c:valAx>
        <c:axId val="134746496"/>
        <c:scaling>
          <c:orientation val="minMax"/>
          <c:min val="8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</c:spPr>
        <c:txPr>
          <a:bodyPr/>
          <a:lstStyle/>
          <a:p>
            <a:pPr>
              <a:defRPr lang="es-PY" sz="1200"/>
            </a:pPr>
            <a:endParaRPr lang="en-US"/>
          </a:p>
        </c:txPr>
        <c:crossAx val="134605440"/>
        <c:crosses val="autoZero"/>
        <c:crossBetween val="between"/>
      </c:valAx>
      <c:spPr>
        <a:effectLst>
          <a:outerShdw blurRad="50800" dist="50800" dir="5400000" algn="ctr" rotWithShape="0">
            <a:srgbClr val="FFFFFF"/>
          </a:outerShdw>
        </a:effectLst>
      </c:spPr>
    </c:plotArea>
    <c:legend>
      <c:legendPos val="t"/>
      <c:layout>
        <c:manualLayout>
          <c:xMode val="edge"/>
          <c:yMode val="edge"/>
          <c:x val="0.10720658523819596"/>
          <c:y val="3.8247384277563932E-2"/>
          <c:w val="0.63545418736761117"/>
          <c:h val="0.1399476740456069"/>
        </c:manualLayout>
      </c:layout>
      <c:overlay val="0"/>
      <c:spPr>
        <a:noFill/>
      </c:spPr>
      <c:txPr>
        <a:bodyPr/>
        <a:lstStyle/>
        <a:p>
          <a:pPr>
            <a:defRPr lang="es-PY" sz="105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237410071942444E-2"/>
          <c:y val="4.4001723732695237E-2"/>
          <c:w val="0.92230215827338125"/>
          <c:h val="0.806192624597229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8</c:f>
              <c:strCache>
                <c:ptCount val="1"/>
                <c:pt idx="0">
                  <c:v>Assets en % del PIB</c:v>
                </c:pt>
              </c:strCache>
            </c:strRef>
          </c:tx>
          <c:spPr>
            <a:solidFill>
              <a:srgbClr val="FF0000"/>
            </a:solidFill>
            <a:ln w="6350">
              <a:solidFill>
                <a:srgbClr val="FF0000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F0000"/>
              </a:solidFill>
              <a:ln w="25400">
                <a:solidFill>
                  <a:srgbClr val="FF0000"/>
                </a:solidFill>
                <a:prstDash val="solid"/>
              </a:ln>
            </c:spPr>
          </c:dPt>
          <c:dLbls>
            <c:dLbl>
              <c:idx val="1"/>
              <c:layout>
                <c:manualLayout>
                  <c:x val="0"/>
                  <c:y val="-2.62478854434807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8776978417266188E-3"/>
                  <c:y val="-7.874365633044227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R$1</c:f>
              <c:strCach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*</c:v>
                </c:pt>
              </c:strCache>
            </c:strRef>
          </c:cat>
          <c:val>
            <c:numRef>
              <c:f>Sheet1!$B$8:$R$8</c:f>
              <c:numCache>
                <c:formatCode>#,#00%</c:formatCode>
                <c:ptCount val="7"/>
                <c:pt idx="0">
                  <c:v>0.32677628239188905</c:v>
                </c:pt>
                <c:pt idx="1">
                  <c:v>0.32581417473415619</c:v>
                </c:pt>
                <c:pt idx="2">
                  <c:v>0.50419877266666113</c:v>
                </c:pt>
                <c:pt idx="3">
                  <c:v>0.49242343867102301</c:v>
                </c:pt>
                <c:pt idx="4">
                  <c:v>0.46833215055681726</c:v>
                </c:pt>
                <c:pt idx="5">
                  <c:v>0.5397286505829223</c:v>
                </c:pt>
                <c:pt idx="6">
                  <c:v>0.517722454066069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26"/>
        <c:axId val="134625920"/>
        <c:axId val="134627712"/>
      </c:barChart>
      <c:catAx>
        <c:axId val="134625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6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65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34627712"/>
        <c:crosses val="autoZero"/>
        <c:auto val="0"/>
        <c:lblAlgn val="ctr"/>
        <c:lblOffset val="100"/>
        <c:tickLblSkip val="1"/>
        <c:tickMarkSkip val="9"/>
        <c:noMultiLvlLbl val="0"/>
      </c:catAx>
      <c:valAx>
        <c:axId val="134627712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crossAx val="134625920"/>
        <c:crosses val="autoZero"/>
        <c:crossBetween val="between"/>
      </c:valAx>
      <c:spPr>
        <a:noFill/>
        <a:ln w="2539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1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33334528"/>
        <c:axId val="133336064"/>
      </c:barChart>
      <c:catAx>
        <c:axId val="1333345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3336064"/>
        <c:crossesAt val="500"/>
        <c:auto val="0"/>
        <c:lblAlgn val="ctr"/>
        <c:lblOffset val="100"/>
        <c:tickLblSkip val="1"/>
        <c:tickMarkSkip val="9"/>
        <c:noMultiLvlLbl val="0"/>
      </c:catAx>
      <c:valAx>
        <c:axId val="133336064"/>
        <c:scaling>
          <c:orientation val="minMax"/>
          <c:max val="0.5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crossAx val="13333452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overlay val="0"/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1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CE1126"/>
            </a:solidFill>
          </c:spPr>
          <c:invertIfNegative val="0"/>
          <c:dPt>
            <c:idx val="5"/>
            <c:invertIfNegative val="0"/>
            <c:bubble3D val="0"/>
          </c:dPt>
          <c:dPt>
            <c:idx val="6"/>
            <c:invertIfNegative val="0"/>
            <c:bubble3D val="0"/>
            <c:spPr>
              <a:solidFill>
                <a:srgbClr val="2563C1"/>
              </a:solidFill>
            </c:spPr>
          </c:dPt>
          <c:dLbls>
            <c:numFmt formatCode="_(* #,##0.0%_);_(* \(#,##0.0%\);_(* &quot;-&quot;_);_(@_)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1:$G$1</c:f>
              <c:strCach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E</c:v>
                </c:pt>
              </c:strCache>
            </c:strRef>
          </c:cat>
          <c:val>
            <c:numRef>
              <c:f>Hoja1!$A$2:$G$2</c:f>
              <c:numCache>
                <c:formatCode>0.0%</c:formatCode>
                <c:ptCount val="7"/>
                <c:pt idx="0">
                  <c:v>9.0000000000000011E-3</c:v>
                </c:pt>
                <c:pt idx="1">
                  <c:v>2.3E-2</c:v>
                </c:pt>
                <c:pt idx="2">
                  <c:v>1E-3</c:v>
                </c:pt>
                <c:pt idx="3">
                  <c:v>1.2E-2</c:v>
                </c:pt>
                <c:pt idx="4">
                  <c:v>6.9999999999999993E-3</c:v>
                </c:pt>
                <c:pt idx="5">
                  <c:v>-1.7999999999999999E-2</c:v>
                </c:pt>
                <c:pt idx="6">
                  <c:v>-1.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-60"/>
        <c:axId val="131861504"/>
        <c:axId val="131883776"/>
      </c:barChart>
      <c:catAx>
        <c:axId val="13186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31883776"/>
        <c:crosses val="autoZero"/>
        <c:auto val="1"/>
        <c:lblAlgn val="ctr"/>
        <c:lblOffset val="100"/>
        <c:noMultiLvlLbl val="0"/>
      </c:catAx>
      <c:valAx>
        <c:axId val="13188377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131861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+mj-lt"/>
          <a:cs typeface="Times New Roman" pitchFamily="18" charset="0"/>
        </a:defRPr>
      </a:pPr>
      <a:endParaRPr lang="en-US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892086330935257E-2"/>
          <c:y val="0.16260027875050875"/>
          <c:w val="0.85755395683453239"/>
          <c:h val="0.7277296496687106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Loans Cagr</c:v>
                </c:pt>
              </c:strCache>
            </c:strRef>
          </c:tx>
          <c:spPr>
            <a:solidFill>
              <a:srgbClr val="006600"/>
            </a:solidFill>
            <a:ln w="6350">
              <a:noFill/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6600"/>
              </a:solidFill>
              <a:ln w="25400">
                <a:solidFill>
                  <a:srgbClr val="006600"/>
                </a:solidFill>
                <a:prstDash val="solid"/>
              </a:ln>
            </c:spPr>
          </c:dPt>
          <c:dLbls>
            <c:dLbl>
              <c:idx val="0"/>
              <c:spPr>
                <a:solidFill>
                  <a:srgbClr val="9BBB59">
                    <a:lumMod val="40000"/>
                    <a:lumOff val="60000"/>
                  </a:srgbClr>
                </a:solidFill>
              </c:spPr>
              <c:txPr>
                <a:bodyPr/>
                <a:lstStyle/>
                <a:p>
                  <a:pPr>
                    <a:defRPr sz="14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I$1</c:f>
              <c:strCache>
                <c:ptCount val="8"/>
                <c:pt idx="0">
                  <c:v>PAR</c:v>
                </c:pt>
                <c:pt idx="1">
                  <c:v>BRA</c:v>
                </c:pt>
                <c:pt idx="2">
                  <c:v>PER</c:v>
                </c:pt>
                <c:pt idx="3">
                  <c:v>COL</c:v>
                </c:pt>
                <c:pt idx="4">
                  <c:v>ARG</c:v>
                </c:pt>
                <c:pt idx="5">
                  <c:v>BOL</c:v>
                </c:pt>
                <c:pt idx="6">
                  <c:v>URU</c:v>
                </c:pt>
                <c:pt idx="7">
                  <c:v>CHI</c:v>
                </c:pt>
              </c:strCache>
            </c:strRef>
          </c:cat>
          <c:val>
            <c:numRef>
              <c:f>Sheet1!$B$2:$I$2</c:f>
              <c:numCache>
                <c:formatCode>0%</c:formatCode>
                <c:ptCount val="8"/>
                <c:pt idx="0">
                  <c:v>0.32</c:v>
                </c:pt>
                <c:pt idx="1">
                  <c:v>0.22</c:v>
                </c:pt>
                <c:pt idx="2">
                  <c:v>0.2</c:v>
                </c:pt>
                <c:pt idx="3">
                  <c:v>0.2</c:v>
                </c:pt>
                <c:pt idx="4">
                  <c:v>0.16</c:v>
                </c:pt>
                <c:pt idx="5">
                  <c:v>0.16</c:v>
                </c:pt>
                <c:pt idx="6">
                  <c:v>0.13</c:v>
                </c:pt>
                <c:pt idx="7">
                  <c:v>0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26"/>
        <c:axId val="133373952"/>
        <c:axId val="133375488"/>
      </c:barChart>
      <c:catAx>
        <c:axId val="133373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6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65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33375488"/>
        <c:crosses val="autoZero"/>
        <c:auto val="0"/>
        <c:lblAlgn val="ctr"/>
        <c:lblOffset val="100"/>
        <c:tickLblSkip val="1"/>
        <c:tickMarkSkip val="9"/>
        <c:noMultiLvlLbl val="0"/>
      </c:catAx>
      <c:valAx>
        <c:axId val="133375488"/>
        <c:scaling>
          <c:orientation val="minMax"/>
        </c:scaling>
        <c:delete val="1"/>
        <c:axPos val="l"/>
        <c:numFmt formatCode="0%" sourceLinked="0"/>
        <c:majorTickMark val="out"/>
        <c:minorTickMark val="none"/>
        <c:tickLblPos val="nextTo"/>
        <c:crossAx val="133373952"/>
        <c:crosses val="autoZero"/>
        <c:crossBetween val="between"/>
      </c:valAx>
      <c:spPr>
        <a:noFill/>
        <a:ln w="2539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1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60877416633572"/>
          <c:y val="7.4110802956809024E-2"/>
          <c:w val="0.8404737044283217"/>
          <c:h val="0.841897582367391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anco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6483111429986823E-3"/>
                  <c:y val="-2.0576417435099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es-ES" sz="10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1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 formatCode="[$-C0A]mmm\-yy;@">
                  <c:v>41426</c:v>
                </c:pt>
              </c:numCache>
            </c:numRef>
          </c:cat>
          <c:val>
            <c:numRef>
              <c:f>Hoja1!$B$2:$B$11</c:f>
              <c:numCache>
                <c:formatCode>#,#00%</c:formatCode>
                <c:ptCount val="9"/>
                <c:pt idx="0">
                  <c:v>0.27300000000000002</c:v>
                </c:pt>
                <c:pt idx="1">
                  <c:v>0.35299999999999998</c:v>
                </c:pt>
                <c:pt idx="2">
                  <c:v>0.38200000000000001</c:v>
                </c:pt>
                <c:pt idx="3">
                  <c:v>0.439</c:v>
                </c:pt>
                <c:pt idx="4">
                  <c:v>0.33400000000000002</c:v>
                </c:pt>
                <c:pt idx="5">
                  <c:v>0.31929999999999997</c:v>
                </c:pt>
                <c:pt idx="6">
                  <c:v>0.315</c:v>
                </c:pt>
                <c:pt idx="7">
                  <c:v>0.28499999999999998</c:v>
                </c:pt>
                <c:pt idx="8">
                  <c:v>0.296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3473408"/>
        <c:axId val="133474944"/>
      </c:barChart>
      <c:catAx>
        <c:axId val="133473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s-ES" sz="900" b="0"/>
            </a:pPr>
            <a:endParaRPr lang="en-US"/>
          </a:p>
        </c:txPr>
        <c:crossAx val="133474944"/>
        <c:crosses val="autoZero"/>
        <c:auto val="1"/>
        <c:lblAlgn val="ctr"/>
        <c:lblOffset val="100"/>
        <c:noMultiLvlLbl val="0"/>
      </c:catAx>
      <c:valAx>
        <c:axId val="13347494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lang="es-ES" sz="1200"/>
            </a:pPr>
            <a:endParaRPr lang="en-US"/>
          </a:p>
        </c:txPr>
        <c:crossAx val="133473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12157908380552"/>
          <c:y val="6.9376482854583379E-2"/>
          <c:w val="0.84905742796254968"/>
          <c:h val="0.73404987231913987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orosidad 1/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158"/>
              <c:layout>
                <c:manualLayout>
                  <c:x val="-1.1904597691431795E-2"/>
                  <c:y val="-9.946968348425976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n-US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.4%</a:t>
                    </a:r>
                    <a:endParaRPr lang="en-US" dirty="0"/>
                  </a:p>
                </c:rich>
              </c:tx>
              <c:numFmt formatCode="0.0%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63</c:f>
              <c:numCache>
                <c:formatCode>mmm\-yy</c:formatCode>
                <c:ptCount val="162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</c:numCache>
            </c:numRef>
          </c:cat>
          <c:val>
            <c:numRef>
              <c:f>Hoja1!$B$2:$B$163</c:f>
              <c:numCache>
                <c:formatCode>#,#00%</c:formatCode>
                <c:ptCount val="162"/>
                <c:pt idx="0">
                  <c:v>0.16900000000000001</c:v>
                </c:pt>
                <c:pt idx="1">
                  <c:v>0.17242427404253172</c:v>
                </c:pt>
                <c:pt idx="2">
                  <c:v>0.17491051906690133</c:v>
                </c:pt>
                <c:pt idx="3">
                  <c:v>0.18450145410256821</c:v>
                </c:pt>
                <c:pt idx="4">
                  <c:v>0.19290615294039426</c:v>
                </c:pt>
                <c:pt idx="5">
                  <c:v>0.18229827715547192</c:v>
                </c:pt>
                <c:pt idx="6">
                  <c:v>0.19079652891713761</c:v>
                </c:pt>
                <c:pt idx="7">
                  <c:v>0.18579379465084558</c:v>
                </c:pt>
                <c:pt idx="8">
                  <c:v>0.18890452908222422</c:v>
                </c:pt>
                <c:pt idx="9">
                  <c:v>0.17903729883053646</c:v>
                </c:pt>
                <c:pt idx="10">
                  <c:v>0.17588346916869382</c:v>
                </c:pt>
                <c:pt idx="11">
                  <c:v>0.1619899899550922</c:v>
                </c:pt>
                <c:pt idx="12">
                  <c:v>0.16971833266225952</c:v>
                </c:pt>
                <c:pt idx="13">
                  <c:v>0.17631450620719044</c:v>
                </c:pt>
                <c:pt idx="14">
                  <c:v>0.1783584447949266</c:v>
                </c:pt>
                <c:pt idx="15">
                  <c:v>0.179711746165824</c:v>
                </c:pt>
                <c:pt idx="16">
                  <c:v>0.17978459072908418</c:v>
                </c:pt>
                <c:pt idx="17">
                  <c:v>0.17193547091493402</c:v>
                </c:pt>
                <c:pt idx="18">
                  <c:v>0.16986055908652217</c:v>
                </c:pt>
                <c:pt idx="19">
                  <c:v>0.17548736600891351</c:v>
                </c:pt>
                <c:pt idx="20">
                  <c:v>0.17455437917116876</c:v>
                </c:pt>
                <c:pt idx="21">
                  <c:v>0.17145382364104658</c:v>
                </c:pt>
                <c:pt idx="22">
                  <c:v>0.17425469781773326</c:v>
                </c:pt>
                <c:pt idx="23">
                  <c:v>0.16225351294010731</c:v>
                </c:pt>
                <c:pt idx="24">
                  <c:v>0.17817461006316554</c:v>
                </c:pt>
                <c:pt idx="25">
                  <c:v>0.18129797501883943</c:v>
                </c:pt>
                <c:pt idx="26">
                  <c:v>0.18301804003945429</c:v>
                </c:pt>
                <c:pt idx="27">
                  <c:v>0.1806470916538804</c:v>
                </c:pt>
                <c:pt idx="28">
                  <c:v>0.18534446952498887</c:v>
                </c:pt>
                <c:pt idx="29">
                  <c:v>0.18907287110958024</c:v>
                </c:pt>
                <c:pt idx="30">
                  <c:v>0.19818635843409824</c:v>
                </c:pt>
                <c:pt idx="31">
                  <c:v>0.20613841479538253</c:v>
                </c:pt>
                <c:pt idx="32">
                  <c:v>0.21274649950187277</c:v>
                </c:pt>
                <c:pt idx="33">
                  <c:v>0.21354165630928448</c:v>
                </c:pt>
                <c:pt idx="34">
                  <c:v>0.21336812262483779</c:v>
                </c:pt>
                <c:pt idx="35">
                  <c:v>0.19404282658891789</c:v>
                </c:pt>
                <c:pt idx="36">
                  <c:v>0.20596685171227946</c:v>
                </c:pt>
                <c:pt idx="37">
                  <c:v>0.21118817963295775</c:v>
                </c:pt>
                <c:pt idx="38">
                  <c:v>0.21746212564084252</c:v>
                </c:pt>
                <c:pt idx="39">
                  <c:v>0.22045676646491372</c:v>
                </c:pt>
                <c:pt idx="40">
                  <c:v>0.21374086646754609</c:v>
                </c:pt>
                <c:pt idx="41">
                  <c:v>0.21638414676477477</c:v>
                </c:pt>
                <c:pt idx="42">
                  <c:v>0.22015852197790789</c:v>
                </c:pt>
                <c:pt idx="43">
                  <c:v>0.22630135769734402</c:v>
                </c:pt>
                <c:pt idx="44">
                  <c:v>0.22703384781277813</c:v>
                </c:pt>
                <c:pt idx="45">
                  <c:v>0.22546700111627072</c:v>
                </c:pt>
                <c:pt idx="46">
                  <c:v>0.21994985266599482</c:v>
                </c:pt>
                <c:pt idx="47">
                  <c:v>0.20596432912784229</c:v>
                </c:pt>
                <c:pt idx="48">
                  <c:v>0.20649772705184058</c:v>
                </c:pt>
                <c:pt idx="49">
                  <c:v>0.20269654516342578</c:v>
                </c:pt>
                <c:pt idx="50">
                  <c:v>0.18621855622333933</c:v>
                </c:pt>
                <c:pt idx="51">
                  <c:v>0.18176742979933538</c:v>
                </c:pt>
                <c:pt idx="52">
                  <c:v>0.17963707587445751</c:v>
                </c:pt>
                <c:pt idx="53">
                  <c:v>0.17423930073818333</c:v>
                </c:pt>
                <c:pt idx="54">
                  <c:v>0.16335140246881411</c:v>
                </c:pt>
                <c:pt idx="55">
                  <c:v>0.16376857436224163</c:v>
                </c:pt>
                <c:pt idx="56">
                  <c:v>0.14857314259242302</c:v>
                </c:pt>
                <c:pt idx="57">
                  <c:v>0.1309853194387651</c:v>
                </c:pt>
                <c:pt idx="58">
                  <c:v>0.1228375063253585</c:v>
                </c:pt>
                <c:pt idx="59">
                  <c:v>0.10425996367664174</c:v>
                </c:pt>
                <c:pt idx="60">
                  <c:v>0.10597424225155215</c:v>
                </c:pt>
                <c:pt idx="61">
                  <c:v>0.10495307096542661</c:v>
                </c:pt>
                <c:pt idx="62">
                  <c:v>0.10306045352838915</c:v>
                </c:pt>
                <c:pt idx="63">
                  <c:v>0.10319387966439633</c:v>
                </c:pt>
                <c:pt idx="64">
                  <c:v>0.10307606659998625</c:v>
                </c:pt>
                <c:pt idx="65">
                  <c:v>0.1004</c:v>
                </c:pt>
                <c:pt idx="66">
                  <c:v>9.76192645567521E-2</c:v>
                </c:pt>
                <c:pt idx="67">
                  <c:v>9.4736429020436302E-2</c:v>
                </c:pt>
                <c:pt idx="68">
                  <c:v>8.656078583983691E-2</c:v>
                </c:pt>
                <c:pt idx="69">
                  <c:v>8.181163292726204E-2</c:v>
                </c:pt>
                <c:pt idx="70">
                  <c:v>7.2776358786466391E-2</c:v>
                </c:pt>
                <c:pt idx="71">
                  <c:v>6.4516875388981237E-2</c:v>
                </c:pt>
                <c:pt idx="72">
                  <c:v>6.5799999999999997E-2</c:v>
                </c:pt>
                <c:pt idx="73">
                  <c:v>6.5299999999999997E-2</c:v>
                </c:pt>
                <c:pt idx="74">
                  <c:v>5.0999999999999997E-2</c:v>
                </c:pt>
                <c:pt idx="75">
                  <c:v>5.7728658273209194E-2</c:v>
                </c:pt>
                <c:pt idx="76">
                  <c:v>5.7706654312541114E-2</c:v>
                </c:pt>
                <c:pt idx="77">
                  <c:v>5.6654329045674738E-2</c:v>
                </c:pt>
                <c:pt idx="78">
                  <c:v>5.6899999999999999E-2</c:v>
                </c:pt>
                <c:pt idx="79">
                  <c:v>5.5500000000000001E-2</c:v>
                </c:pt>
                <c:pt idx="80">
                  <c:v>5.0299999999999997E-2</c:v>
                </c:pt>
                <c:pt idx="81">
                  <c:v>4.9500000000000002E-2</c:v>
                </c:pt>
                <c:pt idx="82">
                  <c:v>4.5999999999999999E-2</c:v>
                </c:pt>
                <c:pt idx="83">
                  <c:v>3.2800000000000003E-2</c:v>
                </c:pt>
                <c:pt idx="84">
                  <c:v>3.4000000000000002E-2</c:v>
                </c:pt>
                <c:pt idx="85">
                  <c:v>3.39E-2</c:v>
                </c:pt>
                <c:pt idx="86">
                  <c:v>2.8799999999999999E-2</c:v>
                </c:pt>
                <c:pt idx="87">
                  <c:v>2.9899999999999999E-2</c:v>
                </c:pt>
                <c:pt idx="88">
                  <c:v>0.03</c:v>
                </c:pt>
                <c:pt idx="89">
                  <c:v>2.47E-2</c:v>
                </c:pt>
                <c:pt idx="90">
                  <c:v>2.4899999999999999E-2</c:v>
                </c:pt>
                <c:pt idx="91">
                  <c:v>2.335537420299489E-2</c:v>
                </c:pt>
                <c:pt idx="92">
                  <c:v>1.9599999999999999E-2</c:v>
                </c:pt>
                <c:pt idx="93">
                  <c:v>1.7999999999999999E-2</c:v>
                </c:pt>
                <c:pt idx="94">
                  <c:v>1.7399999999999999E-2</c:v>
                </c:pt>
                <c:pt idx="95">
                  <c:v>1.3147173850090411E-2</c:v>
                </c:pt>
                <c:pt idx="96">
                  <c:v>1.47E-2</c:v>
                </c:pt>
                <c:pt idx="97">
                  <c:v>1.3599999999999999E-2</c:v>
                </c:pt>
                <c:pt idx="98">
                  <c:v>1.3100000000000001E-2</c:v>
                </c:pt>
                <c:pt idx="99">
                  <c:v>1.3100000000000001E-2</c:v>
                </c:pt>
                <c:pt idx="100">
                  <c:v>1.32E-2</c:v>
                </c:pt>
                <c:pt idx="101">
                  <c:v>1.21E-2</c:v>
                </c:pt>
                <c:pt idx="102">
                  <c:v>1.14E-2</c:v>
                </c:pt>
                <c:pt idx="103">
                  <c:v>1.17E-2</c:v>
                </c:pt>
                <c:pt idx="104">
                  <c:v>1.0699999999999999E-2</c:v>
                </c:pt>
                <c:pt idx="105">
                  <c:v>1.12E-2</c:v>
                </c:pt>
                <c:pt idx="106">
                  <c:v>1.26E-2</c:v>
                </c:pt>
                <c:pt idx="107">
                  <c:v>1.15E-2</c:v>
                </c:pt>
                <c:pt idx="108">
                  <c:v>1.44E-2</c:v>
                </c:pt>
                <c:pt idx="109">
                  <c:v>1.54E-2</c:v>
                </c:pt>
                <c:pt idx="110">
                  <c:v>1.55E-2</c:v>
                </c:pt>
                <c:pt idx="111">
                  <c:v>1.6E-2</c:v>
                </c:pt>
                <c:pt idx="112">
                  <c:v>1.7100000000000001E-2</c:v>
                </c:pt>
                <c:pt idx="113">
                  <c:v>1.78E-2</c:v>
                </c:pt>
                <c:pt idx="114">
                  <c:v>1.8700000000000001E-2</c:v>
                </c:pt>
                <c:pt idx="115">
                  <c:v>1.8700000000000001E-2</c:v>
                </c:pt>
                <c:pt idx="116">
                  <c:v>1.77E-2</c:v>
                </c:pt>
                <c:pt idx="117">
                  <c:v>1.67E-2</c:v>
                </c:pt>
                <c:pt idx="118">
                  <c:v>1.66E-2</c:v>
                </c:pt>
                <c:pt idx="119">
                  <c:v>1.5973501704113383E-2</c:v>
                </c:pt>
                <c:pt idx="120">
                  <c:v>1.6799999999999999E-2</c:v>
                </c:pt>
                <c:pt idx="121">
                  <c:v>1.6799999999999999E-2</c:v>
                </c:pt>
                <c:pt idx="122">
                  <c:v>1.61E-2</c:v>
                </c:pt>
                <c:pt idx="123">
                  <c:v>1.66E-2</c:v>
                </c:pt>
                <c:pt idx="124">
                  <c:v>1.72E-2</c:v>
                </c:pt>
                <c:pt idx="125">
                  <c:v>1.6500000000000001E-2</c:v>
                </c:pt>
                <c:pt idx="126">
                  <c:v>1.66E-2</c:v>
                </c:pt>
                <c:pt idx="127">
                  <c:v>1.6899999999999998E-2</c:v>
                </c:pt>
                <c:pt idx="128">
                  <c:v>1.54E-2</c:v>
                </c:pt>
                <c:pt idx="129">
                  <c:v>1.46E-2</c:v>
                </c:pt>
                <c:pt idx="130">
                  <c:v>1.4999999999999999E-2</c:v>
                </c:pt>
                <c:pt idx="131">
                  <c:v>1.24E-2</c:v>
                </c:pt>
                <c:pt idx="132">
                  <c:v>1.3899999999999999E-2</c:v>
                </c:pt>
                <c:pt idx="133">
                  <c:v>1.4800000000000001E-2</c:v>
                </c:pt>
                <c:pt idx="134">
                  <c:v>1.47E-2</c:v>
                </c:pt>
                <c:pt idx="135">
                  <c:v>1.5275836660776514E-2</c:v>
                </c:pt>
                <c:pt idx="136">
                  <c:v>1.5331162559674094E-2</c:v>
                </c:pt>
                <c:pt idx="137">
                  <c:v>1.5750361258195799E-2</c:v>
                </c:pt>
                <c:pt idx="138">
                  <c:v>1.78E-2</c:v>
                </c:pt>
                <c:pt idx="139">
                  <c:v>1.7760000000000001E-2</c:v>
                </c:pt>
                <c:pt idx="140">
                  <c:v>1.806705732619884E-2</c:v>
                </c:pt>
                <c:pt idx="141">
                  <c:v>1.7600000000000001E-2</c:v>
                </c:pt>
                <c:pt idx="142">
                  <c:v>1.78E-2</c:v>
                </c:pt>
                <c:pt idx="143">
                  <c:v>1.7109432733496421E-2</c:v>
                </c:pt>
                <c:pt idx="144">
                  <c:v>1.8800018849819439E-2</c:v>
                </c:pt>
                <c:pt idx="145">
                  <c:v>2.0896094760978461E-2</c:v>
                </c:pt>
                <c:pt idx="146">
                  <c:v>0.02</c:v>
                </c:pt>
                <c:pt idx="147">
                  <c:v>2.1000000000000001E-2</c:v>
                </c:pt>
                <c:pt idx="148">
                  <c:v>2.1999999999999999E-2</c:v>
                </c:pt>
                <c:pt idx="149">
                  <c:v>2.23E-2</c:v>
                </c:pt>
                <c:pt idx="150">
                  <c:v>2.3400000000000001E-2</c:v>
                </c:pt>
                <c:pt idx="151">
                  <c:v>2.3599999999999999E-2</c:v>
                </c:pt>
                <c:pt idx="152">
                  <c:v>2.29E-2</c:v>
                </c:pt>
                <c:pt idx="153">
                  <c:v>2.24E-2</c:v>
                </c:pt>
                <c:pt idx="154">
                  <c:v>2.2599999999999999E-2</c:v>
                </c:pt>
                <c:pt idx="155">
                  <c:v>2.0899999999999998E-2</c:v>
                </c:pt>
                <c:pt idx="156">
                  <c:v>2.2200000000000001E-2</c:v>
                </c:pt>
                <c:pt idx="157">
                  <c:v>2.2700000000000001E-2</c:v>
                </c:pt>
                <c:pt idx="158">
                  <c:v>2.2700000000000001E-2</c:v>
                </c:pt>
                <c:pt idx="159">
                  <c:v>2.3400000000000001E-2</c:v>
                </c:pt>
                <c:pt idx="160">
                  <c:v>2.4E-2</c:v>
                </c:pt>
                <c:pt idx="161">
                  <c:v>2.35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512192"/>
        <c:axId val="133522176"/>
      </c:lineChart>
      <c:dateAx>
        <c:axId val="133512192"/>
        <c:scaling>
          <c:orientation val="minMax"/>
          <c:max val="41426"/>
          <c:min val="37043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lang="es-ES" sz="800" b="0">
                <a:latin typeface="Arial" pitchFamily="34" charset="0"/>
                <a:cs typeface="Arial" pitchFamily="34" charset="0"/>
              </a:defRPr>
            </a:pPr>
            <a:endParaRPr lang="en-US"/>
          </a:p>
        </c:txPr>
        <c:crossAx val="133522176"/>
        <c:crosses val="autoZero"/>
        <c:auto val="1"/>
        <c:lblOffset val="100"/>
        <c:baseTimeUnit val="months"/>
        <c:majorUnit val="6"/>
        <c:majorTimeUnit val="months"/>
      </c:dateAx>
      <c:valAx>
        <c:axId val="133522176"/>
        <c:scaling>
          <c:orientation val="minMax"/>
        </c:scaling>
        <c:delete val="0"/>
        <c:axPos val="l"/>
        <c:numFmt formatCode="#,#00%" sourceLinked="1"/>
        <c:majorTickMark val="out"/>
        <c:minorTickMark val="none"/>
        <c:tickLblPos val="nextTo"/>
        <c:txPr>
          <a:bodyPr/>
          <a:lstStyle/>
          <a:p>
            <a:pPr>
              <a:defRPr lang="es-ES" sz="1100" b="0">
                <a:latin typeface="Arial" pitchFamily="34" charset="0"/>
                <a:cs typeface="Arial" pitchFamily="34" charset="0"/>
              </a:defRPr>
            </a:pPr>
            <a:endParaRPr lang="en-US"/>
          </a:p>
        </c:txPr>
        <c:crossAx val="133512192"/>
        <c:crosses val="autoZero"/>
        <c:crossBetween val="between"/>
      </c:valAx>
      <c:spPr>
        <a:noFill/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449348539817542E-2"/>
          <c:y val="7.272676370355477E-2"/>
          <c:w val="0.93310130292036519"/>
          <c:h val="0.6336053640919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8</c:f>
              <c:strCache>
                <c:ptCount val="7"/>
                <c:pt idx="0">
                  <c:v>PAR</c:v>
                </c:pt>
                <c:pt idx="1">
                  <c:v>BRA</c:v>
                </c:pt>
                <c:pt idx="2">
                  <c:v>ARG</c:v>
                </c:pt>
                <c:pt idx="3">
                  <c:v>COL</c:v>
                </c:pt>
                <c:pt idx="4">
                  <c:v>PER</c:v>
                </c:pt>
                <c:pt idx="5">
                  <c:v>URU</c:v>
                </c:pt>
                <c:pt idx="6">
                  <c:v>CHI</c:v>
                </c:pt>
              </c:strCache>
            </c:strRef>
          </c:cat>
          <c:val>
            <c:numRef>
              <c:f>Hoja1!$B$2:$B$8</c:f>
              <c:numCache>
                <c:formatCode>0.0%</c:formatCode>
                <c:ptCount val="7"/>
                <c:pt idx="0">
                  <c:v>0.17299999999999999</c:v>
                </c:pt>
                <c:pt idx="1">
                  <c:v>0.17299999999999999</c:v>
                </c:pt>
                <c:pt idx="2">
                  <c:v>0.159</c:v>
                </c:pt>
                <c:pt idx="3">
                  <c:v>0.153</c:v>
                </c:pt>
                <c:pt idx="4">
                  <c:v>0.14399999999999999</c:v>
                </c:pt>
                <c:pt idx="5">
                  <c:v>0.14299999999999999</c:v>
                </c:pt>
                <c:pt idx="6">
                  <c:v>0.138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5777280"/>
        <c:axId val="135787264"/>
      </c:barChart>
      <c:lineChart>
        <c:grouping val="standar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Serie 1</c:v>
                </c:pt>
              </c:strCache>
            </c:strRef>
          </c:tx>
          <c:spPr>
            <a:ln w="6350">
              <a:prstDash val="dash"/>
            </a:ln>
          </c:spPr>
          <c:marker>
            <c:symbol val="none"/>
          </c:marker>
          <c:trendline>
            <c:spPr>
              <a:ln w="15875">
                <a:solidFill>
                  <a:srgbClr val="006600"/>
                </a:solidFill>
                <a:prstDash val="dash"/>
              </a:ln>
            </c:spPr>
            <c:trendlineType val="linear"/>
            <c:dispRSqr val="0"/>
            <c:dispEq val="0"/>
          </c:trendline>
          <c:cat>
            <c:strRef>
              <c:f>Hoja1!$A$2:$A$8</c:f>
              <c:strCache>
                <c:ptCount val="7"/>
                <c:pt idx="0">
                  <c:v>PAR</c:v>
                </c:pt>
                <c:pt idx="1">
                  <c:v>BRA</c:v>
                </c:pt>
                <c:pt idx="2">
                  <c:v>ARG</c:v>
                </c:pt>
                <c:pt idx="3">
                  <c:v>COL</c:v>
                </c:pt>
                <c:pt idx="4">
                  <c:v>PER</c:v>
                </c:pt>
                <c:pt idx="5">
                  <c:v>URU</c:v>
                </c:pt>
                <c:pt idx="6">
                  <c:v>CHI</c:v>
                </c:pt>
              </c:strCache>
            </c:strRef>
          </c:cat>
          <c:val>
            <c:numRef>
              <c:f>Hoja1!$C$2:$C$8</c:f>
              <c:numCache>
                <c:formatCode>0.0%</c:formatCode>
                <c:ptCount val="7"/>
                <c:pt idx="0">
                  <c:v>0.155</c:v>
                </c:pt>
                <c:pt idx="1">
                  <c:v>0.155</c:v>
                </c:pt>
                <c:pt idx="2">
                  <c:v>0.155</c:v>
                </c:pt>
                <c:pt idx="3">
                  <c:v>0.155</c:v>
                </c:pt>
                <c:pt idx="4">
                  <c:v>0.155</c:v>
                </c:pt>
                <c:pt idx="5">
                  <c:v>0.155</c:v>
                </c:pt>
                <c:pt idx="6">
                  <c:v>0.1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777280"/>
        <c:axId val="135787264"/>
      </c:lineChart>
      <c:catAx>
        <c:axId val="135777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35787264"/>
        <c:crosses val="autoZero"/>
        <c:auto val="1"/>
        <c:lblAlgn val="ctr"/>
        <c:lblOffset val="0"/>
        <c:noMultiLvlLbl val="0"/>
      </c:catAx>
      <c:valAx>
        <c:axId val="13578726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1357772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en-US"/>
    </a:p>
  </c:txPr>
  <c:externalData r:id="rId2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37118685219857"/>
          <c:y val="3.6135487922869317E-2"/>
          <c:w val="0.91654496966223853"/>
          <c:h val="0.68298253356644545"/>
        </c:manualLayout>
      </c:layout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reditos/PIB</c:v>
                </c:pt>
              </c:strCache>
            </c:strRef>
          </c:tx>
          <c:spPr>
            <a:ln w="44450">
              <a:solidFill>
                <a:schemeClr val="accent5">
                  <a:lumMod val="50000"/>
                </a:schemeClr>
              </a:solidFill>
            </a:ln>
          </c:spPr>
          <c:marker>
            <c:symbol val="none"/>
          </c:marker>
          <c:dLbls>
            <c:dLbl>
              <c:idx val="58"/>
              <c:layout>
                <c:manualLayout>
                  <c:x val="0.36166313966576402"/>
                  <c:y val="-0.15856856720927465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30,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Hoja1!$ED$1:$JK$1</c:f>
              <c:strCache>
                <c:ptCount val="133"/>
                <c:pt idx="0">
                  <c:v>jun-02</c:v>
                </c:pt>
                <c:pt idx="1">
                  <c:v>jul-02</c:v>
                </c:pt>
                <c:pt idx="2">
                  <c:v>ago-02</c:v>
                </c:pt>
                <c:pt idx="3">
                  <c:v>sep-02</c:v>
                </c:pt>
                <c:pt idx="4">
                  <c:v>oct-02</c:v>
                </c:pt>
                <c:pt idx="5">
                  <c:v>nov-02</c:v>
                </c:pt>
                <c:pt idx="6">
                  <c:v>dic-02</c:v>
                </c:pt>
                <c:pt idx="7">
                  <c:v>ene-03</c:v>
                </c:pt>
                <c:pt idx="8">
                  <c:v>feb-03</c:v>
                </c:pt>
                <c:pt idx="9">
                  <c:v>mar-03</c:v>
                </c:pt>
                <c:pt idx="10">
                  <c:v>abr-03</c:v>
                </c:pt>
                <c:pt idx="11">
                  <c:v>may-03</c:v>
                </c:pt>
                <c:pt idx="12">
                  <c:v>jun-03</c:v>
                </c:pt>
                <c:pt idx="13">
                  <c:v>jul-03</c:v>
                </c:pt>
                <c:pt idx="14">
                  <c:v>ago-03</c:v>
                </c:pt>
                <c:pt idx="15">
                  <c:v>sep-03</c:v>
                </c:pt>
                <c:pt idx="16">
                  <c:v>oct-03</c:v>
                </c:pt>
                <c:pt idx="17">
                  <c:v>nov-03</c:v>
                </c:pt>
                <c:pt idx="18">
                  <c:v>dic-03</c:v>
                </c:pt>
                <c:pt idx="19">
                  <c:v>ene-04</c:v>
                </c:pt>
                <c:pt idx="20">
                  <c:v>feb-04</c:v>
                </c:pt>
                <c:pt idx="21">
                  <c:v>mar-04</c:v>
                </c:pt>
                <c:pt idx="22">
                  <c:v>abr-04</c:v>
                </c:pt>
                <c:pt idx="23">
                  <c:v>may-04</c:v>
                </c:pt>
                <c:pt idx="24">
                  <c:v>jun-04</c:v>
                </c:pt>
                <c:pt idx="25">
                  <c:v>jul-04</c:v>
                </c:pt>
                <c:pt idx="26">
                  <c:v>ago-04</c:v>
                </c:pt>
                <c:pt idx="27">
                  <c:v>sep-04</c:v>
                </c:pt>
                <c:pt idx="28">
                  <c:v>oct-04</c:v>
                </c:pt>
                <c:pt idx="29">
                  <c:v>nov-04</c:v>
                </c:pt>
                <c:pt idx="30">
                  <c:v>dic-04</c:v>
                </c:pt>
                <c:pt idx="31">
                  <c:v>ene-05</c:v>
                </c:pt>
                <c:pt idx="32">
                  <c:v>feb-05</c:v>
                </c:pt>
                <c:pt idx="33">
                  <c:v>mar-05</c:v>
                </c:pt>
                <c:pt idx="34">
                  <c:v>abr-05</c:v>
                </c:pt>
                <c:pt idx="35">
                  <c:v>may-05</c:v>
                </c:pt>
                <c:pt idx="36">
                  <c:v>jun-05</c:v>
                </c:pt>
                <c:pt idx="37">
                  <c:v>jul-05</c:v>
                </c:pt>
                <c:pt idx="38">
                  <c:v>ago-05</c:v>
                </c:pt>
                <c:pt idx="39">
                  <c:v>sep-05</c:v>
                </c:pt>
                <c:pt idx="40">
                  <c:v>oct-05</c:v>
                </c:pt>
                <c:pt idx="41">
                  <c:v>nov-05</c:v>
                </c:pt>
                <c:pt idx="42">
                  <c:v>dic-05</c:v>
                </c:pt>
                <c:pt idx="43">
                  <c:v>ene-06</c:v>
                </c:pt>
                <c:pt idx="44">
                  <c:v>feb-06</c:v>
                </c:pt>
                <c:pt idx="45">
                  <c:v>mar-06</c:v>
                </c:pt>
                <c:pt idx="46">
                  <c:v>abr-06</c:v>
                </c:pt>
                <c:pt idx="47">
                  <c:v>may-06</c:v>
                </c:pt>
                <c:pt idx="48">
                  <c:v>jun-06</c:v>
                </c:pt>
                <c:pt idx="49">
                  <c:v>jul-06</c:v>
                </c:pt>
                <c:pt idx="50">
                  <c:v>ago-06</c:v>
                </c:pt>
                <c:pt idx="51">
                  <c:v>sep-06</c:v>
                </c:pt>
                <c:pt idx="52">
                  <c:v>oct-06</c:v>
                </c:pt>
                <c:pt idx="53">
                  <c:v>nov-06</c:v>
                </c:pt>
                <c:pt idx="54">
                  <c:v>dic-06</c:v>
                </c:pt>
                <c:pt idx="55">
                  <c:v>ene-07</c:v>
                </c:pt>
                <c:pt idx="56">
                  <c:v>feb-07</c:v>
                </c:pt>
                <c:pt idx="57">
                  <c:v>mar-07</c:v>
                </c:pt>
                <c:pt idx="58">
                  <c:v>abr-07</c:v>
                </c:pt>
                <c:pt idx="59">
                  <c:v>may-07</c:v>
                </c:pt>
                <c:pt idx="60">
                  <c:v>jun-07</c:v>
                </c:pt>
                <c:pt idx="61">
                  <c:v>jul-07</c:v>
                </c:pt>
                <c:pt idx="62">
                  <c:v>ago-07</c:v>
                </c:pt>
                <c:pt idx="63">
                  <c:v>sep-07</c:v>
                </c:pt>
                <c:pt idx="64">
                  <c:v>oct-07</c:v>
                </c:pt>
                <c:pt idx="65">
                  <c:v>nov-07</c:v>
                </c:pt>
                <c:pt idx="66">
                  <c:v>dic-07</c:v>
                </c:pt>
                <c:pt idx="67">
                  <c:v>ene-08</c:v>
                </c:pt>
                <c:pt idx="68">
                  <c:v>feb-08</c:v>
                </c:pt>
                <c:pt idx="69">
                  <c:v>mar-08</c:v>
                </c:pt>
                <c:pt idx="70">
                  <c:v>abr-08</c:v>
                </c:pt>
                <c:pt idx="71">
                  <c:v>may-08</c:v>
                </c:pt>
                <c:pt idx="72">
                  <c:v>jun-08</c:v>
                </c:pt>
                <c:pt idx="73">
                  <c:v>jul-08</c:v>
                </c:pt>
                <c:pt idx="74">
                  <c:v>ago-08</c:v>
                </c:pt>
                <c:pt idx="75">
                  <c:v>sep-08</c:v>
                </c:pt>
                <c:pt idx="76">
                  <c:v>oct-08</c:v>
                </c:pt>
                <c:pt idx="77">
                  <c:v>nov-08</c:v>
                </c:pt>
                <c:pt idx="78">
                  <c:v>dic-08</c:v>
                </c:pt>
                <c:pt idx="79">
                  <c:v>ene-09</c:v>
                </c:pt>
                <c:pt idx="80">
                  <c:v>feb-09</c:v>
                </c:pt>
                <c:pt idx="81">
                  <c:v>mar-09</c:v>
                </c:pt>
                <c:pt idx="82">
                  <c:v>abr-09</c:v>
                </c:pt>
                <c:pt idx="83">
                  <c:v>may-09</c:v>
                </c:pt>
                <c:pt idx="84">
                  <c:v>jun-09</c:v>
                </c:pt>
                <c:pt idx="85">
                  <c:v>jul-09</c:v>
                </c:pt>
                <c:pt idx="86">
                  <c:v>ago-09</c:v>
                </c:pt>
                <c:pt idx="87">
                  <c:v>sep-09</c:v>
                </c:pt>
                <c:pt idx="88">
                  <c:v>oct-09</c:v>
                </c:pt>
                <c:pt idx="89">
                  <c:v>nov-09</c:v>
                </c:pt>
                <c:pt idx="90">
                  <c:v>dic-09</c:v>
                </c:pt>
                <c:pt idx="91">
                  <c:v>ene-10</c:v>
                </c:pt>
                <c:pt idx="92">
                  <c:v>feb-10</c:v>
                </c:pt>
                <c:pt idx="93">
                  <c:v>mar-10</c:v>
                </c:pt>
                <c:pt idx="94">
                  <c:v>abr-10</c:v>
                </c:pt>
                <c:pt idx="95">
                  <c:v>may-10</c:v>
                </c:pt>
                <c:pt idx="96">
                  <c:v>jun-10</c:v>
                </c:pt>
                <c:pt idx="97">
                  <c:v>jul-10</c:v>
                </c:pt>
                <c:pt idx="98">
                  <c:v>ago-10</c:v>
                </c:pt>
                <c:pt idx="99">
                  <c:v>sep-10</c:v>
                </c:pt>
                <c:pt idx="100">
                  <c:v>oct-10</c:v>
                </c:pt>
                <c:pt idx="101">
                  <c:v>nov-10</c:v>
                </c:pt>
                <c:pt idx="102">
                  <c:v>dic-10</c:v>
                </c:pt>
                <c:pt idx="103">
                  <c:v>ene-11</c:v>
                </c:pt>
                <c:pt idx="104">
                  <c:v>feb-11</c:v>
                </c:pt>
                <c:pt idx="105">
                  <c:v>mar-11</c:v>
                </c:pt>
                <c:pt idx="106">
                  <c:v>abr-11</c:v>
                </c:pt>
                <c:pt idx="107">
                  <c:v>may-11</c:v>
                </c:pt>
                <c:pt idx="108">
                  <c:v>jun-11</c:v>
                </c:pt>
                <c:pt idx="109">
                  <c:v>jul-11</c:v>
                </c:pt>
                <c:pt idx="110">
                  <c:v>ago-11</c:v>
                </c:pt>
                <c:pt idx="111">
                  <c:v>sep-11</c:v>
                </c:pt>
                <c:pt idx="112">
                  <c:v>oct-11</c:v>
                </c:pt>
                <c:pt idx="113">
                  <c:v>nov-11</c:v>
                </c:pt>
                <c:pt idx="114">
                  <c:v>dic-11</c:v>
                </c:pt>
                <c:pt idx="115">
                  <c:v>ene-12</c:v>
                </c:pt>
                <c:pt idx="116">
                  <c:v>feb-12</c:v>
                </c:pt>
                <c:pt idx="117">
                  <c:v>mar-12</c:v>
                </c:pt>
                <c:pt idx="118">
                  <c:v>abr-12</c:v>
                </c:pt>
                <c:pt idx="119">
                  <c:v>may-12</c:v>
                </c:pt>
                <c:pt idx="120">
                  <c:v>jun-12</c:v>
                </c:pt>
                <c:pt idx="121">
                  <c:v>jul-12</c:v>
                </c:pt>
                <c:pt idx="122">
                  <c:v>ago-12</c:v>
                </c:pt>
                <c:pt idx="123">
                  <c:v>sep-12</c:v>
                </c:pt>
                <c:pt idx="124">
                  <c:v>oct-12</c:v>
                </c:pt>
                <c:pt idx="125">
                  <c:v>nov-12</c:v>
                </c:pt>
                <c:pt idx="126">
                  <c:v>dic-12</c:v>
                </c:pt>
                <c:pt idx="127">
                  <c:v>ene-13</c:v>
                </c:pt>
                <c:pt idx="128">
                  <c:v>feb-13</c:v>
                </c:pt>
                <c:pt idx="129">
                  <c:v>mar-13</c:v>
                </c:pt>
                <c:pt idx="130">
                  <c:v>abr-13</c:v>
                </c:pt>
                <c:pt idx="131">
                  <c:v>may-13</c:v>
                </c:pt>
                <c:pt idx="132">
                  <c:v>jun-13</c:v>
                </c:pt>
              </c:strCache>
            </c:strRef>
          </c:cat>
          <c:val>
            <c:numRef>
              <c:f>Hoja1!$ED$2:$JK$2</c:f>
              <c:numCache>
                <c:formatCode>0.00%</c:formatCode>
                <c:ptCount val="133"/>
                <c:pt idx="0">
                  <c:v>0.18886748310510945</c:v>
                </c:pt>
                <c:pt idx="1">
                  <c:v>0.19135583346505144</c:v>
                </c:pt>
                <c:pt idx="2">
                  <c:v>0.18871620666752298</c:v>
                </c:pt>
                <c:pt idx="3">
                  <c:v>0.18506791968033873</c:v>
                </c:pt>
                <c:pt idx="4">
                  <c:v>0.19375737639145613</c:v>
                </c:pt>
                <c:pt idx="5">
                  <c:v>0.19777923705033867</c:v>
                </c:pt>
                <c:pt idx="6">
                  <c:v>0.19336269831610126</c:v>
                </c:pt>
                <c:pt idx="7">
                  <c:v>0.16252323374401054</c:v>
                </c:pt>
                <c:pt idx="8">
                  <c:v>0.16287261283191193</c:v>
                </c:pt>
                <c:pt idx="9">
                  <c:v>0.16115581479778798</c:v>
                </c:pt>
                <c:pt idx="10">
                  <c:v>0.15973707336974041</c:v>
                </c:pt>
                <c:pt idx="11">
                  <c:v>0.14012953171923725</c:v>
                </c:pt>
                <c:pt idx="12">
                  <c:v>0.13580627420884006</c:v>
                </c:pt>
                <c:pt idx="13">
                  <c:v>0.13330750514539844</c:v>
                </c:pt>
                <c:pt idx="14">
                  <c:v>0.13112444460705316</c:v>
                </c:pt>
                <c:pt idx="15">
                  <c:v>0.1285367912589091</c:v>
                </c:pt>
                <c:pt idx="16">
                  <c:v>0.1276912634454497</c:v>
                </c:pt>
                <c:pt idx="17">
                  <c:v>0.12710512111054603</c:v>
                </c:pt>
                <c:pt idx="18">
                  <c:v>0.12962304183240855</c:v>
                </c:pt>
                <c:pt idx="19">
                  <c:v>0.11746653427500954</c:v>
                </c:pt>
                <c:pt idx="20">
                  <c:v>0.11832456237140303</c:v>
                </c:pt>
                <c:pt idx="21">
                  <c:v>0.11544015925126173</c:v>
                </c:pt>
                <c:pt idx="22">
                  <c:v>0.11298811133314034</c:v>
                </c:pt>
                <c:pt idx="23">
                  <c:v>0.11530153429779651</c:v>
                </c:pt>
                <c:pt idx="24">
                  <c:v>0.11710276783938542</c:v>
                </c:pt>
                <c:pt idx="25">
                  <c:v>0.1172740985448531</c:v>
                </c:pt>
                <c:pt idx="26">
                  <c:v>0.11634550027918801</c:v>
                </c:pt>
                <c:pt idx="27">
                  <c:v>0.11790178186995272</c:v>
                </c:pt>
                <c:pt idx="28">
                  <c:v>0.12188749202841424</c:v>
                </c:pt>
                <c:pt idx="29">
                  <c:v>0.12593037935370552</c:v>
                </c:pt>
                <c:pt idx="30">
                  <c:v>0.12840706847451522</c:v>
                </c:pt>
                <c:pt idx="31">
                  <c:v>0.11598414847686789</c:v>
                </c:pt>
                <c:pt idx="32">
                  <c:v>0.11583058480470314</c:v>
                </c:pt>
                <c:pt idx="33">
                  <c:v>0.11480210533428127</c:v>
                </c:pt>
                <c:pt idx="34">
                  <c:v>0.11212359710265075</c:v>
                </c:pt>
                <c:pt idx="35">
                  <c:v>0.10971623154355008</c:v>
                </c:pt>
                <c:pt idx="36">
                  <c:v>0.10645689664710793</c:v>
                </c:pt>
                <c:pt idx="37">
                  <c:v>0.10452952204071887</c:v>
                </c:pt>
                <c:pt idx="38">
                  <c:v>0.10679600267898259</c:v>
                </c:pt>
                <c:pt idx="39">
                  <c:v>0.11080035932148469</c:v>
                </c:pt>
                <c:pt idx="40">
                  <c:v>0.11745832593088804</c:v>
                </c:pt>
                <c:pt idx="41">
                  <c:v>0.12323993493074124</c:v>
                </c:pt>
                <c:pt idx="42">
                  <c:v>0.12584933822018954</c:v>
                </c:pt>
                <c:pt idx="43">
                  <c:v>0.11242236314138261</c:v>
                </c:pt>
                <c:pt idx="44">
                  <c:v>0.11192836031246364</c:v>
                </c:pt>
                <c:pt idx="45">
                  <c:v>0.11226029829196155</c:v>
                </c:pt>
                <c:pt idx="46">
                  <c:v>0.1094140770284194</c:v>
                </c:pt>
                <c:pt idx="47">
                  <c:v>0.11168728186205393</c:v>
                </c:pt>
                <c:pt idx="48">
                  <c:v>0.11022976118786723</c:v>
                </c:pt>
                <c:pt idx="49">
                  <c:v>0.11198217103281206</c:v>
                </c:pt>
                <c:pt idx="50">
                  <c:v>0.11233773544232899</c:v>
                </c:pt>
                <c:pt idx="51">
                  <c:v>0.11589418343316094</c:v>
                </c:pt>
                <c:pt idx="52">
                  <c:v>0.11800484684960455</c:v>
                </c:pt>
                <c:pt idx="53">
                  <c:v>0.12249005674942332</c:v>
                </c:pt>
                <c:pt idx="54">
                  <c:v>0.1263799768761891</c:v>
                </c:pt>
                <c:pt idx="55">
                  <c:v>0.10894686135869053</c:v>
                </c:pt>
                <c:pt idx="56">
                  <c:v>0.10947883453311</c:v>
                </c:pt>
                <c:pt idx="57">
                  <c:v>0.11070633819565338</c:v>
                </c:pt>
                <c:pt idx="58">
                  <c:v>0.11108134430006587</c:v>
                </c:pt>
                <c:pt idx="59">
                  <c:v>0.11191557589477383</c:v>
                </c:pt>
                <c:pt idx="60">
                  <c:v>0.11923908302351491</c:v>
                </c:pt>
                <c:pt idx="61">
                  <c:v>0.12237242350112511</c:v>
                </c:pt>
                <c:pt idx="62">
                  <c:v>0.1289312692441193</c:v>
                </c:pt>
                <c:pt idx="63">
                  <c:v>0.13660105225976252</c:v>
                </c:pt>
                <c:pt idx="64">
                  <c:v>0.14064859945658181</c:v>
                </c:pt>
                <c:pt idx="65">
                  <c:v>0.15081526557585018</c:v>
                </c:pt>
                <c:pt idx="66">
                  <c:v>0.15642757104745786</c:v>
                </c:pt>
                <c:pt idx="67">
                  <c:v>0.14067171772861545</c:v>
                </c:pt>
                <c:pt idx="68">
                  <c:v>0.14493018332549873</c:v>
                </c:pt>
                <c:pt idx="69">
                  <c:v>0.1490766161180789</c:v>
                </c:pt>
                <c:pt idx="70">
                  <c:v>0.15098038598463312</c:v>
                </c:pt>
                <c:pt idx="71">
                  <c:v>0.15559257546561972</c:v>
                </c:pt>
                <c:pt idx="72">
                  <c:v>0.15675952312410635</c:v>
                </c:pt>
                <c:pt idx="73">
                  <c:v>0.16073648876438448</c:v>
                </c:pt>
                <c:pt idx="74">
                  <c:v>0.16465125209275663</c:v>
                </c:pt>
                <c:pt idx="75">
                  <c:v>0.17258335573697101</c:v>
                </c:pt>
                <c:pt idx="76">
                  <c:v>0.18300930314760003</c:v>
                </c:pt>
                <c:pt idx="77">
                  <c:v>0.18992922350031233</c:v>
                </c:pt>
                <c:pt idx="78">
                  <c:v>0.19478118401607206</c:v>
                </c:pt>
                <c:pt idx="79">
                  <c:v>0.20463858579525263</c:v>
                </c:pt>
                <c:pt idx="80">
                  <c:v>0.20700498745577753</c:v>
                </c:pt>
                <c:pt idx="81">
                  <c:v>0.20560824896251126</c:v>
                </c:pt>
                <c:pt idx="82">
                  <c:v>0.20699647650948819</c:v>
                </c:pt>
                <c:pt idx="83">
                  <c:v>0.21027588568149688</c:v>
                </c:pt>
                <c:pt idx="84">
                  <c:v>0.21279168414263205</c:v>
                </c:pt>
                <c:pt idx="85">
                  <c:v>0.21623291151809021</c:v>
                </c:pt>
                <c:pt idx="86">
                  <c:v>0.22086895661343511</c:v>
                </c:pt>
                <c:pt idx="87">
                  <c:v>0.22665936156897279</c:v>
                </c:pt>
                <c:pt idx="88">
                  <c:v>0.23953477132044873</c:v>
                </c:pt>
                <c:pt idx="89">
                  <c:v>0.24549955240937904</c:v>
                </c:pt>
                <c:pt idx="90">
                  <c:v>0.25011159433617614</c:v>
                </c:pt>
                <c:pt idx="91">
                  <c:v>0.21480407182559827</c:v>
                </c:pt>
                <c:pt idx="92">
                  <c:v>0.2193027703259447</c:v>
                </c:pt>
                <c:pt idx="93">
                  <c:v>0.22849109295029615</c:v>
                </c:pt>
                <c:pt idx="94">
                  <c:v>0.23318070401795871</c:v>
                </c:pt>
                <c:pt idx="95">
                  <c:v>0.23840079348517196</c:v>
                </c:pt>
                <c:pt idx="96">
                  <c:v>0.24301465856694457</c:v>
                </c:pt>
                <c:pt idx="97">
                  <c:v>0.25231141111841576</c:v>
                </c:pt>
                <c:pt idx="98">
                  <c:v>0.25929561991202643</c:v>
                </c:pt>
                <c:pt idx="99">
                  <c:v>0.26953731187343838</c:v>
                </c:pt>
                <c:pt idx="100">
                  <c:v>0.28090262324239401</c:v>
                </c:pt>
                <c:pt idx="101">
                  <c:v>0.28082618965471662</c:v>
                </c:pt>
                <c:pt idx="102">
                  <c:v>0.28934824589213481</c:v>
                </c:pt>
                <c:pt idx="103">
                  <c:v>0.25852737958379607</c:v>
                </c:pt>
                <c:pt idx="104">
                  <c:v>0.26186462403450794</c:v>
                </c:pt>
                <c:pt idx="105">
                  <c:v>0.25522244468611011</c:v>
                </c:pt>
                <c:pt idx="106">
                  <c:v>0.25636095471775738</c:v>
                </c:pt>
                <c:pt idx="107">
                  <c:v>0.26090530609399132</c:v>
                </c:pt>
                <c:pt idx="108">
                  <c:v>0.26401474495711985</c:v>
                </c:pt>
                <c:pt idx="109">
                  <c:v>0.26290191923044959</c:v>
                </c:pt>
                <c:pt idx="110">
                  <c:v>0.26641758912653041</c:v>
                </c:pt>
                <c:pt idx="111">
                  <c:v>0.27911786786433007</c:v>
                </c:pt>
                <c:pt idx="112">
                  <c:v>0.28222748868522318</c:v>
                </c:pt>
                <c:pt idx="113">
                  <c:v>0.29762362207085608</c:v>
                </c:pt>
                <c:pt idx="114">
                  <c:v>0.30538784001064229</c:v>
                </c:pt>
                <c:pt idx="115">
                  <c:v>0.30340595280064175</c:v>
                </c:pt>
                <c:pt idx="116">
                  <c:v>0.29140341211893694</c:v>
                </c:pt>
                <c:pt idx="117">
                  <c:v>0.29933130976836847</c:v>
                </c:pt>
                <c:pt idx="118">
                  <c:v>0.29914539528649131</c:v>
                </c:pt>
                <c:pt idx="119">
                  <c:v>0.30551531522524333</c:v>
                </c:pt>
                <c:pt idx="120">
                  <c:v>0.30874271405816378</c:v>
                </c:pt>
                <c:pt idx="121">
                  <c:v>0.31174226647051623</c:v>
                </c:pt>
                <c:pt idx="122">
                  <c:v>0.31772610560771358</c:v>
                </c:pt>
                <c:pt idx="123">
                  <c:v>0.32378593486875618</c:v>
                </c:pt>
                <c:pt idx="124">
                  <c:v>0.33073256846203525</c:v>
                </c:pt>
                <c:pt idx="125">
                  <c:v>0.33755307982412719</c:v>
                </c:pt>
                <c:pt idx="126">
                  <c:v>0.33578201410824887</c:v>
                </c:pt>
                <c:pt idx="127">
                  <c:v>0.28494222368575367</c:v>
                </c:pt>
                <c:pt idx="128">
                  <c:v>0.28384650453368598</c:v>
                </c:pt>
                <c:pt idx="129">
                  <c:v>0.28741940573710456</c:v>
                </c:pt>
                <c:pt idx="130">
                  <c:v>0.28942926375893607</c:v>
                </c:pt>
                <c:pt idx="131">
                  <c:v>0.29522348978124663</c:v>
                </c:pt>
                <c:pt idx="132">
                  <c:v>0.3051272330002320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Depositos/PIB</c:v>
                </c:pt>
              </c:strCache>
            </c:strRef>
          </c:tx>
          <c:spPr>
            <a:ln w="44450">
              <a:solidFill>
                <a:schemeClr val="accent6"/>
              </a:solidFill>
            </a:ln>
          </c:spPr>
          <c:marker>
            <c:symbol val="none"/>
          </c:marker>
          <c:dLbls>
            <c:dLbl>
              <c:idx val="58"/>
              <c:layout>
                <c:manualLayout>
                  <c:x val="0.37563566447146252"/>
                  <c:y val="-0.3151689779844856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100" b="1" i="0" u="none" strike="noStrike" kern="1200" baseline="0">
                        <a:solidFill>
                          <a:srgbClr val="1003BD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dirty="0" smtClean="0"/>
                      <a:t>36,7%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ctr">
                  <a:defRPr lang="es-ES" sz="1100" b="1" i="0" u="none" strike="noStrike" kern="1200" baseline="0">
                    <a:solidFill>
                      <a:srgbClr val="1003BD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Hoja1!$ED$1:$JK$1</c:f>
              <c:strCache>
                <c:ptCount val="133"/>
                <c:pt idx="0">
                  <c:v>jun-02</c:v>
                </c:pt>
                <c:pt idx="1">
                  <c:v>jul-02</c:v>
                </c:pt>
                <c:pt idx="2">
                  <c:v>ago-02</c:v>
                </c:pt>
                <c:pt idx="3">
                  <c:v>sep-02</c:v>
                </c:pt>
                <c:pt idx="4">
                  <c:v>oct-02</c:v>
                </c:pt>
                <c:pt idx="5">
                  <c:v>nov-02</c:v>
                </c:pt>
                <c:pt idx="6">
                  <c:v>dic-02</c:v>
                </c:pt>
                <c:pt idx="7">
                  <c:v>ene-03</c:v>
                </c:pt>
                <c:pt idx="8">
                  <c:v>feb-03</c:v>
                </c:pt>
                <c:pt idx="9">
                  <c:v>mar-03</c:v>
                </c:pt>
                <c:pt idx="10">
                  <c:v>abr-03</c:v>
                </c:pt>
                <c:pt idx="11">
                  <c:v>may-03</c:v>
                </c:pt>
                <c:pt idx="12">
                  <c:v>jun-03</c:v>
                </c:pt>
                <c:pt idx="13">
                  <c:v>jul-03</c:v>
                </c:pt>
                <c:pt idx="14">
                  <c:v>ago-03</c:v>
                </c:pt>
                <c:pt idx="15">
                  <c:v>sep-03</c:v>
                </c:pt>
                <c:pt idx="16">
                  <c:v>oct-03</c:v>
                </c:pt>
                <c:pt idx="17">
                  <c:v>nov-03</c:v>
                </c:pt>
                <c:pt idx="18">
                  <c:v>dic-03</c:v>
                </c:pt>
                <c:pt idx="19">
                  <c:v>ene-04</c:v>
                </c:pt>
                <c:pt idx="20">
                  <c:v>feb-04</c:v>
                </c:pt>
                <c:pt idx="21">
                  <c:v>mar-04</c:v>
                </c:pt>
                <c:pt idx="22">
                  <c:v>abr-04</c:v>
                </c:pt>
                <c:pt idx="23">
                  <c:v>may-04</c:v>
                </c:pt>
                <c:pt idx="24">
                  <c:v>jun-04</c:v>
                </c:pt>
                <c:pt idx="25">
                  <c:v>jul-04</c:v>
                </c:pt>
                <c:pt idx="26">
                  <c:v>ago-04</c:v>
                </c:pt>
                <c:pt idx="27">
                  <c:v>sep-04</c:v>
                </c:pt>
                <c:pt idx="28">
                  <c:v>oct-04</c:v>
                </c:pt>
                <c:pt idx="29">
                  <c:v>nov-04</c:v>
                </c:pt>
                <c:pt idx="30">
                  <c:v>dic-04</c:v>
                </c:pt>
                <c:pt idx="31">
                  <c:v>ene-05</c:v>
                </c:pt>
                <c:pt idx="32">
                  <c:v>feb-05</c:v>
                </c:pt>
                <c:pt idx="33">
                  <c:v>mar-05</c:v>
                </c:pt>
                <c:pt idx="34">
                  <c:v>abr-05</c:v>
                </c:pt>
                <c:pt idx="35">
                  <c:v>may-05</c:v>
                </c:pt>
                <c:pt idx="36">
                  <c:v>jun-05</c:v>
                </c:pt>
                <c:pt idx="37">
                  <c:v>jul-05</c:v>
                </c:pt>
                <c:pt idx="38">
                  <c:v>ago-05</c:v>
                </c:pt>
                <c:pt idx="39">
                  <c:v>sep-05</c:v>
                </c:pt>
                <c:pt idx="40">
                  <c:v>oct-05</c:v>
                </c:pt>
                <c:pt idx="41">
                  <c:v>nov-05</c:v>
                </c:pt>
                <c:pt idx="42">
                  <c:v>dic-05</c:v>
                </c:pt>
                <c:pt idx="43">
                  <c:v>ene-06</c:v>
                </c:pt>
                <c:pt idx="44">
                  <c:v>feb-06</c:v>
                </c:pt>
                <c:pt idx="45">
                  <c:v>mar-06</c:v>
                </c:pt>
                <c:pt idx="46">
                  <c:v>abr-06</c:v>
                </c:pt>
                <c:pt idx="47">
                  <c:v>may-06</c:v>
                </c:pt>
                <c:pt idx="48">
                  <c:v>jun-06</c:v>
                </c:pt>
                <c:pt idx="49">
                  <c:v>jul-06</c:v>
                </c:pt>
                <c:pt idx="50">
                  <c:v>ago-06</c:v>
                </c:pt>
                <c:pt idx="51">
                  <c:v>sep-06</c:v>
                </c:pt>
                <c:pt idx="52">
                  <c:v>oct-06</c:v>
                </c:pt>
                <c:pt idx="53">
                  <c:v>nov-06</c:v>
                </c:pt>
                <c:pt idx="54">
                  <c:v>dic-06</c:v>
                </c:pt>
                <c:pt idx="55">
                  <c:v>ene-07</c:v>
                </c:pt>
                <c:pt idx="56">
                  <c:v>feb-07</c:v>
                </c:pt>
                <c:pt idx="57">
                  <c:v>mar-07</c:v>
                </c:pt>
                <c:pt idx="58">
                  <c:v>abr-07</c:v>
                </c:pt>
                <c:pt idx="59">
                  <c:v>may-07</c:v>
                </c:pt>
                <c:pt idx="60">
                  <c:v>jun-07</c:v>
                </c:pt>
                <c:pt idx="61">
                  <c:v>jul-07</c:v>
                </c:pt>
                <c:pt idx="62">
                  <c:v>ago-07</c:v>
                </c:pt>
                <c:pt idx="63">
                  <c:v>sep-07</c:v>
                </c:pt>
                <c:pt idx="64">
                  <c:v>oct-07</c:v>
                </c:pt>
                <c:pt idx="65">
                  <c:v>nov-07</c:v>
                </c:pt>
                <c:pt idx="66">
                  <c:v>dic-07</c:v>
                </c:pt>
                <c:pt idx="67">
                  <c:v>ene-08</c:v>
                </c:pt>
                <c:pt idx="68">
                  <c:v>feb-08</c:v>
                </c:pt>
                <c:pt idx="69">
                  <c:v>mar-08</c:v>
                </c:pt>
                <c:pt idx="70">
                  <c:v>abr-08</c:v>
                </c:pt>
                <c:pt idx="71">
                  <c:v>may-08</c:v>
                </c:pt>
                <c:pt idx="72">
                  <c:v>jun-08</c:v>
                </c:pt>
                <c:pt idx="73">
                  <c:v>jul-08</c:v>
                </c:pt>
                <c:pt idx="74">
                  <c:v>ago-08</c:v>
                </c:pt>
                <c:pt idx="75">
                  <c:v>sep-08</c:v>
                </c:pt>
                <c:pt idx="76">
                  <c:v>oct-08</c:v>
                </c:pt>
                <c:pt idx="77">
                  <c:v>nov-08</c:v>
                </c:pt>
                <c:pt idx="78">
                  <c:v>dic-08</c:v>
                </c:pt>
                <c:pt idx="79">
                  <c:v>ene-09</c:v>
                </c:pt>
                <c:pt idx="80">
                  <c:v>feb-09</c:v>
                </c:pt>
                <c:pt idx="81">
                  <c:v>mar-09</c:v>
                </c:pt>
                <c:pt idx="82">
                  <c:v>abr-09</c:v>
                </c:pt>
                <c:pt idx="83">
                  <c:v>may-09</c:v>
                </c:pt>
                <c:pt idx="84">
                  <c:v>jun-09</c:v>
                </c:pt>
                <c:pt idx="85">
                  <c:v>jul-09</c:v>
                </c:pt>
                <c:pt idx="86">
                  <c:v>ago-09</c:v>
                </c:pt>
                <c:pt idx="87">
                  <c:v>sep-09</c:v>
                </c:pt>
                <c:pt idx="88">
                  <c:v>oct-09</c:v>
                </c:pt>
                <c:pt idx="89">
                  <c:v>nov-09</c:v>
                </c:pt>
                <c:pt idx="90">
                  <c:v>dic-09</c:v>
                </c:pt>
                <c:pt idx="91">
                  <c:v>ene-10</c:v>
                </c:pt>
                <c:pt idx="92">
                  <c:v>feb-10</c:v>
                </c:pt>
                <c:pt idx="93">
                  <c:v>mar-10</c:v>
                </c:pt>
                <c:pt idx="94">
                  <c:v>abr-10</c:v>
                </c:pt>
                <c:pt idx="95">
                  <c:v>may-10</c:v>
                </c:pt>
                <c:pt idx="96">
                  <c:v>jun-10</c:v>
                </c:pt>
                <c:pt idx="97">
                  <c:v>jul-10</c:v>
                </c:pt>
                <c:pt idx="98">
                  <c:v>ago-10</c:v>
                </c:pt>
                <c:pt idx="99">
                  <c:v>sep-10</c:v>
                </c:pt>
                <c:pt idx="100">
                  <c:v>oct-10</c:v>
                </c:pt>
                <c:pt idx="101">
                  <c:v>nov-10</c:v>
                </c:pt>
                <c:pt idx="102">
                  <c:v>dic-10</c:v>
                </c:pt>
                <c:pt idx="103">
                  <c:v>ene-11</c:v>
                </c:pt>
                <c:pt idx="104">
                  <c:v>feb-11</c:v>
                </c:pt>
                <c:pt idx="105">
                  <c:v>mar-11</c:v>
                </c:pt>
                <c:pt idx="106">
                  <c:v>abr-11</c:v>
                </c:pt>
                <c:pt idx="107">
                  <c:v>may-11</c:v>
                </c:pt>
                <c:pt idx="108">
                  <c:v>jun-11</c:v>
                </c:pt>
                <c:pt idx="109">
                  <c:v>jul-11</c:v>
                </c:pt>
                <c:pt idx="110">
                  <c:v>ago-11</c:v>
                </c:pt>
                <c:pt idx="111">
                  <c:v>sep-11</c:v>
                </c:pt>
                <c:pt idx="112">
                  <c:v>oct-11</c:v>
                </c:pt>
                <c:pt idx="113">
                  <c:v>nov-11</c:v>
                </c:pt>
                <c:pt idx="114">
                  <c:v>dic-11</c:v>
                </c:pt>
                <c:pt idx="115">
                  <c:v>ene-12</c:v>
                </c:pt>
                <c:pt idx="116">
                  <c:v>feb-12</c:v>
                </c:pt>
                <c:pt idx="117">
                  <c:v>mar-12</c:v>
                </c:pt>
                <c:pt idx="118">
                  <c:v>abr-12</c:v>
                </c:pt>
                <c:pt idx="119">
                  <c:v>may-12</c:v>
                </c:pt>
                <c:pt idx="120">
                  <c:v>jun-12</c:v>
                </c:pt>
                <c:pt idx="121">
                  <c:v>jul-12</c:v>
                </c:pt>
                <c:pt idx="122">
                  <c:v>ago-12</c:v>
                </c:pt>
                <c:pt idx="123">
                  <c:v>sep-12</c:v>
                </c:pt>
                <c:pt idx="124">
                  <c:v>oct-12</c:v>
                </c:pt>
                <c:pt idx="125">
                  <c:v>nov-12</c:v>
                </c:pt>
                <c:pt idx="126">
                  <c:v>dic-12</c:v>
                </c:pt>
                <c:pt idx="127">
                  <c:v>ene-13</c:v>
                </c:pt>
                <c:pt idx="128">
                  <c:v>feb-13</c:v>
                </c:pt>
                <c:pt idx="129">
                  <c:v>mar-13</c:v>
                </c:pt>
                <c:pt idx="130">
                  <c:v>abr-13</c:v>
                </c:pt>
                <c:pt idx="131">
                  <c:v>may-13</c:v>
                </c:pt>
                <c:pt idx="132">
                  <c:v>jun-13</c:v>
                </c:pt>
              </c:strCache>
            </c:strRef>
          </c:cat>
          <c:val>
            <c:numRef>
              <c:f>Hoja1!$ED$3:$JK$3</c:f>
              <c:numCache>
                <c:formatCode>0.00%</c:formatCode>
                <c:ptCount val="133"/>
                <c:pt idx="0">
                  <c:v>0.2153890861115334</c:v>
                </c:pt>
                <c:pt idx="1">
                  <c:v>0.21179281986651405</c:v>
                </c:pt>
                <c:pt idx="2">
                  <c:v>0.21590531167250995</c:v>
                </c:pt>
                <c:pt idx="3">
                  <c:v>0.21961741936574758</c:v>
                </c:pt>
                <c:pt idx="4">
                  <c:v>0.23483507025702893</c:v>
                </c:pt>
                <c:pt idx="5">
                  <c:v>0.24420273127690489</c:v>
                </c:pt>
                <c:pt idx="6">
                  <c:v>0.24918977681102006</c:v>
                </c:pt>
                <c:pt idx="7">
                  <c:v>0.2102679109736639</c:v>
                </c:pt>
                <c:pt idx="8">
                  <c:v>0.21264741629102304</c:v>
                </c:pt>
                <c:pt idx="9">
                  <c:v>0.2259752049198937</c:v>
                </c:pt>
                <c:pt idx="10">
                  <c:v>0.24298393797822129</c:v>
                </c:pt>
                <c:pt idx="11">
                  <c:v>0.22662019261599789</c:v>
                </c:pt>
                <c:pt idx="12">
                  <c:v>0.22569113695443957</c:v>
                </c:pt>
                <c:pt idx="13">
                  <c:v>0.22575167524206344</c:v>
                </c:pt>
                <c:pt idx="14">
                  <c:v>0.23098986260630835</c:v>
                </c:pt>
                <c:pt idx="15">
                  <c:v>0.23235172676613977</c:v>
                </c:pt>
                <c:pt idx="16">
                  <c:v>0.23109164173001645</c:v>
                </c:pt>
                <c:pt idx="17">
                  <c:v>0.2213645100021302</c:v>
                </c:pt>
                <c:pt idx="18">
                  <c:v>0.22893401750227083</c:v>
                </c:pt>
                <c:pt idx="19">
                  <c:v>0.20818541478479166</c:v>
                </c:pt>
                <c:pt idx="20">
                  <c:v>0.20793621767365247</c:v>
                </c:pt>
                <c:pt idx="21">
                  <c:v>0.21576880696883766</c:v>
                </c:pt>
                <c:pt idx="22">
                  <c:v>0.21829918347046448</c:v>
                </c:pt>
                <c:pt idx="23">
                  <c:v>0.2230514084030637</c:v>
                </c:pt>
                <c:pt idx="24">
                  <c:v>0.22149897951875247</c:v>
                </c:pt>
                <c:pt idx="25">
                  <c:v>0.22011253574773015</c:v>
                </c:pt>
                <c:pt idx="26">
                  <c:v>0.22150575019149285</c:v>
                </c:pt>
                <c:pt idx="27">
                  <c:v>0.22380453252568985</c:v>
                </c:pt>
                <c:pt idx="28">
                  <c:v>0.22616675651164583</c:v>
                </c:pt>
                <c:pt idx="29">
                  <c:v>0.22510356776604912</c:v>
                </c:pt>
                <c:pt idx="30">
                  <c:v>0.23080745488759838</c:v>
                </c:pt>
                <c:pt idx="31">
                  <c:v>0.20902963694683602</c:v>
                </c:pt>
                <c:pt idx="32">
                  <c:v>0.20695362229828967</c:v>
                </c:pt>
                <c:pt idx="33">
                  <c:v>0.20979339205695302</c:v>
                </c:pt>
                <c:pt idx="34">
                  <c:v>0.21457164587081576</c:v>
                </c:pt>
                <c:pt idx="35">
                  <c:v>0.21386351432365205</c:v>
                </c:pt>
                <c:pt idx="36">
                  <c:v>0.21577182749651244</c:v>
                </c:pt>
                <c:pt idx="37">
                  <c:v>0.21237026938254658</c:v>
                </c:pt>
                <c:pt idx="38">
                  <c:v>0.21534930335666799</c:v>
                </c:pt>
                <c:pt idx="39">
                  <c:v>0.21524590935335811</c:v>
                </c:pt>
                <c:pt idx="40">
                  <c:v>0.2175022665185872</c:v>
                </c:pt>
                <c:pt idx="41">
                  <c:v>0.2194497658004653</c:v>
                </c:pt>
                <c:pt idx="42">
                  <c:v>0.22126217900829961</c:v>
                </c:pt>
                <c:pt idx="43">
                  <c:v>0.2000746858859834</c:v>
                </c:pt>
                <c:pt idx="44">
                  <c:v>0.19835833716227247</c:v>
                </c:pt>
                <c:pt idx="45">
                  <c:v>0.20108775855134164</c:v>
                </c:pt>
                <c:pt idx="46">
                  <c:v>0.19885118906993457</c:v>
                </c:pt>
                <c:pt idx="47">
                  <c:v>0.2063794774501784</c:v>
                </c:pt>
                <c:pt idx="48">
                  <c:v>0.20416691837371193</c:v>
                </c:pt>
                <c:pt idx="49">
                  <c:v>0.20473047754908083</c:v>
                </c:pt>
                <c:pt idx="50">
                  <c:v>0.20538358662452294</c:v>
                </c:pt>
                <c:pt idx="51">
                  <c:v>0.20535131712569496</c:v>
                </c:pt>
                <c:pt idx="52">
                  <c:v>0.21347539069009736</c:v>
                </c:pt>
                <c:pt idx="53">
                  <c:v>0.2109988572230905</c:v>
                </c:pt>
                <c:pt idx="54">
                  <c:v>0.21454920620571247</c:v>
                </c:pt>
                <c:pt idx="55">
                  <c:v>0.19078938202872148</c:v>
                </c:pt>
                <c:pt idx="56">
                  <c:v>0.19471268755082952</c:v>
                </c:pt>
                <c:pt idx="57">
                  <c:v>0.20158063300764126</c:v>
                </c:pt>
                <c:pt idx="58">
                  <c:v>0.21221303518286294</c:v>
                </c:pt>
                <c:pt idx="59">
                  <c:v>0.21327907362219842</c:v>
                </c:pt>
                <c:pt idx="60">
                  <c:v>0.22410317040131944</c:v>
                </c:pt>
                <c:pt idx="61">
                  <c:v>0.22525414916246356</c:v>
                </c:pt>
                <c:pt idx="62">
                  <c:v>0.22863571510906849</c:v>
                </c:pt>
                <c:pt idx="63">
                  <c:v>0.23235869276733648</c:v>
                </c:pt>
                <c:pt idx="64">
                  <c:v>0.23640395914360637</c:v>
                </c:pt>
                <c:pt idx="65">
                  <c:v>0.24174536499360633</c:v>
                </c:pt>
                <c:pt idx="66">
                  <c:v>0.24957073562704313</c:v>
                </c:pt>
                <c:pt idx="67">
                  <c:v>0.22521333337597638</c:v>
                </c:pt>
                <c:pt idx="68">
                  <c:v>0.22870935666571526</c:v>
                </c:pt>
                <c:pt idx="69">
                  <c:v>0.24070749397120536</c:v>
                </c:pt>
                <c:pt idx="70">
                  <c:v>0.24712090583433594</c:v>
                </c:pt>
                <c:pt idx="71">
                  <c:v>0.25329169818037867</c:v>
                </c:pt>
                <c:pt idx="72">
                  <c:v>0.24885082388628138</c:v>
                </c:pt>
                <c:pt idx="73">
                  <c:v>0.2518956675606896</c:v>
                </c:pt>
                <c:pt idx="74">
                  <c:v>0.25171995121508628</c:v>
                </c:pt>
                <c:pt idx="75">
                  <c:v>0.25057989396783659</c:v>
                </c:pt>
                <c:pt idx="76">
                  <c:v>0.25901248953495337</c:v>
                </c:pt>
                <c:pt idx="77">
                  <c:v>0.2645431950305428</c:v>
                </c:pt>
                <c:pt idx="78">
                  <c:v>0.27496250823990409</c:v>
                </c:pt>
                <c:pt idx="79">
                  <c:v>0.29216760008303139</c:v>
                </c:pt>
                <c:pt idx="80">
                  <c:v>0.29776174690693752</c:v>
                </c:pt>
                <c:pt idx="81">
                  <c:v>0.30137845889317261</c:v>
                </c:pt>
                <c:pt idx="82">
                  <c:v>0.31178210276087165</c:v>
                </c:pt>
                <c:pt idx="83">
                  <c:v>0.32709728419568185</c:v>
                </c:pt>
                <c:pt idx="84">
                  <c:v>0.33320128597698673</c:v>
                </c:pt>
                <c:pt idx="85">
                  <c:v>0.33737771540881439</c:v>
                </c:pt>
                <c:pt idx="86">
                  <c:v>0.34038060306515511</c:v>
                </c:pt>
                <c:pt idx="87">
                  <c:v>0.34530452442127729</c:v>
                </c:pt>
                <c:pt idx="88">
                  <c:v>0.35529649910726235</c:v>
                </c:pt>
                <c:pt idx="89">
                  <c:v>0.36141737594151241</c:v>
                </c:pt>
                <c:pt idx="90">
                  <c:v>0.36337563779018889</c:v>
                </c:pt>
                <c:pt idx="91">
                  <c:v>0.31145150400647942</c:v>
                </c:pt>
                <c:pt idx="92">
                  <c:v>0.31647493494210138</c:v>
                </c:pt>
                <c:pt idx="93">
                  <c:v>0.32485310655547883</c:v>
                </c:pt>
                <c:pt idx="94">
                  <c:v>0.3393645873038631</c:v>
                </c:pt>
                <c:pt idx="95">
                  <c:v>0.33931412505784642</c:v>
                </c:pt>
                <c:pt idx="96">
                  <c:v>0.33976938876555129</c:v>
                </c:pt>
                <c:pt idx="97">
                  <c:v>0.34832136232652022</c:v>
                </c:pt>
                <c:pt idx="98">
                  <c:v>0.34965424099751541</c:v>
                </c:pt>
                <c:pt idx="99">
                  <c:v>0.35435680525562241</c:v>
                </c:pt>
                <c:pt idx="100">
                  <c:v>0.36263173187067127</c:v>
                </c:pt>
                <c:pt idx="101">
                  <c:v>0.35771301226906088</c:v>
                </c:pt>
                <c:pt idx="102">
                  <c:v>0.36001815629289735</c:v>
                </c:pt>
                <c:pt idx="103">
                  <c:v>0.32152449011527945</c:v>
                </c:pt>
                <c:pt idx="104">
                  <c:v>0.32486904512649911</c:v>
                </c:pt>
                <c:pt idx="105">
                  <c:v>0.32487673928397209</c:v>
                </c:pt>
                <c:pt idx="106">
                  <c:v>0.33105123417924848</c:v>
                </c:pt>
                <c:pt idx="107">
                  <c:v>0.33809113450274647</c:v>
                </c:pt>
                <c:pt idx="108">
                  <c:v>0.33096872276589701</c:v>
                </c:pt>
                <c:pt idx="109">
                  <c:v>0.32621318310956154</c:v>
                </c:pt>
                <c:pt idx="110">
                  <c:v>0.335884588473504</c:v>
                </c:pt>
                <c:pt idx="111">
                  <c:v>0.3466078305265653</c:v>
                </c:pt>
                <c:pt idx="112">
                  <c:v>0.34960733383246828</c:v>
                </c:pt>
                <c:pt idx="113">
                  <c:v>0.35129884971551595</c:v>
                </c:pt>
                <c:pt idx="114">
                  <c:v>0.36048597302297669</c:v>
                </c:pt>
                <c:pt idx="115">
                  <c:v>0.35832397988442033</c:v>
                </c:pt>
                <c:pt idx="116">
                  <c:v>0.34985989015758051</c:v>
                </c:pt>
                <c:pt idx="117">
                  <c:v>0.35927829328648198</c:v>
                </c:pt>
                <c:pt idx="118">
                  <c:v>0.36624478322475768</c:v>
                </c:pt>
                <c:pt idx="119">
                  <c:v>0.37032977469329542</c:v>
                </c:pt>
                <c:pt idx="120">
                  <c:v>0.37003373752570701</c:v>
                </c:pt>
                <c:pt idx="121">
                  <c:v>0.36948149820910359</c:v>
                </c:pt>
                <c:pt idx="122">
                  <c:v>0.37271418155805019</c:v>
                </c:pt>
                <c:pt idx="123">
                  <c:v>0.37571868764503635</c:v>
                </c:pt>
                <c:pt idx="124">
                  <c:v>0.38269302345927531</c:v>
                </c:pt>
                <c:pt idx="125">
                  <c:v>0.3846548638436601</c:v>
                </c:pt>
                <c:pt idx="126">
                  <c:v>0.38704476669073906</c:v>
                </c:pt>
                <c:pt idx="127">
                  <c:v>0.33371504898107585</c:v>
                </c:pt>
                <c:pt idx="128">
                  <c:v>0.3421346755566137</c:v>
                </c:pt>
                <c:pt idx="129">
                  <c:v>0.34836918925596422</c:v>
                </c:pt>
                <c:pt idx="130">
                  <c:v>0.35925248898305828</c:v>
                </c:pt>
                <c:pt idx="131">
                  <c:v>0.36153096052154654</c:v>
                </c:pt>
                <c:pt idx="132">
                  <c:v>0.3673067887924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833856"/>
        <c:axId val="135462912"/>
      </c:lineChart>
      <c:dateAx>
        <c:axId val="13583385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lang="es-ES" sz="900"/>
            </a:pPr>
            <a:endParaRPr lang="en-US"/>
          </a:p>
        </c:txPr>
        <c:crossAx val="135462912"/>
        <c:crosses val="autoZero"/>
        <c:auto val="0"/>
        <c:lblOffset val="100"/>
        <c:baseTimeUnit val="days"/>
        <c:majorUnit val="3"/>
        <c:minorUnit val="2"/>
      </c:dateAx>
      <c:valAx>
        <c:axId val="135462912"/>
        <c:scaling>
          <c:orientation val="minMax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lang="es-ES" sz="1200"/>
            </a:pPr>
            <a:endParaRPr lang="en-US"/>
          </a:p>
        </c:txPr>
        <c:crossAx val="1358338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7867184044540124"/>
          <c:y val="0.92918445569539965"/>
          <c:w val="0.75247116148520188"/>
          <c:h val="5.4018468847377141E-2"/>
        </c:manualLayout>
      </c:layout>
      <c:overlay val="0"/>
      <c:txPr>
        <a:bodyPr/>
        <a:lstStyle/>
        <a:p>
          <a:pPr>
            <a:defRPr lang="es-ES" sz="1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449348539817611E-2"/>
          <c:y val="7.6013708718064912E-2"/>
          <c:w val="0.93310130292036519"/>
          <c:h val="0.761192431881266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08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6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Hoja1!$B$2:$B$6</c:f>
              <c:numCache>
                <c:formatCode>0.0%</c:formatCode>
                <c:ptCount val="5"/>
                <c:pt idx="0">
                  <c:v>0.41200000000000003</c:v>
                </c:pt>
                <c:pt idx="1">
                  <c:v>0.377</c:v>
                </c:pt>
                <c:pt idx="2">
                  <c:v>0.35100000000000003</c:v>
                </c:pt>
                <c:pt idx="3">
                  <c:v>0.34700000000000003</c:v>
                </c:pt>
                <c:pt idx="4">
                  <c:v>0.32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5577984"/>
        <c:axId val="135579520"/>
      </c:barChart>
      <c:catAx>
        <c:axId val="13557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5579520"/>
        <c:crosses val="autoZero"/>
        <c:auto val="1"/>
        <c:lblAlgn val="ctr"/>
        <c:lblOffset val="100"/>
        <c:noMultiLvlLbl val="0"/>
      </c:catAx>
      <c:valAx>
        <c:axId val="135579520"/>
        <c:scaling>
          <c:orientation val="minMax"/>
          <c:min val="0.30000000000000016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.0%" sourceLinked="1"/>
        <c:majorTickMark val="out"/>
        <c:minorTickMark val="none"/>
        <c:tickLblPos val="none"/>
        <c:spPr>
          <a:ln>
            <a:noFill/>
          </a:ln>
        </c:spPr>
        <c:crossAx val="1355779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8">
          <a:latin typeface="+mj-lt"/>
        </a:defRPr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816997345122616E-2"/>
          <c:y val="2.5653715243760852E-2"/>
          <c:w val="0.90573365411506002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_(* #,##0.0%_);_(* \(#,##0.0%\);_(* &quot;-&quot;_);_(@_)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8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Hoja1!$B$2:$B$8</c:f>
              <c:numCache>
                <c:formatCode>#,#00%</c:formatCode>
                <c:ptCount val="7"/>
                <c:pt idx="0">
                  <c:v>3.5000000000000003E-2</c:v>
                </c:pt>
                <c:pt idx="1">
                  <c:v>4.4999999999999998E-2</c:v>
                </c:pt>
                <c:pt idx="2">
                  <c:v>-5.6000000000000001E-2</c:v>
                </c:pt>
                <c:pt idx="3">
                  <c:v>0.112</c:v>
                </c:pt>
                <c:pt idx="4">
                  <c:v>2.5999999999999999E-2</c:v>
                </c:pt>
                <c:pt idx="5" formatCode="0.00%">
                  <c:v>-2.9000000000000001E-2</c:v>
                </c:pt>
                <c:pt idx="6" formatCode="0.00%">
                  <c:v>0.1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5616000"/>
        <c:axId val="135617536"/>
      </c:barChart>
      <c:catAx>
        <c:axId val="135616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5617536"/>
        <c:crosses val="autoZero"/>
        <c:auto val="1"/>
        <c:lblAlgn val="ctr"/>
        <c:lblOffset val="100"/>
        <c:noMultiLvlLbl val="0"/>
      </c:catAx>
      <c:valAx>
        <c:axId val="135617536"/>
        <c:scaling>
          <c:orientation val="minMax"/>
          <c:max val="0.14000000000000001"/>
          <c:min val="-8.0000000000000043E-2"/>
        </c:scaling>
        <c:delete val="1"/>
        <c:axPos val="l"/>
        <c:numFmt formatCode="#,#00%" sourceLinked="1"/>
        <c:majorTickMark val="out"/>
        <c:minorTickMark val="none"/>
        <c:tickLblPos val="nextTo"/>
        <c:crossAx val="135616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en-US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449348539817611E-2"/>
          <c:y val="2.5653715243760852E-2"/>
          <c:w val="0.93310130292036519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 w="9508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B$2:$B$7</c:f>
              <c:numCache>
                <c:formatCode>#,#00%</c:formatCode>
                <c:ptCount val="6"/>
                <c:pt idx="0">
                  <c:v>0.09</c:v>
                </c:pt>
                <c:pt idx="1">
                  <c:v>9.5000000000000001E-2</c:v>
                </c:pt>
                <c:pt idx="2">
                  <c:v>6.6000000000000003E-2</c:v>
                </c:pt>
                <c:pt idx="3">
                  <c:v>6.4000000000000001E-2</c:v>
                </c:pt>
                <c:pt idx="4">
                  <c:v>9.8000000000000004E-2</c:v>
                </c:pt>
                <c:pt idx="5">
                  <c:v>4.6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5678592"/>
        <c:axId val="135704960"/>
      </c:barChart>
      <c:catAx>
        <c:axId val="13567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5704960"/>
        <c:crosses val="autoZero"/>
        <c:auto val="1"/>
        <c:lblAlgn val="ctr"/>
        <c:lblOffset val="100"/>
        <c:noMultiLvlLbl val="0"/>
      </c:catAx>
      <c:valAx>
        <c:axId val="135704960"/>
        <c:scaling>
          <c:orientation val="minMax"/>
          <c:max val="0.12000000000000002"/>
          <c:min val="4.0000000000000008E-2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00%" sourceLinked="1"/>
        <c:majorTickMark val="out"/>
        <c:minorTickMark val="none"/>
        <c:tickLblPos val="none"/>
        <c:spPr>
          <a:ln>
            <a:noFill/>
          </a:ln>
        </c:spPr>
        <c:crossAx val="1356785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8">
          <a:latin typeface="+mj-lt"/>
        </a:defRPr>
      </a:pPr>
      <a:endParaRPr lang="en-US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816997345122616E-2"/>
          <c:y val="2.5653715243760852E-2"/>
          <c:w val="0.90573365411506002"/>
          <c:h val="0.811551999272808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r>
                      <a:rPr lang="en-US" dirty="0" smtClean="0"/>
                      <a:t>7.9</a:t>
                    </a:r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6.232957523621436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8</c:f>
              <c:strCach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1er Trim 2013</c:v>
                </c:pt>
              </c:strCache>
            </c:strRef>
          </c:cat>
          <c:val>
            <c:numRef>
              <c:f>Hoja1!$B$2:$B$8</c:f>
              <c:numCache>
                <c:formatCode>#,#00%</c:formatCode>
                <c:ptCount val="7"/>
                <c:pt idx="0">
                  <c:v>5.5E-2</c:v>
                </c:pt>
                <c:pt idx="1">
                  <c:v>5.7000000000000002E-2</c:v>
                </c:pt>
                <c:pt idx="2">
                  <c:v>6.4000000000000001E-2</c:v>
                </c:pt>
                <c:pt idx="3">
                  <c:v>0.06</c:v>
                </c:pt>
                <c:pt idx="4">
                  <c:v>0.06</c:v>
                </c:pt>
                <c:pt idx="5" formatCode="0.00%">
                  <c:v>7.9000000000000001E-2</c:v>
                </c:pt>
                <c:pt idx="6" formatCode="0.00%">
                  <c:v>8.4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6192000"/>
        <c:axId val="136193536"/>
      </c:barChart>
      <c:catAx>
        <c:axId val="136192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36193536"/>
        <c:crosses val="autoZero"/>
        <c:auto val="1"/>
        <c:lblAlgn val="ctr"/>
        <c:lblOffset val="100"/>
        <c:noMultiLvlLbl val="0"/>
      </c:catAx>
      <c:valAx>
        <c:axId val="136193536"/>
        <c:scaling>
          <c:orientation val="minMax"/>
          <c:max val="9.0000000000000024E-2"/>
          <c:min val="0"/>
        </c:scaling>
        <c:delete val="1"/>
        <c:axPos val="l"/>
        <c:numFmt formatCode="#,#00%" sourceLinked="1"/>
        <c:majorTickMark val="out"/>
        <c:minorTickMark val="none"/>
        <c:tickLblPos val="nextTo"/>
        <c:crossAx val="136192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9">
          <a:latin typeface="+mj-lt"/>
        </a:defRPr>
      </a:pPr>
      <a:endParaRPr lang="en-US"/>
    </a:p>
  </c:txPr>
  <c:externalData r:id="rId2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PY" baseline="0" noProof="0" dirty="0" smtClean="0"/>
              <a:t>RESIDENCIAL</a:t>
            </a:r>
            <a:r>
              <a:rPr lang="es-PY" noProof="0" dirty="0" smtClean="0"/>
              <a:t>:  </a:t>
            </a:r>
          </a:p>
          <a:p>
            <a:pPr>
              <a:defRPr/>
            </a:pPr>
            <a:r>
              <a:rPr lang="es-PY" noProof="0" dirty="0" smtClean="0"/>
              <a:t>200 KWh/mes</a:t>
            </a:r>
            <a:endParaRPr lang="es-PY" noProof="0" dirty="0"/>
          </a:p>
        </c:rich>
      </c:tx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'[Comparativo deTarifas Eléctricas de Disribución 2010 y 2012_graficos.xlsx]2012'!$N$79</c:f>
              <c:strCache>
                <c:ptCount val="1"/>
                <c:pt idx="0">
                  <c:v>Sin
imp.</c:v>
                </c:pt>
              </c:strCache>
            </c:strRef>
          </c:tx>
          <c:spPr>
            <a:solidFill>
              <a:srgbClr val="2563C1"/>
            </a:solidFill>
          </c:spPr>
          <c:invertIfNegative val="0"/>
          <c:dPt>
            <c:idx val="9"/>
            <c:invertIfNegative val="0"/>
            <c:bubble3D val="0"/>
            <c:spPr>
              <a:solidFill>
                <a:srgbClr val="CE1126"/>
              </a:solidFill>
            </c:spPr>
          </c:dPt>
          <c:dLbls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Comparativo deTarifas Eléctricas de Disribución 2010 y 2012_graficos.xlsx]2012'!$M$80:$M$89</c:f>
              <c:strCache>
                <c:ptCount val="10"/>
                <c:pt idx="0">
                  <c:v>URUGUAY</c:v>
                </c:pt>
                <c:pt idx="1">
                  <c:v>GUATEMALA</c:v>
                </c:pt>
                <c:pt idx="2">
                  <c:v>EL SALVADOR</c:v>
                </c:pt>
                <c:pt idx="3">
                  <c:v>COLOMBIA</c:v>
                </c:pt>
                <c:pt idx="4">
                  <c:v>BRASIL</c:v>
                </c:pt>
                <c:pt idx="5">
                  <c:v>CHILE</c:v>
                </c:pt>
                <c:pt idx="6">
                  <c:v>PERU</c:v>
                </c:pt>
                <c:pt idx="7">
                  <c:v>MÉXICO</c:v>
                </c:pt>
                <c:pt idx="8">
                  <c:v>COSTA RICA</c:v>
                </c:pt>
                <c:pt idx="9">
                  <c:v>PARAGUAY</c:v>
                </c:pt>
              </c:strCache>
            </c:strRef>
          </c:cat>
          <c:val>
            <c:numRef>
              <c:f>'[Comparativo deTarifas Eléctricas de Disribución 2010 y 2012_graficos.xlsx]2012'!$N$80:$N$89</c:f>
              <c:numCache>
                <c:formatCode>0</c:formatCode>
                <c:ptCount val="10"/>
                <c:pt idx="0">
                  <c:v>213</c:v>
                </c:pt>
                <c:pt idx="1">
                  <c:v>205</c:v>
                </c:pt>
                <c:pt idx="2">
                  <c:v>187</c:v>
                </c:pt>
                <c:pt idx="3">
                  <c:v>186</c:v>
                </c:pt>
                <c:pt idx="4">
                  <c:v>163</c:v>
                </c:pt>
                <c:pt idx="5">
                  <c:v>147</c:v>
                </c:pt>
                <c:pt idx="6">
                  <c:v>129</c:v>
                </c:pt>
                <c:pt idx="7">
                  <c:v>112</c:v>
                </c:pt>
                <c:pt idx="8">
                  <c:v>111</c:v>
                </c:pt>
                <c:pt idx="9">
                  <c:v>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6491008"/>
        <c:axId val="136492544"/>
        <c:axId val="0"/>
      </c:bar3DChart>
      <c:catAx>
        <c:axId val="136491008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136492544"/>
        <c:crosses val="autoZero"/>
        <c:auto val="1"/>
        <c:lblAlgn val="ctr"/>
        <c:lblOffset val="100"/>
        <c:noMultiLvlLbl val="0"/>
      </c:catAx>
      <c:valAx>
        <c:axId val="13649254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crossAx val="13649100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5"/>
            <c:invertIfNegative val="0"/>
            <c:bubble3D val="0"/>
          </c:dPt>
          <c:dPt>
            <c:idx val="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</c:dPt>
          <c:dLbls>
            <c:numFmt formatCode="_(* #,##0.0%_);_(* \(#,##0.0%\);_(* &quot;-&quot;_);_(@_)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1:$G$1</c:f>
              <c:strCach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E</c:v>
                </c:pt>
              </c:strCache>
            </c:strRef>
          </c:cat>
          <c:val>
            <c:numRef>
              <c:f>Hoja1!$A$2:$G$2</c:f>
              <c:numCache>
                <c:formatCode>0.0%</c:formatCode>
                <c:ptCount val="7"/>
                <c:pt idx="0">
                  <c:v>5.3999999999999999E-2</c:v>
                </c:pt>
                <c:pt idx="1">
                  <c:v>6.4000000000000001E-2</c:v>
                </c:pt>
                <c:pt idx="2">
                  <c:v>-0.04</c:v>
                </c:pt>
                <c:pt idx="3">
                  <c:v>0.13100000000000001</c:v>
                </c:pt>
                <c:pt idx="4">
                  <c:v>4.2999999999999997E-2</c:v>
                </c:pt>
                <c:pt idx="5">
                  <c:v>-1.2E-2</c:v>
                </c:pt>
                <c:pt idx="6">
                  <c:v>0.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-60"/>
        <c:axId val="132010752"/>
        <c:axId val="132012288"/>
      </c:barChart>
      <c:catAx>
        <c:axId val="13201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32012288"/>
        <c:crosses val="autoZero"/>
        <c:auto val="1"/>
        <c:lblAlgn val="ctr"/>
        <c:lblOffset val="100"/>
        <c:noMultiLvlLbl val="0"/>
      </c:catAx>
      <c:valAx>
        <c:axId val="13201228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132010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+mj-lt"/>
          <a:cs typeface="Times New Roman" pitchFamily="18" charset="0"/>
        </a:defRPr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PY" baseline="0" noProof="0" dirty="0" smtClean="0"/>
              <a:t>INDUSTRIAL</a:t>
            </a:r>
            <a:r>
              <a:rPr lang="es-PY" noProof="0" dirty="0" smtClean="0"/>
              <a:t>:</a:t>
            </a:r>
          </a:p>
          <a:p>
            <a:pPr>
              <a:defRPr/>
            </a:pPr>
            <a:r>
              <a:rPr lang="es-PY" noProof="0" dirty="0" smtClean="0"/>
              <a:t>50 MWh/mes</a:t>
            </a:r>
            <a:endParaRPr lang="es-PY" noProof="0" dirty="0"/>
          </a:p>
        </c:rich>
      </c:tx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'[Comparativo deTarifas Eléctricas de Disribución 2010 y 2012_graficos.xlsx]2012'!$T$79</c:f>
              <c:strCache>
                <c:ptCount val="1"/>
                <c:pt idx="0">
                  <c:v>Sin
imp.</c:v>
                </c:pt>
              </c:strCache>
            </c:strRef>
          </c:tx>
          <c:spPr>
            <a:solidFill>
              <a:srgbClr val="2563C1"/>
            </a:solidFill>
          </c:spPr>
          <c:invertIfNegative val="0"/>
          <c:dPt>
            <c:idx val="9"/>
            <c:invertIfNegative val="0"/>
            <c:bubble3D val="0"/>
            <c:spPr>
              <a:solidFill>
                <a:srgbClr val="CE1126"/>
              </a:solidFill>
            </c:spPr>
          </c:dPt>
          <c:dLbls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Comparativo deTarifas Eléctricas de Disribución 2010 y 2012_graficos.xlsx]2012'!$S$80:$S$89</c:f>
              <c:strCache>
                <c:ptCount val="10"/>
                <c:pt idx="0">
                  <c:v>GUATEMALA</c:v>
                </c:pt>
                <c:pt idx="1">
                  <c:v>COSTA RICA</c:v>
                </c:pt>
                <c:pt idx="2">
                  <c:v>EL SALVADOR</c:v>
                </c:pt>
                <c:pt idx="3">
                  <c:v>BRASIL</c:v>
                </c:pt>
                <c:pt idx="4">
                  <c:v>COLOMBIA</c:v>
                </c:pt>
                <c:pt idx="5">
                  <c:v>URUGUAY</c:v>
                </c:pt>
                <c:pt idx="6">
                  <c:v>MÉXICO</c:v>
                </c:pt>
                <c:pt idx="7">
                  <c:v>CHILE</c:v>
                </c:pt>
                <c:pt idx="8">
                  <c:v>PERU</c:v>
                </c:pt>
                <c:pt idx="9">
                  <c:v>PARAGUAY</c:v>
                </c:pt>
              </c:strCache>
            </c:strRef>
          </c:cat>
          <c:val>
            <c:numRef>
              <c:f>'[Comparativo deTarifas Eléctricas de Disribución 2010 y 2012_graficos.xlsx]2012'!$T$80:$T$89</c:f>
              <c:numCache>
                <c:formatCode>0</c:formatCode>
                <c:ptCount val="10"/>
                <c:pt idx="0">
                  <c:v>213</c:v>
                </c:pt>
                <c:pt idx="1">
                  <c:v>204</c:v>
                </c:pt>
                <c:pt idx="2">
                  <c:v>192</c:v>
                </c:pt>
                <c:pt idx="3">
                  <c:v>183</c:v>
                </c:pt>
                <c:pt idx="4">
                  <c:v>156</c:v>
                </c:pt>
                <c:pt idx="5">
                  <c:v>139</c:v>
                </c:pt>
                <c:pt idx="6">
                  <c:v>135</c:v>
                </c:pt>
                <c:pt idx="7">
                  <c:v>105</c:v>
                </c:pt>
                <c:pt idx="8">
                  <c:v>72</c:v>
                </c:pt>
                <c:pt idx="9">
                  <c:v>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6505984"/>
        <c:axId val="137384320"/>
        <c:axId val="0"/>
      </c:bar3DChart>
      <c:catAx>
        <c:axId val="136505984"/>
        <c:scaling>
          <c:orientation val="minMax"/>
        </c:scaling>
        <c:delete val="0"/>
        <c:axPos val="l"/>
        <c:majorTickMark val="out"/>
        <c:minorTickMark val="none"/>
        <c:tickLblPos val="nextTo"/>
        <c:crossAx val="137384320"/>
        <c:crosses val="autoZero"/>
        <c:auto val="1"/>
        <c:lblAlgn val="ctr"/>
        <c:lblOffset val="100"/>
        <c:noMultiLvlLbl val="0"/>
      </c:catAx>
      <c:valAx>
        <c:axId val="13738432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crossAx val="13650598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1:$A$8</c:f>
              <c:strCache>
                <c:ptCount val="8"/>
                <c:pt idx="0">
                  <c:v>PAR</c:v>
                </c:pt>
                <c:pt idx="1">
                  <c:v>BOL</c:v>
                </c:pt>
                <c:pt idx="2">
                  <c:v>PER</c:v>
                </c:pt>
                <c:pt idx="3">
                  <c:v>COL</c:v>
                </c:pt>
                <c:pt idx="4">
                  <c:v>BRA</c:v>
                </c:pt>
                <c:pt idx="5">
                  <c:v>CHI</c:v>
                </c:pt>
                <c:pt idx="6">
                  <c:v>ARG</c:v>
                </c:pt>
                <c:pt idx="7">
                  <c:v>URU</c:v>
                </c:pt>
              </c:strCache>
            </c:strRef>
          </c:cat>
          <c:val>
            <c:numRef>
              <c:f>Hoja1!$B$1:$B$8</c:f>
              <c:numCache>
                <c:formatCode>0.0%</c:formatCode>
                <c:ptCount val="8"/>
                <c:pt idx="0">
                  <c:v>0.753</c:v>
                </c:pt>
                <c:pt idx="1">
                  <c:v>0.73</c:v>
                </c:pt>
                <c:pt idx="2">
                  <c:v>0.72199999999999998</c:v>
                </c:pt>
                <c:pt idx="3">
                  <c:v>0.69799999999999995</c:v>
                </c:pt>
                <c:pt idx="4">
                  <c:v>0.67100000000000004</c:v>
                </c:pt>
                <c:pt idx="5">
                  <c:v>0.64100000000000001</c:v>
                </c:pt>
                <c:pt idx="6">
                  <c:v>0.61199999999999999</c:v>
                </c:pt>
                <c:pt idx="7">
                  <c:v>0.5859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135037696"/>
        <c:axId val="135039232"/>
      </c:barChart>
      <c:catAx>
        <c:axId val="135037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35039232"/>
        <c:crosses val="autoZero"/>
        <c:auto val="1"/>
        <c:lblAlgn val="ctr"/>
        <c:lblOffset val="100"/>
        <c:noMultiLvlLbl val="0"/>
      </c:catAx>
      <c:valAx>
        <c:axId val="13503923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350376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+mj-lt"/>
        </a:defRPr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</c:spPr>
          </c:dPt>
          <c:dLbls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8</c:f>
              <c:strCache>
                <c:ptCount val="7"/>
                <c:pt idx="0">
                  <c:v>Argentina</c:v>
                </c:pt>
                <c:pt idx="1">
                  <c:v>Brasil</c:v>
                </c:pt>
                <c:pt idx="2">
                  <c:v>Bolivia</c:v>
                </c:pt>
                <c:pt idx="3">
                  <c:v>Chile</c:v>
                </c:pt>
                <c:pt idx="4">
                  <c:v>Colombia</c:v>
                </c:pt>
                <c:pt idx="5">
                  <c:v>Perú</c:v>
                </c:pt>
                <c:pt idx="6">
                  <c:v>Paraguay</c:v>
                </c:pt>
              </c:strCache>
            </c:strRef>
          </c:cat>
          <c:val>
            <c:numRef>
              <c:f>Hoja1!$B$2:$B$8</c:f>
              <c:numCache>
                <c:formatCode>0.0%</c:formatCode>
                <c:ptCount val="7"/>
                <c:pt idx="0">
                  <c:v>0.25900000000000001</c:v>
                </c:pt>
                <c:pt idx="1">
                  <c:v>0.255</c:v>
                </c:pt>
                <c:pt idx="2">
                  <c:v>0.245</c:v>
                </c:pt>
                <c:pt idx="3">
                  <c:v>0.19900000000000001</c:v>
                </c:pt>
                <c:pt idx="4">
                  <c:v>0.17699999999999999</c:v>
                </c:pt>
                <c:pt idx="5">
                  <c:v>0.156</c:v>
                </c:pt>
                <c:pt idx="6">
                  <c:v>0.135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7271936"/>
        <c:axId val="137273728"/>
      </c:barChart>
      <c:catAx>
        <c:axId val="137271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137273728"/>
        <c:crosses val="autoZero"/>
        <c:auto val="1"/>
        <c:lblAlgn val="ctr"/>
        <c:lblOffset val="100"/>
        <c:noMultiLvlLbl val="0"/>
      </c:catAx>
      <c:valAx>
        <c:axId val="137273728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37271936"/>
        <c:crosses val="autoZero"/>
        <c:crossBetween val="between"/>
      </c:valAx>
      <c:spPr>
        <a:noFill/>
        <a:ln w="25410">
          <a:noFill/>
        </a:ln>
      </c:spPr>
    </c:plotArea>
    <c:plotVisOnly val="1"/>
    <c:dispBlanksAs val="gap"/>
    <c:showDLblsOverMax val="0"/>
  </c:chart>
  <c:txPr>
    <a:bodyPr/>
    <a:lstStyle/>
    <a:p>
      <a:pPr>
        <a:defRPr sz="1801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  <c:spPr>
        <a:solidFill>
          <a:schemeClr val="tx1">
            <a:lumMod val="95000"/>
            <a:lumOff val="5000"/>
          </a:schemeClr>
        </a:solidFill>
      </c:spPr>
    </c:floor>
    <c:sideWall>
      <c:thickness val="0"/>
      <c:spPr>
        <a:noFill/>
      </c:spPr>
    </c:sideWall>
    <c:backWall>
      <c:thickness val="0"/>
      <c:spPr>
        <a:noFill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2563C1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3"/>
            <c:invertIfNegative val="0"/>
            <c:bubble3D val="0"/>
            <c:spPr>
              <a:solidFill>
                <a:srgbClr val="CE1126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2.7777777777779154E-3"/>
                  <c:y val="0.435185185185191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0.439814814814831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0.324074074074087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7777777777779154E-3"/>
                  <c:y val="0.2083333333333363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38:$B$41</c:f>
              <c:strCache>
                <c:ptCount val="4"/>
                <c:pt idx="0">
                  <c:v>Brasil</c:v>
                </c:pt>
                <c:pt idx="1">
                  <c:v>Argentina</c:v>
                </c:pt>
                <c:pt idx="2">
                  <c:v>Uruguay</c:v>
                </c:pt>
                <c:pt idx="3">
                  <c:v>Paraguay</c:v>
                </c:pt>
              </c:strCache>
            </c:strRef>
          </c:cat>
          <c:val>
            <c:numRef>
              <c:f>Hoja1!$C$38:$C$41</c:f>
              <c:numCache>
                <c:formatCode>0%</c:formatCode>
                <c:ptCount val="4"/>
                <c:pt idx="0">
                  <c:v>0.60000000000000164</c:v>
                </c:pt>
                <c:pt idx="1">
                  <c:v>0.60000000000000164</c:v>
                </c:pt>
                <c:pt idx="2">
                  <c:v>0.5</c:v>
                </c:pt>
                <c:pt idx="3">
                  <c:v>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6958336"/>
        <c:axId val="136959872"/>
        <c:axId val="0"/>
      </c:bar3DChart>
      <c:catAx>
        <c:axId val="136958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136959872"/>
        <c:crosses val="autoZero"/>
        <c:auto val="1"/>
        <c:lblAlgn val="ctr"/>
        <c:lblOffset val="100"/>
        <c:noMultiLvlLbl val="0"/>
      </c:catAx>
      <c:valAx>
        <c:axId val="13695987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i="1"/>
            </a:pPr>
            <a:endParaRPr lang="en-US"/>
          </a:p>
        </c:txPr>
        <c:crossAx val="13695833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rgentin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6.556166862190147E-3"/>
                  <c:y val="-0.1089018017472711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5727418328616246E-2"/>
                  <c:y val="-0.102495813409196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893168035331028E-2"/>
                  <c:y val="-1.92179650142243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5893168035331028E-2"/>
                  <c:y val="-8.9683836733046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E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6.8</c:v>
                </c:pt>
                <c:pt idx="1">
                  <c:v>0.9</c:v>
                </c:pt>
                <c:pt idx="2">
                  <c:v>9.1999999999999993</c:v>
                </c:pt>
                <c:pt idx="3">
                  <c:v>8.9</c:v>
                </c:pt>
                <c:pt idx="4">
                  <c:v>2.6</c:v>
                </c:pt>
                <c:pt idx="5">
                  <c:v>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rasil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5.9005501759711323E-2"/>
                  <c:y val="9.6089825071121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0097501985271759E-17"/>
                  <c:y val="6.40598833807477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893168035331028E-2"/>
                  <c:y val="8.9683836733046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2946584017665635E-2"/>
                  <c:y val="9.6089825071121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556166862190147E-3"/>
                  <c:y val="4.48419183665234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6224667448760709E-2"/>
                  <c:y val="5.7653895042672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E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5.2</c:v>
                </c:pt>
                <c:pt idx="1">
                  <c:v>-0.3</c:v>
                </c:pt>
                <c:pt idx="2">
                  <c:v>7.5</c:v>
                </c:pt>
                <c:pt idx="3">
                  <c:v>2.7</c:v>
                </c:pt>
                <c:pt idx="4">
                  <c:v>0.9</c:v>
                </c:pt>
                <c:pt idx="5">
                  <c:v>2.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araguay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4"/>
              <c:layout>
                <c:manualLayout>
                  <c:x val="-4.5893168035331028E-2"/>
                  <c:y val="5.7653895042672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E</c:v>
                </c:pt>
              </c:strCache>
            </c:strRef>
          </c:cat>
          <c:val>
            <c:numRef>
              <c:f>Hoja1!$D$2:$D$7</c:f>
              <c:numCache>
                <c:formatCode>0.0</c:formatCode>
                <c:ptCount val="6"/>
                <c:pt idx="0">
                  <c:v>6.4</c:v>
                </c:pt>
                <c:pt idx="1">
                  <c:v>-4</c:v>
                </c:pt>
                <c:pt idx="2">
                  <c:v>13.1</c:v>
                </c:pt>
                <c:pt idx="3">
                  <c:v>4.3</c:v>
                </c:pt>
                <c:pt idx="4">
                  <c:v>-1.2</c:v>
                </c:pt>
                <c:pt idx="5">
                  <c:v>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793280"/>
        <c:axId val="131794816"/>
      </c:lineChart>
      <c:catAx>
        <c:axId val="131793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en-US"/>
          </a:p>
        </c:txPr>
        <c:crossAx val="131794816"/>
        <c:crosses val="autoZero"/>
        <c:auto val="1"/>
        <c:lblAlgn val="ctr"/>
        <c:lblOffset val="100"/>
        <c:noMultiLvlLbl val="0"/>
      </c:catAx>
      <c:valAx>
        <c:axId val="131794816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131793280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768861734167274E-2"/>
          <c:y val="6.9620253164556958E-2"/>
          <c:w val="0.93046227653166547"/>
          <c:h val="0.76901665657177543"/>
        </c:manualLayout>
      </c:layout>
      <c:barChart>
        <c:barDir val="col"/>
        <c:grouping val="stacked"/>
        <c:varyColors val="0"/>
        <c:ser>
          <c:idx val="1"/>
          <c:order val="0"/>
          <c:tx>
            <c:v>Tax Revenues</c:v>
          </c:tx>
          <c:spPr>
            <a:solidFill>
              <a:schemeClr val="accent1"/>
            </a:solidFill>
          </c:spPr>
          <c:invertIfNegative val="0"/>
          <c:dLbls>
            <c:txPr>
              <a:bodyPr/>
              <a:lstStyle/>
              <a:p>
                <a:pPr>
                  <a:defRPr lang="es-ES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1:$F$1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A$3:$F$3</c:f>
              <c:numCache>
                <c:formatCode>0.0%</c:formatCode>
                <c:ptCount val="6"/>
                <c:pt idx="0">
                  <c:v>0.10109533157312929</c:v>
                </c:pt>
                <c:pt idx="1">
                  <c:v>0.10721525306485578</c:v>
                </c:pt>
                <c:pt idx="2">
                  <c:v>0.11636953115772861</c:v>
                </c:pt>
                <c:pt idx="3">
                  <c:v>0.12014213388335192</c:v>
                </c:pt>
                <c:pt idx="4">
                  <c:v>0.12142868063315507</c:v>
                </c:pt>
                <c:pt idx="5">
                  <c:v>0.12339502548536245</c:v>
                </c:pt>
              </c:numCache>
            </c:numRef>
          </c:val>
        </c:ser>
        <c:ser>
          <c:idx val="0"/>
          <c:order val="1"/>
          <c:tx>
            <c:v>Non-Tax Revenues</c:v>
          </c:tx>
          <c:spPr>
            <a:solidFill>
              <a:schemeClr val="accent2"/>
            </a:solidFill>
          </c:spPr>
          <c:invertIfNegative val="0"/>
          <c:dLbls>
            <c:txPr>
              <a:bodyPr/>
              <a:lstStyle/>
              <a:p>
                <a:pPr>
                  <a:defRPr lang="es-ES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1:$F$1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A$2:$F$2</c:f>
              <c:numCache>
                <c:formatCode>0.0%</c:formatCode>
                <c:ptCount val="6"/>
                <c:pt idx="0">
                  <c:v>5.4643975898419093E-2</c:v>
                </c:pt>
                <c:pt idx="1">
                  <c:v>5.0326901821408608E-2</c:v>
                </c:pt>
                <c:pt idx="2">
                  <c:v>5.5891306401867388E-2</c:v>
                </c:pt>
                <c:pt idx="3">
                  <c:v>4.7585141841912704E-2</c:v>
                </c:pt>
                <c:pt idx="4">
                  <c:v>4.7015832856678846E-2</c:v>
                </c:pt>
                <c:pt idx="5">
                  <c:v>5.59504272981515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32358912"/>
        <c:axId val="132360448"/>
      </c:barChart>
      <c:catAx>
        <c:axId val="1323589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32360448"/>
        <c:crosses val="autoZero"/>
        <c:auto val="1"/>
        <c:lblAlgn val="ctr"/>
        <c:lblOffset val="100"/>
        <c:noMultiLvlLbl val="0"/>
      </c:catAx>
      <c:valAx>
        <c:axId val="132360448"/>
        <c:scaling>
          <c:orientation val="minMax"/>
          <c:max val="0.18000000000000013"/>
          <c:min val="0"/>
        </c:scaling>
        <c:delete val="1"/>
        <c:axPos val="l"/>
        <c:numFmt formatCode="0.0%" sourceLinked="1"/>
        <c:majorTickMark val="out"/>
        <c:minorTickMark val="none"/>
        <c:tickLblPos val="none"/>
        <c:crossAx val="1323589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6434322565937021"/>
          <c:y val="0.91404875832828636"/>
          <c:w val="0.58281074265741128"/>
          <c:h val="6.1344336765596613E-2"/>
        </c:manualLayout>
      </c:layout>
      <c:overlay val="0"/>
      <c:txPr>
        <a:bodyPr/>
        <a:lstStyle/>
        <a:p>
          <a:pPr>
            <a:defRPr lang="es-ES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Current Expenditures</c:v>
          </c:tx>
          <c:spPr>
            <a:solidFill>
              <a:srgbClr val="9F2936"/>
            </a:solidFill>
          </c:spPr>
          <c:invertIfNegative val="0"/>
          <c:dLbls>
            <c:numFmt formatCode="0.0%" sourceLinked="0"/>
            <c:txPr>
              <a:bodyPr/>
              <a:lstStyle/>
              <a:p>
                <a:pPr>
                  <a:defRPr lang="es-ES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1:$F$1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A$2:$F$2</c:f>
              <c:numCache>
                <c:formatCode>0.0%</c:formatCode>
                <c:ptCount val="6"/>
                <c:pt idx="0">
                  <c:v>0.11471357875560259</c:v>
                </c:pt>
                <c:pt idx="1">
                  <c:v>0.11100159027062684</c:v>
                </c:pt>
                <c:pt idx="2">
                  <c:v>0.13405619761550339</c:v>
                </c:pt>
                <c:pt idx="3">
                  <c:v>0.12502560823048223</c:v>
                </c:pt>
                <c:pt idx="4">
                  <c:v>0.12843761119997038</c:v>
                </c:pt>
                <c:pt idx="5">
                  <c:v>0.15474917271579225</c:v>
                </c:pt>
              </c:numCache>
            </c:numRef>
          </c:val>
        </c:ser>
        <c:ser>
          <c:idx val="1"/>
          <c:order val="1"/>
          <c:tx>
            <c:v>Capital Expenditures</c:v>
          </c:tx>
          <c:spPr>
            <a:solidFill>
              <a:srgbClr val="F07F09"/>
            </a:solidFill>
          </c:spPr>
          <c:invertIfNegative val="0"/>
          <c:dLbls>
            <c:dLbl>
              <c:idx val="1"/>
              <c:layout>
                <c:manualLayout>
                  <c:x val="6.3216112243940524E-3"/>
                  <c:y val="-8.764385221078134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txPr>
              <a:bodyPr/>
              <a:lstStyle/>
              <a:p>
                <a:pPr>
                  <a:defRPr lang="es-ES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1:$F$1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Hoja1!$A$3:$F$3</c:f>
              <c:numCache>
                <c:formatCode>0.0%</c:formatCode>
                <c:ptCount val="6"/>
                <c:pt idx="0">
                  <c:v>3.3283572034354482E-2</c:v>
                </c:pt>
                <c:pt idx="1">
                  <c:v>2.4630446247014277E-2</c:v>
                </c:pt>
                <c:pt idx="2">
                  <c:v>4.1158158118185913E-2</c:v>
                </c:pt>
                <c:pt idx="3">
                  <c:v>3.3990702225833759E-2</c:v>
                </c:pt>
                <c:pt idx="4">
                  <c:v>3.8978673017326333E-2</c:v>
                </c:pt>
                <c:pt idx="5">
                  <c:v>4.65489354368707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32382080"/>
        <c:axId val="120878208"/>
      </c:barChart>
      <c:catAx>
        <c:axId val="1323820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20878208"/>
        <c:crosses val="autoZero"/>
        <c:auto val="1"/>
        <c:lblAlgn val="ctr"/>
        <c:lblOffset val="100"/>
        <c:noMultiLvlLbl val="0"/>
      </c:catAx>
      <c:valAx>
        <c:axId val="120878208"/>
        <c:scaling>
          <c:orientation val="minMax"/>
          <c:max val="0.2"/>
          <c:min val="2.0000000000000011E-2"/>
        </c:scaling>
        <c:delete val="1"/>
        <c:axPos val="l"/>
        <c:numFmt formatCode="0.0%" sourceLinked="1"/>
        <c:majorTickMark val="out"/>
        <c:minorTickMark val="none"/>
        <c:tickLblPos val="none"/>
        <c:crossAx val="13238208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lang="es-ES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07F0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CE1126"/>
              </a:solidFill>
            </c:spPr>
          </c:dPt>
          <c:dLbls>
            <c:numFmt formatCode="* #,##0.0%_);_(* \(#,##0.0%\);_(* &quot;-&quot;_);_(@_)" sourceLinked="0"/>
            <c:txPr>
              <a:bodyPr/>
              <a:lstStyle/>
              <a:p>
                <a:pPr>
                  <a:defRPr lang="es-E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1:$A$7</c:f>
              <c:strCache>
                <c:ptCount val="7"/>
                <c:pt idx="0">
                  <c:v>PAR</c:v>
                </c:pt>
                <c:pt idx="1">
                  <c:v>PER</c:v>
                </c:pt>
                <c:pt idx="2">
                  <c:v>CHI</c:v>
                </c:pt>
                <c:pt idx="3">
                  <c:v>BOL</c:v>
                </c:pt>
                <c:pt idx="4">
                  <c:v>URU</c:v>
                </c:pt>
                <c:pt idx="5">
                  <c:v>COL</c:v>
                </c:pt>
                <c:pt idx="6">
                  <c:v>BRZ</c:v>
                </c:pt>
              </c:strCache>
            </c:strRef>
          </c:cat>
          <c:val>
            <c:numRef>
              <c:f>Hoja1!$B$1:$B$7</c:f>
              <c:numCache>
                <c:formatCode>0.0%</c:formatCode>
                <c:ptCount val="7"/>
                <c:pt idx="0">
                  <c:v>-0.108</c:v>
                </c:pt>
                <c:pt idx="1">
                  <c:v>4.4999999999999998E-2</c:v>
                </c:pt>
                <c:pt idx="2">
                  <c:v>-7.8E-2</c:v>
                </c:pt>
                <c:pt idx="3">
                  <c:v>0.109</c:v>
                </c:pt>
                <c:pt idx="4">
                  <c:v>0.36299999999999999</c:v>
                </c:pt>
                <c:pt idx="5">
                  <c:v>0.246</c:v>
                </c:pt>
                <c:pt idx="6">
                  <c:v>0.351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22038144"/>
        <c:axId val="122039680"/>
      </c:barChart>
      <c:lineChart>
        <c:grouping val="standard"/>
        <c:varyColors val="0"/>
        <c:ser>
          <c:idx val="1"/>
          <c:order val="1"/>
          <c:spPr>
            <a:ln w="19022">
              <a:solidFill>
                <a:srgbClr val="006600"/>
              </a:solidFill>
              <a:prstDash val="dash"/>
            </a:ln>
          </c:spPr>
          <c:marker>
            <c:symbol val="none"/>
          </c:marker>
          <c:val>
            <c:numRef>
              <c:f>Hoja1!$C$1:$C$7</c:f>
              <c:numCache>
                <c:formatCode>0.0%</c:formatCode>
                <c:ptCount val="7"/>
                <c:pt idx="0">
                  <c:v>0.1327142857142857</c:v>
                </c:pt>
                <c:pt idx="1">
                  <c:v>0.1327142857142857</c:v>
                </c:pt>
                <c:pt idx="2">
                  <c:v>0.1327142857142857</c:v>
                </c:pt>
                <c:pt idx="3">
                  <c:v>0.1327142857142857</c:v>
                </c:pt>
                <c:pt idx="4">
                  <c:v>0.1327142857142857</c:v>
                </c:pt>
                <c:pt idx="5">
                  <c:v>0.1327142857142857</c:v>
                </c:pt>
                <c:pt idx="6">
                  <c:v>0.132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038144"/>
        <c:axId val="122039680"/>
      </c:lineChart>
      <c:catAx>
        <c:axId val="12203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22039680"/>
        <c:crosses val="autoZero"/>
        <c:auto val="1"/>
        <c:lblAlgn val="ctr"/>
        <c:lblOffset val="100"/>
        <c:noMultiLvlLbl val="0"/>
      </c:catAx>
      <c:valAx>
        <c:axId val="122039680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1220381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99">
          <a:effectLst/>
          <a:latin typeface="+mj-lt"/>
        </a:defRPr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574074478647042E-2"/>
          <c:y val="4.4602064657349574E-2"/>
          <c:w val="0.90751461924424148"/>
          <c:h val="0.866274900690964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5"/>
            <c:invertIfNegative val="0"/>
            <c:bubble3D val="0"/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dLbl>
              <c:idx val="6"/>
              <c:layout/>
              <c:tx>
                <c:rich>
                  <a:bodyPr/>
                  <a:lstStyle/>
                  <a:p>
                    <a:pPr>
                      <a:defRPr lang="es-ES" sz="900" b="0" i="0" u="none" strike="noStrike" baseline="0">
                        <a:solidFill>
                          <a:srgbClr val="000000"/>
                        </a:solidFill>
                        <a:latin typeface="Cambria"/>
                        <a:ea typeface="Cambria"/>
                        <a:cs typeface="Cambria"/>
                      </a:defRPr>
                    </a:pPr>
                    <a:r>
                      <a:rPr lang="es-PY"/>
                      <a:t>(2.9%)</a:t>
                    </a:r>
                  </a:p>
                </c:rich>
              </c:tx>
              <c:numFmt formatCode="_(* #,##0.0%_);_(* \(#,##0.0%\);_(* &quot;-&quot;_);_(@_)" sourceLinked="0"/>
              <c:spPr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7"/>
              <c:tx>
                <c:rich>
                  <a:bodyPr/>
                  <a:lstStyle/>
                  <a:p>
                    <a:pPr>
                      <a:defRPr lang="es-ES" sz="900" b="0" i="0" u="none" strike="noStrike" baseline="0">
                        <a:solidFill>
                          <a:srgbClr val="000000"/>
                        </a:solidFill>
                        <a:latin typeface="Cambria"/>
                        <a:ea typeface="Cambria"/>
                        <a:cs typeface="Cambria"/>
                      </a:defRPr>
                    </a:pPr>
                    <a:r>
                      <a:t>(6.2%)</a:t>
                    </a:r>
                  </a:p>
                </c:rich>
              </c:tx>
              <c:numFmt formatCode="_(* #,##0.0%_);_(* \(#,##0.0%\);_(* &quot;-&quot;_);_(@_)" sourceLinked="0"/>
              <c:spPr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8"/>
              <c:tx>
                <c:rich>
                  <a:bodyPr/>
                  <a:lstStyle/>
                  <a:p>
                    <a:pPr>
                      <a:defRPr lang="es-ES" sz="900" b="0" i="0" u="none" strike="noStrike" baseline="0">
                        <a:solidFill>
                          <a:srgbClr val="000000"/>
                        </a:solidFill>
                        <a:latin typeface="Cambria"/>
                        <a:ea typeface="Cambria"/>
                        <a:cs typeface="Cambria"/>
                      </a:defRPr>
                    </a:pPr>
                    <a:r>
                      <a:t>(9.9%)</a:t>
                    </a:r>
                  </a:p>
                </c:rich>
              </c:tx>
              <c:numFmt formatCode="_(* #,##0.0%_);_(* \(#,##0.0%\);_(* &quot;-&quot;_);_(@_)" sourceLinked="0"/>
              <c:spPr/>
              <c:showLegendKey val="0"/>
              <c:showVal val="0"/>
              <c:showCatName val="0"/>
              <c:showSerName val="0"/>
              <c:showPercent val="0"/>
              <c:showBubbleSize val="0"/>
            </c:dLbl>
            <c:numFmt formatCode="_(* #,##0.0%_);_(* \(#,##0.0%\);_(* &quot;-&quot;_);_(@_)" sourceLinked="0"/>
            <c:txPr>
              <a:bodyPr/>
              <a:lstStyle/>
              <a:p>
                <a:pPr algn="ctr">
                  <a:defRPr lang="en-US" sz="900" b="0" i="0" u="none" strike="noStrike" kern="1200" baseline="0">
                    <a:solidFill>
                      <a:srgbClr val="000000"/>
                    </a:solidFill>
                    <a:latin typeface="+mj-lt"/>
                    <a:ea typeface="+mn-ea"/>
                    <a:cs typeface="Times New Roman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1:$G$1</c:f>
              <c:strCach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E</c:v>
                </c:pt>
              </c:strCache>
            </c:strRef>
          </c:cat>
          <c:val>
            <c:numRef>
              <c:f>Hoja1!$A$2:$G$2</c:f>
              <c:numCache>
                <c:formatCode>_(* #,##0.00%_);_(* \(#,##0.00%\);_(* "-"_);_(@_)</c:formatCode>
                <c:ptCount val="7"/>
                <c:pt idx="0">
                  <c:v>-1.9194181412072284E-2</c:v>
                </c:pt>
                <c:pt idx="1">
                  <c:v>-3.4153389082954559E-2</c:v>
                </c:pt>
                <c:pt idx="2">
                  <c:v>-0.10181525246688126</c:v>
                </c:pt>
                <c:pt idx="3">
                  <c:v>-9.1869657379227559E-2</c:v>
                </c:pt>
                <c:pt idx="4">
                  <c:v>-0.1035837074154309</c:v>
                </c:pt>
                <c:pt idx="5">
                  <c:v>-0.1076383612128915</c:v>
                </c:pt>
                <c:pt idx="6">
                  <c:v>-9.519842342518088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2387584"/>
        <c:axId val="132389120"/>
      </c:barChart>
      <c:catAx>
        <c:axId val="1323875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lang="es-ES"/>
            </a:pPr>
            <a:endParaRPr lang="en-US"/>
          </a:p>
        </c:txPr>
        <c:crossAx val="132389120"/>
        <c:crosses val="autoZero"/>
        <c:auto val="1"/>
        <c:lblAlgn val="ctr"/>
        <c:lblOffset val="100"/>
        <c:noMultiLvlLbl val="0"/>
      </c:catAx>
      <c:valAx>
        <c:axId val="132389120"/>
        <c:scaling>
          <c:orientation val="minMax"/>
          <c:max val="1.500000000000001E-2"/>
        </c:scaling>
        <c:delete val="1"/>
        <c:axPos val="l"/>
        <c:numFmt formatCode="_(* #,##0.00%_);_(* \(#,##0.00%\);_(* &quot;-&quot;_);_(@_)" sourceLinked="1"/>
        <c:majorTickMark val="out"/>
        <c:minorTickMark val="none"/>
        <c:tickLblPos val="none"/>
        <c:crossAx val="1323875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image" Target="../media/image5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F68D48-F82F-430B-9048-9CE750B74D4D}" type="doc">
      <dgm:prSet loTypeId="urn:microsoft.com/office/officeart/2005/8/layout/hList2#2" loCatId="list" qsTypeId="urn:microsoft.com/office/officeart/2005/8/quickstyle/simple1" qsCatId="simple" csTypeId="urn:microsoft.com/office/officeart/2005/8/colors/accent1_2" csCatId="accent1" phldr="1"/>
      <dgm:spPr/>
    </dgm:pt>
    <dgm:pt modelId="{ABFB66AA-9FA7-4C09-B2D4-AE3A91E68A94}">
      <dgm:prSet phldrT="[Texto]" custT="1"/>
      <dgm:spPr/>
      <dgm:t>
        <a:bodyPr/>
        <a:lstStyle/>
        <a:p>
          <a:r>
            <a:rPr lang="es-PY" sz="2000" dirty="0" smtClean="0"/>
            <a:t>Régimen de Maquia</a:t>
          </a:r>
          <a:endParaRPr lang="es-PY" sz="2000" dirty="0"/>
        </a:p>
      </dgm:t>
    </dgm:pt>
    <dgm:pt modelId="{8CCDC76E-F91A-4B67-8086-04347C7DAD8D}" type="parTrans" cxnId="{AF2081CB-EC2A-4408-9689-3790E1DC2F33}">
      <dgm:prSet/>
      <dgm:spPr/>
      <dgm:t>
        <a:bodyPr/>
        <a:lstStyle/>
        <a:p>
          <a:endParaRPr lang="es-PY" sz="2000"/>
        </a:p>
      </dgm:t>
    </dgm:pt>
    <dgm:pt modelId="{19B4ECBE-9749-45E6-8199-E31C442D61B8}" type="sibTrans" cxnId="{AF2081CB-EC2A-4408-9689-3790E1DC2F33}">
      <dgm:prSet/>
      <dgm:spPr/>
      <dgm:t>
        <a:bodyPr/>
        <a:lstStyle/>
        <a:p>
          <a:endParaRPr lang="es-PY" sz="2000"/>
        </a:p>
      </dgm:t>
    </dgm:pt>
    <dgm:pt modelId="{74F93A9B-47DA-4916-B37B-65C06BFF3BBF}">
      <dgm:prSet phldrT="[Texto]" custT="1"/>
      <dgm:spPr/>
      <dgm:t>
        <a:bodyPr/>
        <a:lstStyle/>
        <a:p>
          <a:r>
            <a:rPr lang="es-PY" sz="2000" dirty="0" smtClean="0"/>
            <a:t>Régimen de Zonas Francas</a:t>
          </a:r>
          <a:endParaRPr lang="es-PY" sz="2000" dirty="0"/>
        </a:p>
      </dgm:t>
    </dgm:pt>
    <dgm:pt modelId="{8F34C5AE-5F9B-4965-A6D6-3E5BE450D696}" type="parTrans" cxnId="{3D2837B3-3319-4EDD-BE73-FC439A07501E}">
      <dgm:prSet/>
      <dgm:spPr/>
      <dgm:t>
        <a:bodyPr/>
        <a:lstStyle/>
        <a:p>
          <a:endParaRPr lang="es-PY" sz="2000"/>
        </a:p>
      </dgm:t>
    </dgm:pt>
    <dgm:pt modelId="{CACB06BC-6F6A-46CC-9286-7F76926AF5AC}" type="sibTrans" cxnId="{3D2837B3-3319-4EDD-BE73-FC439A07501E}">
      <dgm:prSet/>
      <dgm:spPr/>
      <dgm:t>
        <a:bodyPr/>
        <a:lstStyle/>
        <a:p>
          <a:endParaRPr lang="es-PY" sz="2000"/>
        </a:p>
      </dgm:t>
    </dgm:pt>
    <dgm:pt modelId="{27CF41C1-8D8D-4145-8792-B59ADF2ABE26}">
      <dgm:prSet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PY" sz="2000" dirty="0" smtClean="0"/>
            <a:t>Régimen Automotor Nacional</a:t>
          </a:r>
        </a:p>
      </dgm:t>
    </dgm:pt>
    <dgm:pt modelId="{A7B5BE43-8B4C-4DC7-97D5-CDC9C7FDE17E}" type="parTrans" cxnId="{11CBB0DE-7613-4CF3-B10F-6FC64AC1624B}">
      <dgm:prSet/>
      <dgm:spPr/>
      <dgm:t>
        <a:bodyPr/>
        <a:lstStyle/>
        <a:p>
          <a:endParaRPr lang="es-PY" sz="2000"/>
        </a:p>
      </dgm:t>
    </dgm:pt>
    <dgm:pt modelId="{04492617-E307-4DC1-85BA-E1234C646EFC}" type="sibTrans" cxnId="{11CBB0DE-7613-4CF3-B10F-6FC64AC1624B}">
      <dgm:prSet/>
      <dgm:spPr/>
      <dgm:t>
        <a:bodyPr/>
        <a:lstStyle/>
        <a:p>
          <a:endParaRPr lang="es-PY" sz="2000"/>
        </a:p>
      </dgm:t>
    </dgm:pt>
    <dgm:pt modelId="{D8D3B5E3-17F0-4351-B2A6-D6C4469696D2}">
      <dgm:prSet custT="1"/>
      <dgm:spPr/>
      <dgm:t>
        <a:bodyPr/>
        <a:lstStyle/>
        <a:p>
          <a:r>
            <a:rPr lang="es-PY" sz="1400" dirty="0" smtClean="0"/>
            <a:t>ACTIVIDADES:</a:t>
          </a:r>
          <a:endParaRPr lang="es-PY" sz="1400" dirty="0"/>
        </a:p>
      </dgm:t>
    </dgm:pt>
    <dgm:pt modelId="{6BD0AF08-B4D9-4B0C-912C-43C7A6B66B03}" type="parTrans" cxnId="{305ED543-A40B-4271-B62B-F73404A00A9A}">
      <dgm:prSet/>
      <dgm:spPr/>
      <dgm:t>
        <a:bodyPr/>
        <a:lstStyle/>
        <a:p>
          <a:endParaRPr lang="es-PY" sz="2000"/>
        </a:p>
      </dgm:t>
    </dgm:pt>
    <dgm:pt modelId="{F0C26BCD-FBFE-45C7-91EA-37D6435579E3}" type="sibTrans" cxnId="{305ED543-A40B-4271-B62B-F73404A00A9A}">
      <dgm:prSet/>
      <dgm:spPr/>
      <dgm:t>
        <a:bodyPr/>
        <a:lstStyle/>
        <a:p>
          <a:endParaRPr lang="es-PY" sz="2000"/>
        </a:p>
      </dgm:t>
    </dgm:pt>
    <dgm:pt modelId="{2641951B-5A14-48A7-B4D7-2EB3E203542B}">
      <dgm:prSet custT="1"/>
      <dgm:spPr/>
      <dgm:t>
        <a:bodyPr/>
        <a:lstStyle/>
        <a:p>
          <a:r>
            <a:rPr lang="es-PY" altLang="ko-KR" sz="1400" b="1" noProof="0" dirty="0" smtClean="0"/>
            <a:t>ACTIVIDADES:</a:t>
          </a:r>
          <a:endParaRPr lang="es-PY" sz="1400" b="1" noProof="0" dirty="0"/>
        </a:p>
      </dgm:t>
    </dgm:pt>
    <dgm:pt modelId="{4A5038F8-9877-4334-885C-DE142D5A1F22}" type="parTrans" cxnId="{8964E199-62B4-4DD2-95CB-799E75F30170}">
      <dgm:prSet/>
      <dgm:spPr/>
      <dgm:t>
        <a:bodyPr/>
        <a:lstStyle/>
        <a:p>
          <a:endParaRPr lang="es-PY" sz="2000"/>
        </a:p>
      </dgm:t>
    </dgm:pt>
    <dgm:pt modelId="{3386BADD-B70F-4CD8-92A6-49C6B9BFFE0F}" type="sibTrans" cxnId="{8964E199-62B4-4DD2-95CB-799E75F30170}">
      <dgm:prSet/>
      <dgm:spPr/>
      <dgm:t>
        <a:bodyPr/>
        <a:lstStyle/>
        <a:p>
          <a:endParaRPr lang="es-PY" sz="2000"/>
        </a:p>
      </dgm:t>
    </dgm:pt>
    <dgm:pt modelId="{D6EBC661-A20A-49B4-ADA9-E4BE6EDEEE22}">
      <dgm:prSet custT="1"/>
      <dgm:spPr/>
      <dgm:t>
        <a:bodyPr/>
        <a:lstStyle/>
        <a:p>
          <a:r>
            <a:rPr lang="es-PY" altLang="ko-KR" sz="1400" b="1" noProof="0" dirty="0" smtClean="0">
              <a:ea typeface="Batang" pitchFamily="18" charset="-127"/>
              <a:cs typeface="Tahoma" pitchFamily="34" charset="0"/>
            </a:rPr>
            <a:t>SECTORES:</a:t>
          </a:r>
          <a:endParaRPr lang="es-PY" sz="1400" dirty="0"/>
        </a:p>
      </dgm:t>
    </dgm:pt>
    <dgm:pt modelId="{9401C9FA-2E59-4902-A3F0-38E612A23D80}" type="parTrans" cxnId="{FC824597-9907-4E0F-88D3-8E807C6F022C}">
      <dgm:prSet/>
      <dgm:spPr/>
      <dgm:t>
        <a:bodyPr/>
        <a:lstStyle/>
        <a:p>
          <a:endParaRPr lang="es-PY" sz="2000"/>
        </a:p>
      </dgm:t>
    </dgm:pt>
    <dgm:pt modelId="{6B7C9D71-87B4-4D8F-93D7-7FF6993E1DCE}" type="sibTrans" cxnId="{FC824597-9907-4E0F-88D3-8E807C6F022C}">
      <dgm:prSet/>
      <dgm:spPr/>
      <dgm:t>
        <a:bodyPr/>
        <a:lstStyle/>
        <a:p>
          <a:endParaRPr lang="es-PY" sz="2000"/>
        </a:p>
      </dgm:t>
    </dgm:pt>
    <dgm:pt modelId="{23FAB889-6E68-4020-8208-AEF6141ED4E9}">
      <dgm:prSet custT="1"/>
      <dgm:spPr/>
      <dgm:t>
        <a:bodyPr/>
        <a:lstStyle/>
        <a:p>
          <a:r>
            <a:rPr lang="es-PY" sz="1400" noProof="0" dirty="0" smtClean="0"/>
            <a:t>BENEFICIOS:</a:t>
          </a:r>
          <a:endParaRPr lang="es-PY" sz="1400" noProof="0" dirty="0"/>
        </a:p>
      </dgm:t>
    </dgm:pt>
    <dgm:pt modelId="{08D5D644-231E-4393-AE9F-8B40EA848CD5}" type="parTrans" cxnId="{134A6F64-33F9-4DB1-8E4C-CBC3A0AF3BE8}">
      <dgm:prSet/>
      <dgm:spPr/>
      <dgm:t>
        <a:bodyPr/>
        <a:lstStyle/>
        <a:p>
          <a:endParaRPr lang="es-PY" sz="2000"/>
        </a:p>
      </dgm:t>
    </dgm:pt>
    <dgm:pt modelId="{22291B66-356A-4DB0-9559-48321D0FD904}" type="sibTrans" cxnId="{134A6F64-33F9-4DB1-8E4C-CBC3A0AF3BE8}">
      <dgm:prSet/>
      <dgm:spPr/>
      <dgm:t>
        <a:bodyPr/>
        <a:lstStyle/>
        <a:p>
          <a:endParaRPr lang="es-PY" sz="2000"/>
        </a:p>
      </dgm:t>
    </dgm:pt>
    <dgm:pt modelId="{19EAA433-7DAA-4454-8F25-4F7C1D9CBFBD}">
      <dgm:prSet custT="1"/>
      <dgm:spPr/>
      <dgm:t>
        <a:bodyPr/>
        <a:lstStyle/>
        <a:p>
          <a:r>
            <a:rPr lang="es-PY" altLang="ko-KR" sz="1400" b="1" noProof="0" dirty="0" smtClean="0">
              <a:ea typeface="Batang" pitchFamily="18" charset="-127"/>
              <a:cs typeface="Tahoma" pitchFamily="34" charset="0"/>
            </a:rPr>
            <a:t>Aranceles e impuestos aduaneros: </a:t>
          </a:r>
          <a:r>
            <a:rPr lang="es-PY" altLang="ko-KR" sz="1400" noProof="0" dirty="0" smtClean="0">
              <a:ea typeface="Batang" pitchFamily="18" charset="-127"/>
              <a:cs typeface="Tahoma" pitchFamily="34" charset="0"/>
            </a:rPr>
            <a:t>0%</a:t>
          </a:r>
          <a:endParaRPr lang="es-PY" sz="1400" noProof="0" dirty="0"/>
        </a:p>
      </dgm:t>
    </dgm:pt>
    <dgm:pt modelId="{DE7156F8-1A46-4D97-B97B-FCA3CE27320B}" type="parTrans" cxnId="{3AEEAC15-D27A-4626-AE48-4EC9BC66C1C6}">
      <dgm:prSet/>
      <dgm:spPr/>
      <dgm:t>
        <a:bodyPr/>
        <a:lstStyle/>
        <a:p>
          <a:endParaRPr lang="es-PY" sz="2000"/>
        </a:p>
      </dgm:t>
    </dgm:pt>
    <dgm:pt modelId="{F1488115-377B-4F7E-B114-83EF7A191732}" type="sibTrans" cxnId="{3AEEAC15-D27A-4626-AE48-4EC9BC66C1C6}">
      <dgm:prSet/>
      <dgm:spPr/>
      <dgm:t>
        <a:bodyPr/>
        <a:lstStyle/>
        <a:p>
          <a:endParaRPr lang="es-PY" sz="2000"/>
        </a:p>
      </dgm:t>
    </dgm:pt>
    <dgm:pt modelId="{C96FCD7F-ECD7-4BAC-934A-8865574BC883}">
      <dgm:prSet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VA - Import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0%</a:t>
          </a:r>
          <a:endParaRPr lang="es-PY" sz="1400" noProof="0" dirty="0"/>
        </a:p>
      </dgm:t>
    </dgm:pt>
    <dgm:pt modelId="{1ED34374-6070-49DD-96E2-55142C63EB87}" type="parTrans" cxnId="{4A281732-EA27-4280-B97F-783A61DA7084}">
      <dgm:prSet/>
      <dgm:spPr/>
      <dgm:t>
        <a:bodyPr/>
        <a:lstStyle/>
        <a:p>
          <a:endParaRPr lang="es-PY" sz="2000"/>
        </a:p>
      </dgm:t>
    </dgm:pt>
    <dgm:pt modelId="{8EEC2111-5C52-45A0-945C-6DCFC29D34DE}" type="sibTrans" cxnId="{4A281732-EA27-4280-B97F-783A61DA7084}">
      <dgm:prSet/>
      <dgm:spPr/>
      <dgm:t>
        <a:bodyPr/>
        <a:lstStyle/>
        <a:p>
          <a:endParaRPr lang="es-PY" sz="2000"/>
        </a:p>
      </dgm:t>
    </dgm:pt>
    <dgm:pt modelId="{032EF676-027C-4F02-B96C-AA81FAD5E6DA}">
      <dgm:prSet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VA - Venta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 s/ 20% del valor de fabrica</a:t>
          </a:r>
          <a:endParaRPr lang="es-PY" sz="1400" noProof="0" dirty="0"/>
        </a:p>
      </dgm:t>
    </dgm:pt>
    <dgm:pt modelId="{1C83F2FF-51E7-4ED5-94D0-8A4DF697C92B}" type="parTrans" cxnId="{4794175F-3BA7-420C-80FD-6104E864A76C}">
      <dgm:prSet/>
      <dgm:spPr/>
      <dgm:t>
        <a:bodyPr/>
        <a:lstStyle/>
        <a:p>
          <a:endParaRPr lang="es-PY" sz="2000"/>
        </a:p>
      </dgm:t>
    </dgm:pt>
    <dgm:pt modelId="{28FC5407-D613-4B9B-97B6-B9ACC1D21AC3}" type="sibTrans" cxnId="{4794175F-3BA7-420C-80FD-6104E864A76C}">
      <dgm:prSet/>
      <dgm:spPr/>
      <dgm:t>
        <a:bodyPr/>
        <a:lstStyle/>
        <a:p>
          <a:endParaRPr lang="es-PY" sz="2000"/>
        </a:p>
      </dgm:t>
    </dgm:pt>
    <dgm:pt modelId="{95C0937A-4B92-4CCF-B91D-CDCC255AEEE7}">
      <dgm:prSet custT="1"/>
      <dgm:spPr/>
      <dgm:t>
        <a:bodyPr/>
        <a:lstStyle/>
        <a:p>
          <a:r>
            <a:rPr lang="es-PY" sz="1400" dirty="0" smtClean="0"/>
            <a:t>BENEFICIOS:</a:t>
          </a:r>
          <a:endParaRPr lang="es-PY" sz="1400" dirty="0"/>
        </a:p>
      </dgm:t>
    </dgm:pt>
    <dgm:pt modelId="{60CF6629-BBCA-4FFB-96AB-DA4F24ACE4CE}" type="parTrans" cxnId="{91968938-D800-41AC-80CA-D977D3C2FDD6}">
      <dgm:prSet/>
      <dgm:spPr/>
      <dgm:t>
        <a:bodyPr/>
        <a:lstStyle/>
        <a:p>
          <a:endParaRPr lang="es-PY" sz="1800"/>
        </a:p>
      </dgm:t>
    </dgm:pt>
    <dgm:pt modelId="{9C87F5CE-295C-4B89-AB8E-99E3C0C9784B}" type="sibTrans" cxnId="{91968938-D800-41AC-80CA-D977D3C2FDD6}">
      <dgm:prSet/>
      <dgm:spPr/>
      <dgm:t>
        <a:bodyPr/>
        <a:lstStyle/>
        <a:p>
          <a:endParaRPr lang="es-PY" sz="1800"/>
        </a:p>
      </dgm:t>
    </dgm:pt>
    <dgm:pt modelId="{31A7C9D4-435D-4EC4-8D10-E42E0C3D6C02}">
      <dgm:prSet custT="1"/>
      <dgm:spPr/>
      <dgm:t>
        <a:bodyPr/>
        <a:lstStyle/>
        <a:p>
          <a:r>
            <a:rPr lang="es-MX" sz="1400" b="1" dirty="0" smtClean="0"/>
            <a:t>Aranceles e impuestos aduaneros: </a:t>
          </a:r>
          <a:r>
            <a:rPr lang="es-MX" sz="1400" dirty="0" smtClean="0"/>
            <a:t>0%</a:t>
          </a:r>
          <a:r>
            <a:rPr lang="es-MX" sz="1400" b="1" dirty="0" smtClean="0"/>
            <a:t> </a:t>
          </a:r>
          <a:endParaRPr lang="es-PY" sz="1400" dirty="0"/>
        </a:p>
      </dgm:t>
    </dgm:pt>
    <dgm:pt modelId="{E205BA06-976D-4C1E-AC36-999FEF35ECA0}" type="parTrans" cxnId="{4470BCD7-2CBF-4E87-8D04-7430BE9B359B}">
      <dgm:prSet/>
      <dgm:spPr/>
      <dgm:t>
        <a:bodyPr/>
        <a:lstStyle/>
        <a:p>
          <a:endParaRPr lang="es-PY" sz="1800"/>
        </a:p>
      </dgm:t>
    </dgm:pt>
    <dgm:pt modelId="{9A0E6619-BD3D-4136-9C68-2474C0035E37}" type="sibTrans" cxnId="{4470BCD7-2CBF-4E87-8D04-7430BE9B359B}">
      <dgm:prSet/>
      <dgm:spPr/>
      <dgm:t>
        <a:bodyPr/>
        <a:lstStyle/>
        <a:p>
          <a:endParaRPr lang="es-PY" sz="1800"/>
        </a:p>
      </dgm:t>
    </dgm:pt>
    <dgm:pt modelId="{AC844904-AAA5-486C-9EBF-2B95E26F9977}">
      <dgm:prSet custT="1"/>
      <dgm:spPr/>
      <dgm:t>
        <a:bodyPr/>
        <a:lstStyle/>
        <a:p>
          <a:r>
            <a:rPr lang="es-MX" sz="1400" b="1" dirty="0" smtClean="0"/>
            <a:t>Impuesto único: </a:t>
          </a:r>
          <a:r>
            <a:rPr lang="es-MX" sz="1400" dirty="0" smtClean="0"/>
            <a:t>0,5% sobre ingresos brutos.</a:t>
          </a:r>
          <a:r>
            <a:rPr lang="es-MX" sz="1400" b="1" dirty="0" smtClean="0"/>
            <a:t> </a:t>
          </a:r>
          <a:endParaRPr lang="es-PY" sz="1400" dirty="0"/>
        </a:p>
      </dgm:t>
    </dgm:pt>
    <dgm:pt modelId="{28ACF5B5-F7AF-4561-A7B9-2740B710EA02}" type="parTrans" cxnId="{1DB03172-697D-474C-A13A-9ECA2F95B3BA}">
      <dgm:prSet/>
      <dgm:spPr/>
      <dgm:t>
        <a:bodyPr/>
        <a:lstStyle/>
        <a:p>
          <a:endParaRPr lang="es-PY" sz="1800"/>
        </a:p>
      </dgm:t>
    </dgm:pt>
    <dgm:pt modelId="{6719EAD5-5843-4E6E-BA0E-537586173E48}" type="sibTrans" cxnId="{1DB03172-697D-474C-A13A-9ECA2F95B3BA}">
      <dgm:prSet/>
      <dgm:spPr/>
      <dgm:t>
        <a:bodyPr/>
        <a:lstStyle/>
        <a:p>
          <a:endParaRPr lang="es-PY" sz="1800"/>
        </a:p>
      </dgm:t>
    </dgm:pt>
    <dgm:pt modelId="{4B284035-238A-4AFE-A2AB-291245B1F57F}">
      <dgm:prSet custT="1"/>
      <dgm:spPr/>
      <dgm:t>
        <a:bodyPr/>
        <a:lstStyle/>
        <a:p>
          <a:r>
            <a:rPr lang="es-PY" sz="1400" b="1" dirty="0" smtClean="0"/>
            <a:t>Remesas al exterior: </a:t>
          </a:r>
          <a:r>
            <a:rPr lang="es-PY" sz="1400" dirty="0" smtClean="0"/>
            <a:t>libre de impuestos</a:t>
          </a:r>
          <a:endParaRPr lang="es-PY" sz="1400" dirty="0"/>
        </a:p>
      </dgm:t>
    </dgm:pt>
    <dgm:pt modelId="{1C2696B6-5344-4504-817A-337670213CD2}" type="parTrans" cxnId="{67433651-9C76-4ACD-B91A-B1732BCF6901}">
      <dgm:prSet/>
      <dgm:spPr/>
      <dgm:t>
        <a:bodyPr/>
        <a:lstStyle/>
        <a:p>
          <a:endParaRPr lang="es-PY" sz="1800"/>
        </a:p>
      </dgm:t>
    </dgm:pt>
    <dgm:pt modelId="{166BB0D4-353F-4677-B6DE-A0E2E76162F6}" type="sibTrans" cxnId="{67433651-9C76-4ACD-B91A-B1732BCF6901}">
      <dgm:prSet/>
      <dgm:spPr/>
      <dgm:t>
        <a:bodyPr/>
        <a:lstStyle/>
        <a:p>
          <a:endParaRPr lang="es-PY" sz="1800"/>
        </a:p>
      </dgm:t>
    </dgm:pt>
    <dgm:pt modelId="{31141D04-187E-4E72-85A5-812113EC69A4}">
      <dgm:prSet custT="1"/>
      <dgm:spPr/>
      <dgm:t>
        <a:bodyPr/>
        <a:lstStyle/>
        <a:p>
          <a:r>
            <a:rPr lang="es-PY" altLang="ko-KR" sz="1400" b="1" noProof="0" dirty="0" smtClean="0"/>
            <a:t>fraccionamiento, </a:t>
          </a:r>
          <a:r>
            <a:rPr lang="es-PY" altLang="ko-KR" sz="1400" b="1" noProof="0" dirty="0" err="1" smtClean="0"/>
            <a:t>reenvasado</a:t>
          </a:r>
          <a:r>
            <a:rPr lang="es-PY" altLang="ko-KR" sz="1400" b="1" noProof="0" dirty="0" smtClean="0"/>
            <a:t>, </a:t>
          </a:r>
          <a:r>
            <a:rPr lang="es-PY" altLang="ko-KR" sz="1400" b="1" noProof="0" dirty="0" err="1" smtClean="0"/>
            <a:t>reetiquetado</a:t>
          </a:r>
          <a:r>
            <a:rPr lang="es-PY" altLang="ko-KR" sz="1400" b="1" noProof="0" dirty="0" smtClean="0"/>
            <a:t>, empaquetado.  </a:t>
          </a:r>
          <a:r>
            <a:rPr lang="es-PY" altLang="ko-KR" sz="1400" b="1" noProof="0" dirty="0" err="1" smtClean="0"/>
            <a:t>Gestion</a:t>
          </a:r>
          <a:r>
            <a:rPr lang="es-PY" altLang="ko-KR" sz="1400" b="1" noProof="0" dirty="0" smtClean="0"/>
            <a:t> de stock y control de calidad.  Show </a:t>
          </a:r>
          <a:r>
            <a:rPr lang="es-PY" altLang="ko-KR" sz="1400" b="1" noProof="0" dirty="0" err="1" smtClean="0"/>
            <a:t>room</a:t>
          </a:r>
          <a:r>
            <a:rPr lang="es-PY" altLang="ko-KR" sz="1400" b="1" noProof="0" dirty="0" smtClean="0"/>
            <a:t>, </a:t>
          </a:r>
          <a:r>
            <a:rPr lang="es-PY" altLang="ko-KR" sz="1400" b="1" noProof="0" dirty="0" err="1" smtClean="0"/>
            <a:t>distribucion</a:t>
          </a:r>
          <a:r>
            <a:rPr lang="es-PY" altLang="ko-KR" sz="1400" b="1" noProof="0" dirty="0" smtClean="0"/>
            <a:t>, </a:t>
          </a:r>
          <a:r>
            <a:rPr lang="es-PY" altLang="ko-KR" sz="1400" b="1" noProof="0" dirty="0" err="1" smtClean="0"/>
            <a:t>facturacion</a:t>
          </a:r>
          <a:r>
            <a:rPr lang="es-PY" altLang="ko-KR" sz="1400" b="1" noProof="0" dirty="0" smtClean="0"/>
            <a:t>, venta al por mayor y menor. </a:t>
          </a:r>
          <a:endParaRPr lang="es-PY" sz="1400" b="1" noProof="0" dirty="0"/>
        </a:p>
      </dgm:t>
    </dgm:pt>
    <dgm:pt modelId="{487777FC-6CDC-424C-BAB5-467CFDA04F0D}" type="parTrans" cxnId="{060BF98A-F880-4038-8324-32C4AA95BC51}">
      <dgm:prSet/>
      <dgm:spPr/>
      <dgm:t>
        <a:bodyPr/>
        <a:lstStyle/>
        <a:p>
          <a:endParaRPr lang="es-PY" sz="1800"/>
        </a:p>
      </dgm:t>
    </dgm:pt>
    <dgm:pt modelId="{97524B8E-CE95-47F4-A67B-72FD0EB7FF26}" type="sibTrans" cxnId="{060BF98A-F880-4038-8324-32C4AA95BC51}">
      <dgm:prSet/>
      <dgm:spPr/>
      <dgm:t>
        <a:bodyPr/>
        <a:lstStyle/>
        <a:p>
          <a:endParaRPr lang="es-PY" sz="1800"/>
        </a:p>
      </dgm:t>
    </dgm:pt>
    <dgm:pt modelId="{500C4DF2-6D12-4B63-89E5-D0F73C40953D}">
      <dgm:prSet custT="1"/>
      <dgm:spPr/>
      <dgm:t>
        <a:bodyPr/>
        <a:lstStyle/>
        <a:p>
          <a:endParaRPr lang="es-PY" sz="1400" dirty="0"/>
        </a:p>
      </dgm:t>
    </dgm:pt>
    <dgm:pt modelId="{2A8C86D3-ED82-48E8-BAE6-F64408C10480}" type="parTrans" cxnId="{44BCCF57-66EB-4415-9493-A46C0ABC62BB}">
      <dgm:prSet/>
      <dgm:spPr/>
      <dgm:t>
        <a:bodyPr/>
        <a:lstStyle/>
        <a:p>
          <a:endParaRPr lang="es-PY" sz="1800"/>
        </a:p>
      </dgm:t>
    </dgm:pt>
    <dgm:pt modelId="{359AC11B-E503-4C02-AD65-D1F613549F8C}" type="sibTrans" cxnId="{44BCCF57-66EB-4415-9493-A46C0ABC62BB}">
      <dgm:prSet/>
      <dgm:spPr/>
      <dgm:t>
        <a:bodyPr/>
        <a:lstStyle/>
        <a:p>
          <a:endParaRPr lang="es-PY" sz="1800"/>
        </a:p>
      </dgm:t>
    </dgm:pt>
    <dgm:pt modelId="{C5A07AD7-24F7-4881-8247-BF0FD99478A9}">
      <dgm:prSet custT="1"/>
      <dgm:spPr/>
      <dgm:t>
        <a:bodyPr/>
        <a:lstStyle/>
        <a:p>
          <a:r>
            <a:rPr lang="es-PY" sz="1400" dirty="0" smtClean="0"/>
            <a:t>BENEFICIOS:</a:t>
          </a:r>
          <a:endParaRPr lang="es-PY" sz="1400" dirty="0"/>
        </a:p>
      </dgm:t>
    </dgm:pt>
    <dgm:pt modelId="{B895B405-81EA-41FF-8031-B8DB5F30766A}" type="parTrans" cxnId="{8D302413-53E7-469C-AB4D-D3CFA349F97C}">
      <dgm:prSet/>
      <dgm:spPr/>
      <dgm:t>
        <a:bodyPr/>
        <a:lstStyle/>
        <a:p>
          <a:endParaRPr lang="es-PY" sz="1800"/>
        </a:p>
      </dgm:t>
    </dgm:pt>
    <dgm:pt modelId="{76C46A78-FDCE-476C-BC68-8943CB72E5DF}" type="sibTrans" cxnId="{8D302413-53E7-469C-AB4D-D3CFA349F97C}">
      <dgm:prSet/>
      <dgm:spPr/>
      <dgm:t>
        <a:bodyPr/>
        <a:lstStyle/>
        <a:p>
          <a:endParaRPr lang="es-PY" sz="1800"/>
        </a:p>
      </dgm:t>
    </dgm:pt>
    <dgm:pt modelId="{90852356-D663-4462-A5F5-52FD0D02A648}">
      <dgm:prSet custT="1"/>
      <dgm:spPr/>
      <dgm:t>
        <a:bodyPr/>
        <a:lstStyle/>
        <a:p>
          <a:r>
            <a:rPr lang="es-PY" sz="1400" dirty="0" smtClean="0"/>
            <a:t>están exentas de cualquier otro tributo nacional, departamental o municipal, con excepción del Tributo Único del 1 %</a:t>
          </a:r>
          <a:endParaRPr lang="es-PY" sz="1400" dirty="0"/>
        </a:p>
      </dgm:t>
    </dgm:pt>
    <dgm:pt modelId="{4AA1194B-4BCA-436A-88C1-6F72425998CC}" type="parTrans" cxnId="{A20AE60F-A246-4A39-BC85-D1B6D479C1E9}">
      <dgm:prSet/>
      <dgm:spPr/>
      <dgm:t>
        <a:bodyPr/>
        <a:lstStyle/>
        <a:p>
          <a:endParaRPr lang="es-PY" sz="1800"/>
        </a:p>
      </dgm:t>
    </dgm:pt>
    <dgm:pt modelId="{1679DBC1-17AF-4669-B182-5D5997AD6FEC}" type="sibTrans" cxnId="{A20AE60F-A246-4A39-BC85-D1B6D479C1E9}">
      <dgm:prSet/>
      <dgm:spPr/>
      <dgm:t>
        <a:bodyPr/>
        <a:lstStyle/>
        <a:p>
          <a:endParaRPr lang="es-PY" sz="1800"/>
        </a:p>
      </dgm:t>
    </dgm:pt>
    <dgm:pt modelId="{C9991FD4-2983-46C4-A6F9-2305DDB400C4}">
      <dgm:prSet custT="1"/>
      <dgm:spPr/>
      <dgm:t>
        <a:bodyPr/>
        <a:lstStyle/>
        <a:p>
          <a:r>
            <a:rPr lang="es-PY" sz="1400" dirty="0" smtClean="0"/>
            <a:t>Régimen de subcontratación para el procesamiento productivo y exportación de bienes y servicios. </a:t>
          </a:r>
          <a:r>
            <a:rPr lang="es-PY" sz="1400" dirty="0" err="1" smtClean="0"/>
            <a:t>Outsourcing</a:t>
          </a:r>
          <a:r>
            <a:rPr lang="es-PY" sz="1400" dirty="0" smtClean="0"/>
            <a:t>.</a:t>
          </a:r>
          <a:endParaRPr lang="es-PY" sz="1400" dirty="0"/>
        </a:p>
      </dgm:t>
    </dgm:pt>
    <dgm:pt modelId="{2E3AE6CC-B093-4189-AFE9-51D703A29F1B}" type="parTrans" cxnId="{D509ABCF-65D7-4630-90AD-4AF005A0F958}">
      <dgm:prSet/>
      <dgm:spPr/>
      <dgm:t>
        <a:bodyPr/>
        <a:lstStyle/>
        <a:p>
          <a:endParaRPr lang="es-PY" sz="1800"/>
        </a:p>
      </dgm:t>
    </dgm:pt>
    <dgm:pt modelId="{D1AE33B4-6001-400E-AA2A-0F911EC985FD}" type="sibTrans" cxnId="{D509ABCF-65D7-4630-90AD-4AF005A0F958}">
      <dgm:prSet/>
      <dgm:spPr/>
      <dgm:t>
        <a:bodyPr/>
        <a:lstStyle/>
        <a:p>
          <a:endParaRPr lang="es-PY" sz="1800"/>
        </a:p>
      </dgm:t>
    </dgm:pt>
    <dgm:pt modelId="{6F8973DC-92E2-458D-B10F-B1C11598E95A}">
      <dgm:prSet custT="1"/>
      <dgm:spPr/>
      <dgm:t>
        <a:bodyPr/>
        <a:lstStyle/>
        <a:p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vehiculos automoviles, tractores, velocipedos y demas vehiculos terrestres, sus partes y accesorios</a:t>
          </a:r>
          <a:endParaRPr lang="es-PY" sz="1400" noProof="0"/>
        </a:p>
      </dgm:t>
    </dgm:pt>
    <dgm:pt modelId="{E44243D8-8E98-4136-ABDB-27F3AE9F196F}" type="parTrans" cxnId="{8DDDE9AF-0533-4C38-A21A-3FD559FED13E}">
      <dgm:prSet/>
      <dgm:spPr/>
      <dgm:t>
        <a:bodyPr/>
        <a:lstStyle/>
        <a:p>
          <a:endParaRPr lang="es-PY" sz="1800"/>
        </a:p>
      </dgm:t>
    </dgm:pt>
    <dgm:pt modelId="{E9FB3F3B-B04F-49C5-8D2D-68A066DC803D}" type="sibTrans" cxnId="{8DDDE9AF-0533-4C38-A21A-3FD559FED13E}">
      <dgm:prSet/>
      <dgm:spPr/>
      <dgm:t>
        <a:bodyPr/>
        <a:lstStyle/>
        <a:p>
          <a:endParaRPr lang="es-PY" sz="1800"/>
        </a:p>
      </dgm:t>
    </dgm:pt>
    <dgm:pt modelId="{7812F6EA-783F-467C-85A1-E977174525C2}" type="pres">
      <dgm:prSet presAssocID="{DAF68D48-F82F-430B-9048-9CE750B74D4D}" presName="linearFlow" presStyleCnt="0">
        <dgm:presLayoutVars>
          <dgm:dir/>
          <dgm:animLvl val="lvl"/>
          <dgm:resizeHandles/>
        </dgm:presLayoutVars>
      </dgm:prSet>
      <dgm:spPr/>
    </dgm:pt>
    <dgm:pt modelId="{2DDBD209-0DBC-4D6A-B815-3A538409CE6B}" type="pres">
      <dgm:prSet presAssocID="{27CF41C1-8D8D-4145-8792-B59ADF2ABE26}" presName="compositeNode" presStyleCnt="0">
        <dgm:presLayoutVars>
          <dgm:bulletEnabled val="1"/>
        </dgm:presLayoutVars>
      </dgm:prSet>
      <dgm:spPr/>
    </dgm:pt>
    <dgm:pt modelId="{63F2F85D-EF20-459E-AF19-BCBDA297422F}" type="pres">
      <dgm:prSet presAssocID="{27CF41C1-8D8D-4145-8792-B59ADF2ABE26}" presName="image" presStyleLbl="fgImgPlace1" presStyleIdx="0" presStyleCnt="3" custScaleX="202277" custLinFactX="1663" custLinFactNeighborX="100000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EDA72DD8-3DAA-4B1A-952C-7744A0F8F1A8}" type="pres">
      <dgm:prSet presAssocID="{27CF41C1-8D8D-4145-8792-B59ADF2ABE26}" presName="childNode" presStyleLbl="node1" presStyleIdx="0" presStyleCnt="3" custScaleX="116447" custLinFactNeighborX="36881">
        <dgm:presLayoutVars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4FD54FF7-0C09-4470-ACC4-BEAD262B8CB6}" type="pres">
      <dgm:prSet presAssocID="{27CF41C1-8D8D-4145-8792-B59ADF2ABE26}" presName="parentNode" presStyleLbl="revTx" presStyleIdx="0" presStyleCnt="3" custScaleX="146750" custScaleY="106610" custLinFactX="27040" custLinFactNeighborX="100000" custLinFactNeighborY="7428">
        <dgm:presLayoutVars>
          <dgm:chMax val="0"/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B24A94B6-2124-4E56-9D7B-9F94B790252E}" type="pres">
      <dgm:prSet presAssocID="{04492617-E307-4DC1-85BA-E1234C646EFC}" presName="sibTrans" presStyleCnt="0"/>
      <dgm:spPr/>
    </dgm:pt>
    <dgm:pt modelId="{3A40C05F-2AD7-4DD9-8D4B-AC040D2817C0}" type="pres">
      <dgm:prSet presAssocID="{ABFB66AA-9FA7-4C09-B2D4-AE3A91E68A94}" presName="compositeNode" presStyleCnt="0">
        <dgm:presLayoutVars>
          <dgm:bulletEnabled val="1"/>
        </dgm:presLayoutVars>
      </dgm:prSet>
      <dgm:spPr/>
    </dgm:pt>
    <dgm:pt modelId="{7060EB85-E730-46C3-A28D-0B15C842A3DF}" type="pres">
      <dgm:prSet presAssocID="{ABFB66AA-9FA7-4C09-B2D4-AE3A91E68A94}" presName="image" presStyleLbl="fgImgPlace1" presStyleIdx="1" presStyleCnt="3" custScaleX="293830" custLinFactNeighborX="84200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9DBBB2BC-7D3F-468A-B95C-3B8102CF009F}" type="pres">
      <dgm:prSet presAssocID="{ABFB66AA-9FA7-4C09-B2D4-AE3A91E68A94}" presName="childNode" presStyleLbl="node1" presStyleIdx="1" presStyleCnt="3" custScaleX="120993" custLinFactNeighborX="-1223">
        <dgm:presLayoutVars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D3B420A4-E2C0-4ED9-8690-A121E9AD034F}" type="pres">
      <dgm:prSet presAssocID="{ABFB66AA-9FA7-4C09-B2D4-AE3A91E68A94}" presName="parentNode" presStyleLbl="revTx" presStyleIdx="1" presStyleCnt="3" custLinFactNeighborX="-60513" custLinFactNeighborY="12291">
        <dgm:presLayoutVars>
          <dgm:chMax val="0"/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48F910F6-28E9-41DE-9323-FBE73D8A0B7E}" type="pres">
      <dgm:prSet presAssocID="{19B4ECBE-9749-45E6-8199-E31C442D61B8}" presName="sibTrans" presStyleCnt="0"/>
      <dgm:spPr/>
    </dgm:pt>
    <dgm:pt modelId="{78D689DE-1011-4ACF-A8A6-028D5370EB69}" type="pres">
      <dgm:prSet presAssocID="{74F93A9B-47DA-4916-B37B-65C06BFF3BBF}" presName="compositeNode" presStyleCnt="0">
        <dgm:presLayoutVars>
          <dgm:bulletEnabled val="1"/>
        </dgm:presLayoutVars>
      </dgm:prSet>
      <dgm:spPr/>
    </dgm:pt>
    <dgm:pt modelId="{470F9E2B-427A-414E-B5E1-A74DB32E42BD}" type="pres">
      <dgm:prSet presAssocID="{74F93A9B-47DA-4916-B37B-65C06BFF3BBF}" presName="image" presStyleLbl="fgImgPlace1" presStyleIdx="2" presStyleCnt="3" custScaleX="223445" custLinFactNeighborX="-10902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E840B223-7EAB-4E4F-A4DA-062EFECCD776}" type="pres">
      <dgm:prSet presAssocID="{74F93A9B-47DA-4916-B37B-65C06BFF3BBF}" presName="childNode" presStyleLbl="node1" presStyleIdx="2" presStyleCnt="3" custScaleX="126128" custLinFactNeighborX="-20302">
        <dgm:presLayoutVars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C9D1598E-1A06-46F3-A8F1-F1558AB83D44}" type="pres">
      <dgm:prSet presAssocID="{74F93A9B-47DA-4916-B37B-65C06BFF3BBF}" presName="parentNode" presStyleLbl="revTx" presStyleIdx="2" presStyleCnt="3" custLinFactX="-66850" custLinFactNeighborX="-100000" custLinFactNeighborY="4957">
        <dgm:presLayoutVars>
          <dgm:chMax val="0"/>
          <dgm:bulletEnabled val="1"/>
        </dgm:presLayoutVars>
      </dgm:prSet>
      <dgm:spPr/>
      <dgm:t>
        <a:bodyPr/>
        <a:lstStyle/>
        <a:p>
          <a:endParaRPr lang="es-PY"/>
        </a:p>
      </dgm:t>
    </dgm:pt>
  </dgm:ptLst>
  <dgm:cxnLst>
    <dgm:cxn modelId="{44BCCF57-66EB-4415-9493-A46C0ABC62BB}" srcId="{ABFB66AA-9FA7-4C09-B2D4-AE3A91E68A94}" destId="{500C4DF2-6D12-4B63-89E5-D0F73C40953D}" srcOrd="0" destOrd="0" parTransId="{2A8C86D3-ED82-48E8-BAE6-F64408C10480}" sibTransId="{359AC11B-E503-4C02-AD65-D1F613549F8C}"/>
    <dgm:cxn modelId="{8DDDE9AF-0533-4C38-A21A-3FD559FED13E}" srcId="{D6EBC661-A20A-49B4-ADA9-E4BE6EDEEE22}" destId="{6F8973DC-92E2-458D-B10F-B1C11598E95A}" srcOrd="0" destOrd="0" parTransId="{E44243D8-8E98-4136-ABDB-27F3AE9F196F}" sibTransId="{E9FB3F3B-B04F-49C5-8D2D-68A066DC803D}"/>
    <dgm:cxn modelId="{BE6A7527-C0AA-46FB-AFD5-968DA519B96F}" type="presOf" srcId="{C9991FD4-2983-46C4-A6F9-2305DDB400C4}" destId="{9DBBB2BC-7D3F-468A-B95C-3B8102CF009F}" srcOrd="0" destOrd="2" presId="urn:microsoft.com/office/officeart/2005/8/layout/hList2#2"/>
    <dgm:cxn modelId="{060BF98A-F880-4038-8324-32C4AA95BC51}" srcId="{2641951B-5A14-48A7-B4D7-2EB3E203542B}" destId="{31141D04-187E-4E72-85A5-812113EC69A4}" srcOrd="0" destOrd="0" parTransId="{487777FC-6CDC-424C-BAB5-467CFDA04F0D}" sibTransId="{97524B8E-CE95-47F4-A67B-72FD0EB7FF26}"/>
    <dgm:cxn modelId="{E0C69DBE-4D75-4DF3-B0A3-B78A1A0A7CD9}" type="presOf" srcId="{ABFB66AA-9FA7-4C09-B2D4-AE3A91E68A94}" destId="{D3B420A4-E2C0-4ED9-8690-A121E9AD034F}" srcOrd="0" destOrd="0" presId="urn:microsoft.com/office/officeart/2005/8/layout/hList2#2"/>
    <dgm:cxn modelId="{884E48DD-AAF6-4F68-81BD-62DE66AA9377}" type="presOf" srcId="{95C0937A-4B92-4CCF-B91D-CDCC255AEEE7}" destId="{E840B223-7EAB-4E4F-A4DA-062EFECCD776}" srcOrd="0" destOrd="2" presId="urn:microsoft.com/office/officeart/2005/8/layout/hList2#2"/>
    <dgm:cxn modelId="{4D77097C-63EE-4C48-877E-7B0F892F3D5F}" type="presOf" srcId="{23FAB889-6E68-4020-8208-AEF6141ED4E9}" destId="{EDA72DD8-3DAA-4B1A-952C-7744A0F8F1A8}" srcOrd="0" destOrd="2" presId="urn:microsoft.com/office/officeart/2005/8/layout/hList2#2"/>
    <dgm:cxn modelId="{305ED543-A40B-4271-B62B-F73404A00A9A}" srcId="{ABFB66AA-9FA7-4C09-B2D4-AE3A91E68A94}" destId="{D8D3B5E3-17F0-4351-B2A6-D6C4469696D2}" srcOrd="1" destOrd="0" parTransId="{6BD0AF08-B4D9-4B0C-912C-43C7A6B66B03}" sibTransId="{F0C26BCD-FBFE-45C7-91EA-37D6435579E3}"/>
    <dgm:cxn modelId="{4470BCD7-2CBF-4E87-8D04-7430BE9B359B}" srcId="{95C0937A-4B92-4CCF-B91D-CDCC255AEEE7}" destId="{31A7C9D4-435D-4EC4-8D10-E42E0C3D6C02}" srcOrd="0" destOrd="0" parTransId="{E205BA06-976D-4C1E-AC36-999FEF35ECA0}" sibTransId="{9A0E6619-BD3D-4136-9C68-2474C0035E37}"/>
    <dgm:cxn modelId="{11CBB0DE-7613-4CF3-B10F-6FC64AC1624B}" srcId="{DAF68D48-F82F-430B-9048-9CE750B74D4D}" destId="{27CF41C1-8D8D-4145-8792-B59ADF2ABE26}" srcOrd="0" destOrd="0" parTransId="{A7B5BE43-8B4C-4DC7-97D5-CDC9C7FDE17E}" sibTransId="{04492617-E307-4DC1-85BA-E1234C646EFC}"/>
    <dgm:cxn modelId="{56806564-DD62-4A84-B6F1-A9B1E5935640}" type="presOf" srcId="{90852356-D663-4462-A5F5-52FD0D02A648}" destId="{9DBBB2BC-7D3F-468A-B95C-3B8102CF009F}" srcOrd="0" destOrd="4" presId="urn:microsoft.com/office/officeart/2005/8/layout/hList2#2"/>
    <dgm:cxn modelId="{F036E43C-4E87-43D5-90F6-437C2A6BFBB9}" type="presOf" srcId="{C5A07AD7-24F7-4881-8247-BF0FD99478A9}" destId="{9DBBB2BC-7D3F-468A-B95C-3B8102CF009F}" srcOrd="0" destOrd="3" presId="urn:microsoft.com/office/officeart/2005/8/layout/hList2#2"/>
    <dgm:cxn modelId="{FC824597-9907-4E0F-88D3-8E807C6F022C}" srcId="{27CF41C1-8D8D-4145-8792-B59ADF2ABE26}" destId="{D6EBC661-A20A-49B4-ADA9-E4BE6EDEEE22}" srcOrd="0" destOrd="0" parTransId="{9401C9FA-2E59-4902-A3F0-38E612A23D80}" sibTransId="{6B7C9D71-87B4-4D8F-93D7-7FF6993E1DCE}"/>
    <dgm:cxn modelId="{A20AE60F-A246-4A39-BC85-D1B6D479C1E9}" srcId="{C5A07AD7-24F7-4881-8247-BF0FD99478A9}" destId="{90852356-D663-4462-A5F5-52FD0D02A648}" srcOrd="0" destOrd="0" parTransId="{4AA1194B-4BCA-436A-88C1-6F72425998CC}" sibTransId="{1679DBC1-17AF-4669-B182-5D5997AD6FEC}"/>
    <dgm:cxn modelId="{8D302413-53E7-469C-AB4D-D3CFA349F97C}" srcId="{ABFB66AA-9FA7-4C09-B2D4-AE3A91E68A94}" destId="{C5A07AD7-24F7-4881-8247-BF0FD99478A9}" srcOrd="2" destOrd="0" parTransId="{B895B405-81EA-41FF-8031-B8DB5F30766A}" sibTransId="{76C46A78-FDCE-476C-BC68-8943CB72E5DF}"/>
    <dgm:cxn modelId="{134A6F64-33F9-4DB1-8E4C-CBC3A0AF3BE8}" srcId="{27CF41C1-8D8D-4145-8792-B59ADF2ABE26}" destId="{23FAB889-6E68-4020-8208-AEF6141ED4E9}" srcOrd="1" destOrd="0" parTransId="{08D5D644-231E-4393-AE9F-8B40EA848CD5}" sibTransId="{22291B66-356A-4DB0-9559-48321D0FD904}"/>
    <dgm:cxn modelId="{AF2081CB-EC2A-4408-9689-3790E1DC2F33}" srcId="{DAF68D48-F82F-430B-9048-9CE750B74D4D}" destId="{ABFB66AA-9FA7-4C09-B2D4-AE3A91E68A94}" srcOrd="1" destOrd="0" parTransId="{8CCDC76E-F91A-4B67-8086-04347C7DAD8D}" sibTransId="{19B4ECBE-9749-45E6-8199-E31C442D61B8}"/>
    <dgm:cxn modelId="{4EC5EC17-36A7-4BD9-9160-EC092D92ADAE}" type="presOf" srcId="{D8D3B5E3-17F0-4351-B2A6-D6C4469696D2}" destId="{9DBBB2BC-7D3F-468A-B95C-3B8102CF009F}" srcOrd="0" destOrd="1" presId="urn:microsoft.com/office/officeart/2005/8/layout/hList2#2"/>
    <dgm:cxn modelId="{3AEBA7CD-E9B4-4D30-8D7E-00C76E8ED21B}" type="presOf" srcId="{31A7C9D4-435D-4EC4-8D10-E42E0C3D6C02}" destId="{E840B223-7EAB-4E4F-A4DA-062EFECCD776}" srcOrd="0" destOrd="3" presId="urn:microsoft.com/office/officeart/2005/8/layout/hList2#2"/>
    <dgm:cxn modelId="{3D2837B3-3319-4EDD-BE73-FC439A07501E}" srcId="{DAF68D48-F82F-430B-9048-9CE750B74D4D}" destId="{74F93A9B-47DA-4916-B37B-65C06BFF3BBF}" srcOrd="2" destOrd="0" parTransId="{8F34C5AE-5F9B-4965-A6D6-3E5BE450D696}" sibTransId="{CACB06BC-6F6A-46CC-9286-7F76926AF5AC}"/>
    <dgm:cxn modelId="{1DB03172-697D-474C-A13A-9ECA2F95B3BA}" srcId="{95C0937A-4B92-4CCF-B91D-CDCC255AEEE7}" destId="{AC844904-AAA5-486C-9EBF-2B95E26F9977}" srcOrd="1" destOrd="0" parTransId="{28ACF5B5-F7AF-4561-A7B9-2740B710EA02}" sibTransId="{6719EAD5-5843-4E6E-BA0E-537586173E48}"/>
    <dgm:cxn modelId="{8422182B-CD9A-4CE5-9691-533F80FF9805}" type="presOf" srcId="{C96FCD7F-ECD7-4BAC-934A-8865574BC883}" destId="{EDA72DD8-3DAA-4B1A-952C-7744A0F8F1A8}" srcOrd="0" destOrd="4" presId="urn:microsoft.com/office/officeart/2005/8/layout/hList2#2"/>
    <dgm:cxn modelId="{D807B930-EE36-4378-8A74-04667669FF04}" type="presOf" srcId="{DAF68D48-F82F-430B-9048-9CE750B74D4D}" destId="{7812F6EA-783F-467C-85A1-E977174525C2}" srcOrd="0" destOrd="0" presId="urn:microsoft.com/office/officeart/2005/8/layout/hList2#2"/>
    <dgm:cxn modelId="{6A2FECD5-ED81-4C93-886D-8CDE5FF774CC}" type="presOf" srcId="{27CF41C1-8D8D-4145-8792-B59ADF2ABE26}" destId="{4FD54FF7-0C09-4470-ACC4-BEAD262B8CB6}" srcOrd="0" destOrd="0" presId="urn:microsoft.com/office/officeart/2005/8/layout/hList2#2"/>
    <dgm:cxn modelId="{4794175F-3BA7-420C-80FD-6104E864A76C}" srcId="{23FAB889-6E68-4020-8208-AEF6141ED4E9}" destId="{032EF676-027C-4F02-B96C-AA81FAD5E6DA}" srcOrd="2" destOrd="0" parTransId="{1C83F2FF-51E7-4ED5-94D0-8A4DF697C92B}" sibTransId="{28FC5407-D613-4B9B-97B6-B9ACC1D21AC3}"/>
    <dgm:cxn modelId="{E358888E-94D0-44DC-8B3D-A01B510D7962}" type="presOf" srcId="{74F93A9B-47DA-4916-B37B-65C06BFF3BBF}" destId="{C9D1598E-1A06-46F3-A8F1-F1558AB83D44}" srcOrd="0" destOrd="0" presId="urn:microsoft.com/office/officeart/2005/8/layout/hList2#2"/>
    <dgm:cxn modelId="{EEDD9E4E-9131-4EC7-8FB4-51A876E74496}" type="presOf" srcId="{AC844904-AAA5-486C-9EBF-2B95E26F9977}" destId="{E840B223-7EAB-4E4F-A4DA-062EFECCD776}" srcOrd="0" destOrd="4" presId="urn:microsoft.com/office/officeart/2005/8/layout/hList2#2"/>
    <dgm:cxn modelId="{91968938-D800-41AC-80CA-D977D3C2FDD6}" srcId="{74F93A9B-47DA-4916-B37B-65C06BFF3BBF}" destId="{95C0937A-4B92-4CCF-B91D-CDCC255AEEE7}" srcOrd="1" destOrd="0" parTransId="{60CF6629-BBCA-4FFB-96AB-DA4F24ACE4CE}" sibTransId="{9C87F5CE-295C-4B89-AB8E-99E3C0C9784B}"/>
    <dgm:cxn modelId="{8964E199-62B4-4DD2-95CB-799E75F30170}" srcId="{74F93A9B-47DA-4916-B37B-65C06BFF3BBF}" destId="{2641951B-5A14-48A7-B4D7-2EB3E203542B}" srcOrd="0" destOrd="0" parTransId="{4A5038F8-9877-4334-885C-DE142D5A1F22}" sibTransId="{3386BADD-B70F-4CD8-92A6-49C6B9BFFE0F}"/>
    <dgm:cxn modelId="{44CE02DE-EA5B-4FC2-92EA-EFC324F455AA}" type="presOf" srcId="{500C4DF2-6D12-4B63-89E5-D0F73C40953D}" destId="{9DBBB2BC-7D3F-468A-B95C-3B8102CF009F}" srcOrd="0" destOrd="0" presId="urn:microsoft.com/office/officeart/2005/8/layout/hList2#2"/>
    <dgm:cxn modelId="{57B271BB-E45E-4A09-8B33-B53E1619D847}" type="presOf" srcId="{19EAA433-7DAA-4454-8F25-4F7C1D9CBFBD}" destId="{EDA72DD8-3DAA-4B1A-952C-7744A0F8F1A8}" srcOrd="0" destOrd="3" presId="urn:microsoft.com/office/officeart/2005/8/layout/hList2#2"/>
    <dgm:cxn modelId="{210008CD-4977-40E4-B54A-B71B08F6C270}" type="presOf" srcId="{6F8973DC-92E2-458D-B10F-B1C11598E95A}" destId="{EDA72DD8-3DAA-4B1A-952C-7744A0F8F1A8}" srcOrd="0" destOrd="1" presId="urn:microsoft.com/office/officeart/2005/8/layout/hList2#2"/>
    <dgm:cxn modelId="{74FC6FD9-9B23-424B-B403-2920587A722E}" type="presOf" srcId="{D6EBC661-A20A-49B4-ADA9-E4BE6EDEEE22}" destId="{EDA72DD8-3DAA-4B1A-952C-7744A0F8F1A8}" srcOrd="0" destOrd="0" presId="urn:microsoft.com/office/officeart/2005/8/layout/hList2#2"/>
    <dgm:cxn modelId="{F5AD4A69-881C-4854-8A4A-B30816CB3C94}" type="presOf" srcId="{31141D04-187E-4E72-85A5-812113EC69A4}" destId="{E840B223-7EAB-4E4F-A4DA-062EFECCD776}" srcOrd="0" destOrd="1" presId="urn:microsoft.com/office/officeart/2005/8/layout/hList2#2"/>
    <dgm:cxn modelId="{4A281732-EA27-4280-B97F-783A61DA7084}" srcId="{23FAB889-6E68-4020-8208-AEF6141ED4E9}" destId="{C96FCD7F-ECD7-4BAC-934A-8865574BC883}" srcOrd="1" destOrd="0" parTransId="{1ED34374-6070-49DD-96E2-55142C63EB87}" sibTransId="{8EEC2111-5C52-45A0-945C-6DCFC29D34DE}"/>
    <dgm:cxn modelId="{67433651-9C76-4ACD-B91A-B1732BCF6901}" srcId="{95C0937A-4B92-4CCF-B91D-CDCC255AEEE7}" destId="{4B284035-238A-4AFE-A2AB-291245B1F57F}" srcOrd="2" destOrd="0" parTransId="{1C2696B6-5344-4504-817A-337670213CD2}" sibTransId="{166BB0D4-353F-4677-B6DE-A0E2E76162F6}"/>
    <dgm:cxn modelId="{D509ABCF-65D7-4630-90AD-4AF005A0F958}" srcId="{D8D3B5E3-17F0-4351-B2A6-D6C4469696D2}" destId="{C9991FD4-2983-46C4-A6F9-2305DDB400C4}" srcOrd="0" destOrd="0" parTransId="{2E3AE6CC-B093-4189-AFE9-51D703A29F1B}" sibTransId="{D1AE33B4-6001-400E-AA2A-0F911EC985FD}"/>
    <dgm:cxn modelId="{E6FACA06-BAEC-4978-BF47-A164C37283D2}" type="presOf" srcId="{2641951B-5A14-48A7-B4D7-2EB3E203542B}" destId="{E840B223-7EAB-4E4F-A4DA-062EFECCD776}" srcOrd="0" destOrd="0" presId="urn:microsoft.com/office/officeart/2005/8/layout/hList2#2"/>
    <dgm:cxn modelId="{E41BC2D5-9663-4B81-AB09-569BD2DA7B7D}" type="presOf" srcId="{4B284035-238A-4AFE-A2AB-291245B1F57F}" destId="{E840B223-7EAB-4E4F-A4DA-062EFECCD776}" srcOrd="0" destOrd="5" presId="urn:microsoft.com/office/officeart/2005/8/layout/hList2#2"/>
    <dgm:cxn modelId="{3AEEAC15-D27A-4626-AE48-4EC9BC66C1C6}" srcId="{23FAB889-6E68-4020-8208-AEF6141ED4E9}" destId="{19EAA433-7DAA-4454-8F25-4F7C1D9CBFBD}" srcOrd="0" destOrd="0" parTransId="{DE7156F8-1A46-4D97-B97B-FCA3CE27320B}" sibTransId="{F1488115-377B-4F7E-B114-83EF7A191732}"/>
    <dgm:cxn modelId="{69632643-B621-46D1-A552-9ADB7BBBD0BB}" type="presOf" srcId="{032EF676-027C-4F02-B96C-AA81FAD5E6DA}" destId="{EDA72DD8-3DAA-4B1A-952C-7744A0F8F1A8}" srcOrd="0" destOrd="5" presId="urn:microsoft.com/office/officeart/2005/8/layout/hList2#2"/>
    <dgm:cxn modelId="{9D0B4907-D808-4FD2-BD54-0065908C9AEA}" type="presParOf" srcId="{7812F6EA-783F-467C-85A1-E977174525C2}" destId="{2DDBD209-0DBC-4D6A-B815-3A538409CE6B}" srcOrd="0" destOrd="0" presId="urn:microsoft.com/office/officeart/2005/8/layout/hList2#2"/>
    <dgm:cxn modelId="{295FE92E-31F5-48CF-AEB6-57D4F9A5FF49}" type="presParOf" srcId="{2DDBD209-0DBC-4D6A-B815-3A538409CE6B}" destId="{63F2F85D-EF20-459E-AF19-BCBDA297422F}" srcOrd="0" destOrd="0" presId="urn:microsoft.com/office/officeart/2005/8/layout/hList2#2"/>
    <dgm:cxn modelId="{FD14D4D6-8A6A-4F44-97AA-17EA6136E3CE}" type="presParOf" srcId="{2DDBD209-0DBC-4D6A-B815-3A538409CE6B}" destId="{EDA72DD8-3DAA-4B1A-952C-7744A0F8F1A8}" srcOrd="1" destOrd="0" presId="urn:microsoft.com/office/officeart/2005/8/layout/hList2#2"/>
    <dgm:cxn modelId="{7691BFE6-5667-457B-A912-F6DCEE84200E}" type="presParOf" srcId="{2DDBD209-0DBC-4D6A-B815-3A538409CE6B}" destId="{4FD54FF7-0C09-4470-ACC4-BEAD262B8CB6}" srcOrd="2" destOrd="0" presId="urn:microsoft.com/office/officeart/2005/8/layout/hList2#2"/>
    <dgm:cxn modelId="{745AA29D-EE81-452C-99CD-242E3B512E7B}" type="presParOf" srcId="{7812F6EA-783F-467C-85A1-E977174525C2}" destId="{B24A94B6-2124-4E56-9D7B-9F94B790252E}" srcOrd="1" destOrd="0" presId="urn:microsoft.com/office/officeart/2005/8/layout/hList2#2"/>
    <dgm:cxn modelId="{26F8E952-DF56-445F-ADCA-2704C0A904FD}" type="presParOf" srcId="{7812F6EA-783F-467C-85A1-E977174525C2}" destId="{3A40C05F-2AD7-4DD9-8D4B-AC040D2817C0}" srcOrd="2" destOrd="0" presId="urn:microsoft.com/office/officeart/2005/8/layout/hList2#2"/>
    <dgm:cxn modelId="{98A8B3B4-EFDA-46C2-9037-F52CBE22F382}" type="presParOf" srcId="{3A40C05F-2AD7-4DD9-8D4B-AC040D2817C0}" destId="{7060EB85-E730-46C3-A28D-0B15C842A3DF}" srcOrd="0" destOrd="0" presId="urn:microsoft.com/office/officeart/2005/8/layout/hList2#2"/>
    <dgm:cxn modelId="{D41279CE-F2BC-4254-9466-11E2D96CBB1E}" type="presParOf" srcId="{3A40C05F-2AD7-4DD9-8D4B-AC040D2817C0}" destId="{9DBBB2BC-7D3F-468A-B95C-3B8102CF009F}" srcOrd="1" destOrd="0" presId="urn:microsoft.com/office/officeart/2005/8/layout/hList2#2"/>
    <dgm:cxn modelId="{4DC41EC9-DBF3-4880-9342-8DA7FF6BC42C}" type="presParOf" srcId="{3A40C05F-2AD7-4DD9-8D4B-AC040D2817C0}" destId="{D3B420A4-E2C0-4ED9-8690-A121E9AD034F}" srcOrd="2" destOrd="0" presId="urn:microsoft.com/office/officeart/2005/8/layout/hList2#2"/>
    <dgm:cxn modelId="{3EF7E68A-C7CE-40CF-AA47-D539BBDC1642}" type="presParOf" srcId="{7812F6EA-783F-467C-85A1-E977174525C2}" destId="{48F910F6-28E9-41DE-9323-FBE73D8A0B7E}" srcOrd="3" destOrd="0" presId="urn:microsoft.com/office/officeart/2005/8/layout/hList2#2"/>
    <dgm:cxn modelId="{EAF5480E-928E-47DF-B7D6-92F5A4955692}" type="presParOf" srcId="{7812F6EA-783F-467C-85A1-E977174525C2}" destId="{78D689DE-1011-4ACF-A8A6-028D5370EB69}" srcOrd="4" destOrd="0" presId="urn:microsoft.com/office/officeart/2005/8/layout/hList2#2"/>
    <dgm:cxn modelId="{58F15967-EA2B-47C0-9B6F-A85DC47E61E9}" type="presParOf" srcId="{78D689DE-1011-4ACF-A8A6-028D5370EB69}" destId="{470F9E2B-427A-414E-B5E1-A74DB32E42BD}" srcOrd="0" destOrd="0" presId="urn:microsoft.com/office/officeart/2005/8/layout/hList2#2"/>
    <dgm:cxn modelId="{306727A2-232F-4073-A2ED-A4E334FF6A57}" type="presParOf" srcId="{78D689DE-1011-4ACF-A8A6-028D5370EB69}" destId="{E840B223-7EAB-4E4F-A4DA-062EFECCD776}" srcOrd="1" destOrd="0" presId="urn:microsoft.com/office/officeart/2005/8/layout/hList2#2"/>
    <dgm:cxn modelId="{31356AC3-CB90-4CB4-B170-62542ED7D047}" type="presParOf" srcId="{78D689DE-1011-4ACF-A8A6-028D5370EB69}" destId="{C9D1598E-1A06-46F3-A8F1-F1558AB83D44}" srcOrd="2" destOrd="0" presId="urn:microsoft.com/office/officeart/2005/8/layout/hList2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FB0F00-2ABD-4F31-9A9E-191E30DEBF0C}" type="doc">
      <dgm:prSet loTypeId="urn:microsoft.com/office/officeart/2005/8/layout/hList1" loCatId="list" qsTypeId="urn:microsoft.com/office/officeart/2005/8/quickstyle/simple5" qsCatId="simple" csTypeId="urn:microsoft.com/office/officeart/2005/8/colors/colorful1#2" csCatId="colorful" phldr="1"/>
      <dgm:spPr/>
      <dgm:t>
        <a:bodyPr/>
        <a:lstStyle/>
        <a:p>
          <a:endParaRPr lang="es-PY"/>
        </a:p>
      </dgm:t>
    </dgm:pt>
    <dgm:pt modelId="{EBCEB3A2-5663-4C3D-86C7-5ACABB46C8EE}">
      <dgm:prSet phldrT="[Texto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PY" sz="1400" b="1" noProof="0" smtClean="0"/>
            <a:t>Decreto 11771/00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PY" sz="1400" b="1" noProof="0" smtClean="0"/>
            <a:t>para la importación de materias primas e insumos</a:t>
          </a:r>
          <a:endParaRPr lang="es-PY" sz="1400" b="1" noProof="0" dirty="0"/>
        </a:p>
      </dgm:t>
    </dgm:pt>
    <dgm:pt modelId="{EE1AD953-0B10-4F84-A57F-2C50BBEE36B7}" type="parTrans" cxnId="{7B63030B-5503-49B1-9A1B-92664DCA7012}">
      <dgm:prSet/>
      <dgm:spPr/>
      <dgm:t>
        <a:bodyPr/>
        <a:lstStyle/>
        <a:p>
          <a:endParaRPr lang="es-PY" sz="2400" noProof="0"/>
        </a:p>
      </dgm:t>
    </dgm:pt>
    <dgm:pt modelId="{8C45EA1F-A4A7-4AE4-9212-79667E8F6F8F}" type="sibTrans" cxnId="{7B63030B-5503-49B1-9A1B-92664DCA7012}">
      <dgm:prSet/>
      <dgm:spPr/>
      <dgm:t>
        <a:bodyPr/>
        <a:lstStyle/>
        <a:p>
          <a:endParaRPr lang="es-PY" sz="2400" noProof="0"/>
        </a:p>
      </dgm:t>
    </dgm:pt>
    <dgm:pt modelId="{71F88A31-B89D-49CD-8305-48EDC5C33989}">
      <dgm:prSet phldrT="[Texto]"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Sectores: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  todos los registrados en el MIC.</a:t>
          </a:r>
          <a:endParaRPr lang="es-PY" sz="1400" noProof="0"/>
        </a:p>
      </dgm:t>
    </dgm:pt>
    <dgm:pt modelId="{9D58B4E3-1A70-4C0E-B253-2EA5F313F8CF}" type="parTrans" cxnId="{CCCEDCDA-98D5-4300-8D3F-98E6AD8064B1}">
      <dgm:prSet/>
      <dgm:spPr/>
      <dgm:t>
        <a:bodyPr/>
        <a:lstStyle/>
        <a:p>
          <a:endParaRPr lang="es-PY" sz="2400" noProof="0"/>
        </a:p>
      </dgm:t>
    </dgm:pt>
    <dgm:pt modelId="{AFC8CFA3-D18A-44B5-B4A1-D914DA82E84A}" type="sibTrans" cxnId="{CCCEDCDA-98D5-4300-8D3F-98E6AD8064B1}">
      <dgm:prSet/>
      <dgm:spPr/>
      <dgm:t>
        <a:bodyPr/>
        <a:lstStyle/>
        <a:p>
          <a:endParaRPr lang="es-PY" sz="2400" noProof="0"/>
        </a:p>
      </dgm:t>
    </dgm:pt>
    <dgm:pt modelId="{C4FCC4FC-A09B-4C41-A279-14B997B9855B}">
      <dgm:prSet phldrT="[Texto]"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mpuesto a la Renta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 sobre utilidad neta.</a:t>
          </a:r>
          <a:endParaRPr lang="es-PY" sz="1400" noProof="0" dirty="0"/>
        </a:p>
      </dgm:t>
    </dgm:pt>
    <dgm:pt modelId="{29D14A07-199F-4898-8070-2D5B93F8AEAA}" type="parTrans" cxnId="{EC7F6508-9C8D-4077-B037-C180E718695F}">
      <dgm:prSet/>
      <dgm:spPr/>
      <dgm:t>
        <a:bodyPr/>
        <a:lstStyle/>
        <a:p>
          <a:endParaRPr lang="es-PY" sz="2400" noProof="0"/>
        </a:p>
      </dgm:t>
    </dgm:pt>
    <dgm:pt modelId="{C52C7C22-83A4-4AC3-B4D9-1492B0D60DC6}" type="sibTrans" cxnId="{EC7F6508-9C8D-4077-B037-C180E718695F}">
      <dgm:prSet/>
      <dgm:spPr/>
      <dgm:t>
        <a:bodyPr/>
        <a:lstStyle/>
        <a:p>
          <a:endParaRPr lang="es-PY" sz="2400" noProof="0"/>
        </a:p>
      </dgm:t>
    </dgm:pt>
    <dgm:pt modelId="{9634502F-7572-4067-99EB-F3EB6C577FE7}">
      <dgm:prSet phldrT="[Texto]" custT="1"/>
      <dgm:spPr>
        <a:solidFill>
          <a:schemeClr val="accent1"/>
        </a:solidFill>
      </dgm:spPr>
      <dgm:t>
        <a:bodyPr/>
        <a:lstStyle/>
        <a:p>
          <a:pPr>
            <a:spcAft>
              <a:spcPts val="0"/>
            </a:spcAft>
          </a:pPr>
          <a:r>
            <a:rPr lang="es-PY" sz="1400" b="1" noProof="0" smtClean="0"/>
            <a:t>Ley 4427/12:</a:t>
          </a:r>
        </a:p>
        <a:p>
          <a:pPr>
            <a:spcAft>
              <a:spcPts val="0"/>
            </a:spcAft>
          </a:pPr>
          <a:r>
            <a:rPr lang="es-PY" sz="1400" b="1" noProof="0" smtClean="0"/>
            <a:t>de ensamblaje de alta tecnología</a:t>
          </a:r>
          <a:endParaRPr lang="es-PY" sz="1400" b="1" noProof="0" dirty="0"/>
        </a:p>
      </dgm:t>
    </dgm:pt>
    <dgm:pt modelId="{A850E665-4B2A-4F2C-A0B5-97D299EF7231}" type="parTrans" cxnId="{F4F5449E-6C55-44B6-8794-A893B0637D9F}">
      <dgm:prSet/>
      <dgm:spPr/>
      <dgm:t>
        <a:bodyPr/>
        <a:lstStyle/>
        <a:p>
          <a:endParaRPr lang="es-PY" sz="2400" noProof="0"/>
        </a:p>
      </dgm:t>
    </dgm:pt>
    <dgm:pt modelId="{86C38E37-1F60-4A14-A87F-6DA63E136CAE}" type="sibTrans" cxnId="{F4F5449E-6C55-44B6-8794-A893B0637D9F}">
      <dgm:prSet/>
      <dgm:spPr/>
      <dgm:t>
        <a:bodyPr/>
        <a:lstStyle/>
        <a:p>
          <a:endParaRPr lang="es-PY" sz="2400" noProof="0"/>
        </a:p>
      </dgm:t>
    </dgm:pt>
    <dgm:pt modelId="{AC987A20-A953-4A6B-B5F2-BCE09985BDDE}">
      <dgm:prSet phldrT="[Texto]" custT="1"/>
      <dgm:spPr>
        <a:gradFill flip="none"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Sectores: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  </a:t>
          </a:r>
          <a:r>
            <a:rPr lang="es-PY" sz="1400" noProof="0" smtClean="0"/>
            <a:t>dedicados a la produccion, desarrollar y/o ensamblar bienes de alta tecnología en las áreas de electrónica, telecomunicaciones e informática.</a:t>
          </a:r>
          <a:endParaRPr lang="es-PY" sz="1400" noProof="0"/>
        </a:p>
      </dgm:t>
    </dgm:pt>
    <dgm:pt modelId="{7509C4F2-DD4C-46AB-AC74-A6AE45E3496B}" type="parTrans" cxnId="{E16B04C2-2DD2-4CC8-A654-C40C7466F1BF}">
      <dgm:prSet/>
      <dgm:spPr/>
      <dgm:t>
        <a:bodyPr/>
        <a:lstStyle/>
        <a:p>
          <a:endParaRPr lang="es-PY" sz="2400" noProof="0"/>
        </a:p>
      </dgm:t>
    </dgm:pt>
    <dgm:pt modelId="{BE7C0033-7551-487B-A8CD-723F3FA90F3A}" type="sibTrans" cxnId="{E16B04C2-2DD2-4CC8-A654-C40C7466F1BF}">
      <dgm:prSet/>
      <dgm:spPr/>
      <dgm:t>
        <a:bodyPr/>
        <a:lstStyle/>
        <a:p>
          <a:endParaRPr lang="es-PY" sz="2400" noProof="0"/>
        </a:p>
      </dgm:t>
    </dgm:pt>
    <dgm:pt modelId="{8F4458A4-05C3-4D3C-832B-65D4E30B95B8}">
      <dgm:prSet phldrT="[Texto]" custT="1"/>
      <dgm:spPr>
        <a:gradFill flip="none"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mpuesto a la Renta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 sobre utilidad neta.</a:t>
          </a:r>
          <a:endParaRPr lang="es-PY" sz="1400" noProof="0" dirty="0"/>
        </a:p>
      </dgm:t>
    </dgm:pt>
    <dgm:pt modelId="{1FCAADE3-D9C8-4ABB-9277-79985DB81665}" type="parTrans" cxnId="{2EFBA2F2-6420-4B79-90B7-339351D0CEA1}">
      <dgm:prSet/>
      <dgm:spPr/>
      <dgm:t>
        <a:bodyPr/>
        <a:lstStyle/>
        <a:p>
          <a:endParaRPr lang="es-PY" sz="2400" noProof="0"/>
        </a:p>
      </dgm:t>
    </dgm:pt>
    <dgm:pt modelId="{17BD48D5-6485-4678-B447-1A8EC43117ED}" type="sibTrans" cxnId="{2EFBA2F2-6420-4B79-90B7-339351D0CEA1}">
      <dgm:prSet/>
      <dgm:spPr/>
      <dgm:t>
        <a:bodyPr/>
        <a:lstStyle/>
        <a:p>
          <a:endParaRPr lang="es-PY" sz="2400" noProof="0"/>
        </a:p>
      </dgm:t>
    </dgm:pt>
    <dgm:pt modelId="{12A669F7-42E2-40C6-8E3B-41E556016551}">
      <dgm:prSet custT="1"/>
      <dgm:spPr>
        <a:solidFill>
          <a:srgbClr val="FF6600"/>
        </a:solidFill>
        <a:ln>
          <a:noFill/>
        </a:ln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PY" sz="1400" b="1" noProof="0" dirty="0" smtClean="0"/>
            <a:t>Ley 2422/04: 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PY" sz="1400" b="1" noProof="0" dirty="0" smtClean="0"/>
            <a:t>Regímenes aduaneros especiales</a:t>
          </a:r>
        </a:p>
        <a:p>
          <a:pPr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Y" sz="1400" noProof="0" dirty="0"/>
        </a:p>
      </dgm:t>
    </dgm:pt>
    <dgm:pt modelId="{67441AAE-1A3A-4E0A-8488-A07506F9D3B9}" type="parTrans" cxnId="{CBAF76B5-D5C6-4EA0-A925-585CD3AE970F}">
      <dgm:prSet/>
      <dgm:spPr/>
      <dgm:t>
        <a:bodyPr/>
        <a:lstStyle/>
        <a:p>
          <a:endParaRPr lang="es-PY" sz="2400" noProof="0"/>
        </a:p>
      </dgm:t>
    </dgm:pt>
    <dgm:pt modelId="{68F6D216-3A7B-4AC5-832D-4988E333A836}" type="sibTrans" cxnId="{CBAF76B5-D5C6-4EA0-A925-585CD3AE970F}">
      <dgm:prSet/>
      <dgm:spPr/>
      <dgm:t>
        <a:bodyPr/>
        <a:lstStyle/>
        <a:p>
          <a:endParaRPr lang="es-PY" sz="2400" noProof="0"/>
        </a:p>
      </dgm:t>
    </dgm:pt>
    <dgm:pt modelId="{51E29447-02CE-457E-A721-6D29C6DB07FA}">
      <dgm:prSet phldrT="[Texto]" custT="1"/>
      <dgm:spPr/>
      <dgm:t>
        <a:bodyPr/>
        <a:lstStyle/>
        <a:p>
          <a:endParaRPr lang="es-PY" sz="1400" noProof="0"/>
        </a:p>
      </dgm:t>
    </dgm:pt>
    <dgm:pt modelId="{5568DA98-B8CA-4903-80F3-6F965B7A66F8}" type="parTrans" cxnId="{08D8D7A0-CC51-4D57-95BB-E566825D494B}">
      <dgm:prSet/>
      <dgm:spPr/>
      <dgm:t>
        <a:bodyPr/>
        <a:lstStyle/>
        <a:p>
          <a:endParaRPr lang="es-PY" sz="2400" noProof="0"/>
        </a:p>
      </dgm:t>
    </dgm:pt>
    <dgm:pt modelId="{6A9C5316-126C-41CA-8038-7EE65BA72FE2}" type="sibTrans" cxnId="{08D8D7A0-CC51-4D57-95BB-E566825D494B}">
      <dgm:prSet/>
      <dgm:spPr/>
      <dgm:t>
        <a:bodyPr/>
        <a:lstStyle/>
        <a:p>
          <a:endParaRPr lang="es-PY" sz="2400" noProof="0"/>
        </a:p>
      </dgm:t>
    </dgm:pt>
    <dgm:pt modelId="{668B7823-486F-4BAB-A476-C26791D9265C}">
      <dgm:prSet phldrT="[Texto]"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mpuesto al valor agregado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</a:t>
          </a:r>
          <a:endParaRPr lang="es-PY" sz="1400" noProof="0" dirty="0"/>
        </a:p>
      </dgm:t>
    </dgm:pt>
    <dgm:pt modelId="{D1126161-93FD-4796-A009-D8BBCFFDF7F9}" type="parTrans" cxnId="{3316BA43-A55E-4EDE-9129-74B6841B9212}">
      <dgm:prSet/>
      <dgm:spPr/>
      <dgm:t>
        <a:bodyPr/>
        <a:lstStyle/>
        <a:p>
          <a:endParaRPr lang="es-PY" sz="2400" noProof="0"/>
        </a:p>
      </dgm:t>
    </dgm:pt>
    <dgm:pt modelId="{5E20C9B5-A0CA-4C84-9CDB-C0D8B7EE7165}" type="sibTrans" cxnId="{3316BA43-A55E-4EDE-9129-74B6841B9212}">
      <dgm:prSet/>
      <dgm:spPr/>
      <dgm:t>
        <a:bodyPr/>
        <a:lstStyle/>
        <a:p>
          <a:endParaRPr lang="es-PY" sz="2400" noProof="0"/>
        </a:p>
      </dgm:t>
    </dgm:pt>
    <dgm:pt modelId="{F11FA0CE-7FB8-40DB-A8FC-8AC16622E8D5}">
      <dgm:prSet phldrT="[Texto]"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Aranceles e impuestos aduaneros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0%</a:t>
          </a:r>
          <a:endParaRPr lang="es-PY" sz="1400" noProof="0" dirty="0"/>
        </a:p>
      </dgm:t>
    </dgm:pt>
    <dgm:pt modelId="{048C4454-881B-4E75-A582-F3052515A8E9}" type="parTrans" cxnId="{AF0581D1-9B95-4367-9BF1-76720801D54D}">
      <dgm:prSet/>
      <dgm:spPr/>
      <dgm:t>
        <a:bodyPr/>
        <a:lstStyle/>
        <a:p>
          <a:endParaRPr lang="es-PY" sz="2400" noProof="0"/>
        </a:p>
      </dgm:t>
    </dgm:pt>
    <dgm:pt modelId="{3E8C973F-C68F-4741-982B-4662DF878483}" type="sibTrans" cxnId="{AF0581D1-9B95-4367-9BF1-76720801D54D}">
      <dgm:prSet/>
      <dgm:spPr/>
      <dgm:t>
        <a:bodyPr/>
        <a:lstStyle/>
        <a:p>
          <a:endParaRPr lang="es-PY" sz="2400" noProof="0"/>
        </a:p>
      </dgm:t>
    </dgm:pt>
    <dgm:pt modelId="{970CE7F3-5737-4EDC-8BE5-3AD20DD15A95}">
      <dgm:prSet phldrT="[Texto]" custT="1"/>
      <dgm:spPr>
        <a:gradFill flip="none"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endParaRPr lang="es-PY" sz="1400" noProof="0"/>
        </a:p>
      </dgm:t>
    </dgm:pt>
    <dgm:pt modelId="{0E0196E1-8BE0-4CEC-A71E-95D62A6C0B92}" type="parTrans" cxnId="{42506536-55D4-4A05-98D9-0B26AA63B7E1}">
      <dgm:prSet/>
      <dgm:spPr/>
      <dgm:t>
        <a:bodyPr/>
        <a:lstStyle/>
        <a:p>
          <a:endParaRPr lang="es-PY" sz="2400" noProof="0"/>
        </a:p>
      </dgm:t>
    </dgm:pt>
    <dgm:pt modelId="{DFB59AE8-8841-4DA5-AE4E-3AF18B620B24}" type="sibTrans" cxnId="{42506536-55D4-4A05-98D9-0B26AA63B7E1}">
      <dgm:prSet/>
      <dgm:spPr/>
      <dgm:t>
        <a:bodyPr/>
        <a:lstStyle/>
        <a:p>
          <a:endParaRPr lang="es-PY" sz="2400" noProof="0"/>
        </a:p>
      </dgm:t>
    </dgm:pt>
    <dgm:pt modelId="{0ABE4E5F-EFA7-4E84-8C93-EEAEB8960F36}">
      <dgm:prSet phldrT="[Texto]" custT="1"/>
      <dgm:spPr>
        <a:gradFill flip="none"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Aranceles e impuestos aduaneros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0%</a:t>
          </a:r>
          <a:endParaRPr lang="es-PY" sz="1400" noProof="0" dirty="0"/>
        </a:p>
      </dgm:t>
    </dgm:pt>
    <dgm:pt modelId="{E38C4C4A-5551-44C7-B7F9-0362F26A7D6E}" type="parTrans" cxnId="{638ADE04-D211-4FB8-9730-A199F1330B20}">
      <dgm:prSet/>
      <dgm:spPr/>
      <dgm:t>
        <a:bodyPr/>
        <a:lstStyle/>
        <a:p>
          <a:endParaRPr lang="es-PY" sz="2400" noProof="0"/>
        </a:p>
      </dgm:t>
    </dgm:pt>
    <dgm:pt modelId="{592DC60D-07FC-44B8-8DD9-8E6706CCCA48}" type="sibTrans" cxnId="{638ADE04-D211-4FB8-9730-A199F1330B20}">
      <dgm:prSet/>
      <dgm:spPr/>
      <dgm:t>
        <a:bodyPr/>
        <a:lstStyle/>
        <a:p>
          <a:endParaRPr lang="es-PY" sz="2400" noProof="0"/>
        </a:p>
      </dgm:t>
    </dgm:pt>
    <dgm:pt modelId="{30C250D1-2C42-4B37-8ADA-B2A258A51CF0}">
      <dgm:prSet phldrT="[Texto]" custT="1"/>
      <dgm:spPr>
        <a:gradFill flip="none"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mpuesto al valor agregado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 s/ 15% del valor aduanero</a:t>
          </a:r>
          <a:endParaRPr lang="es-PY" sz="1400" noProof="0" dirty="0"/>
        </a:p>
      </dgm:t>
    </dgm:pt>
    <dgm:pt modelId="{D5041B17-7CB5-4F6E-AB23-A8E7957AE508}" type="parTrans" cxnId="{54B36D35-F8B1-4CBB-80A4-797864B0A1A4}">
      <dgm:prSet/>
      <dgm:spPr/>
      <dgm:t>
        <a:bodyPr/>
        <a:lstStyle/>
        <a:p>
          <a:endParaRPr lang="es-PY" sz="2400" noProof="0"/>
        </a:p>
      </dgm:t>
    </dgm:pt>
    <dgm:pt modelId="{F03E6FA2-79CB-438D-A6CD-F45F2AE094F0}" type="sibTrans" cxnId="{54B36D35-F8B1-4CBB-80A4-797864B0A1A4}">
      <dgm:prSet/>
      <dgm:spPr/>
      <dgm:t>
        <a:bodyPr/>
        <a:lstStyle/>
        <a:p>
          <a:endParaRPr lang="es-PY" sz="2400" noProof="0"/>
        </a:p>
      </dgm:t>
    </dgm:pt>
    <dgm:pt modelId="{A44B5E1A-C0C8-4DD8-A7DD-DA0DA23DB49C}">
      <dgm:prSet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Sectores: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  </a:t>
          </a:r>
          <a:r>
            <a:rPr lang="es-PY" altLang="ko-KR" sz="1400" noProof="0" smtClean="0"/>
            <a:t>agroindustriales, industriales, otros</a:t>
          </a:r>
          <a:r>
            <a:rPr lang="es-PY" sz="1400" noProof="0" smtClean="0"/>
            <a:t>.</a:t>
          </a:r>
          <a:endParaRPr lang="es-PY" sz="1400" noProof="0"/>
        </a:p>
      </dgm:t>
    </dgm:pt>
    <dgm:pt modelId="{55DC8D38-691E-4BE4-985E-5F815F877C67}" type="parTrans" cxnId="{8B9547E8-6001-47EB-AD4D-1173254EFBA4}">
      <dgm:prSet/>
      <dgm:spPr/>
      <dgm:t>
        <a:bodyPr/>
        <a:lstStyle/>
        <a:p>
          <a:endParaRPr lang="es-PY" sz="2400" noProof="0"/>
        </a:p>
      </dgm:t>
    </dgm:pt>
    <dgm:pt modelId="{3F4C519E-3297-4AB7-9286-76EEC535F508}" type="sibTrans" cxnId="{8B9547E8-6001-47EB-AD4D-1173254EFBA4}">
      <dgm:prSet/>
      <dgm:spPr/>
      <dgm:t>
        <a:bodyPr/>
        <a:lstStyle/>
        <a:p>
          <a:endParaRPr lang="es-PY" sz="2400" noProof="0"/>
        </a:p>
      </dgm:t>
    </dgm:pt>
    <dgm:pt modelId="{F4EBB13C-F675-4574-9459-B9D44344546D}">
      <dgm:prSet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mpuesto a la Renta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 sobre utilidad neta.</a:t>
          </a:r>
          <a:endParaRPr lang="es-PY" sz="1400" noProof="0" dirty="0"/>
        </a:p>
      </dgm:t>
    </dgm:pt>
    <dgm:pt modelId="{90C96FB4-8177-40ED-B82C-7CBFBBA97C2E}" type="parTrans" cxnId="{34B5690D-6E09-4E11-AA22-577A73CC9ADF}">
      <dgm:prSet/>
      <dgm:spPr/>
      <dgm:t>
        <a:bodyPr/>
        <a:lstStyle/>
        <a:p>
          <a:endParaRPr lang="es-PY" sz="2400" noProof="0"/>
        </a:p>
      </dgm:t>
    </dgm:pt>
    <dgm:pt modelId="{D89EDA1A-98C9-4D5A-B09A-9FE1297153A9}" type="sibTrans" cxnId="{34B5690D-6E09-4E11-AA22-577A73CC9ADF}">
      <dgm:prSet/>
      <dgm:spPr/>
      <dgm:t>
        <a:bodyPr/>
        <a:lstStyle/>
        <a:p>
          <a:endParaRPr lang="es-PY" sz="2400" noProof="0"/>
        </a:p>
      </dgm:t>
    </dgm:pt>
    <dgm:pt modelId="{FB7B7BD3-2747-46DE-9BE3-ECAE22C559EF}">
      <dgm:prSet custT="1"/>
      <dgm:spPr/>
      <dgm:t>
        <a:bodyPr/>
        <a:lstStyle/>
        <a:p>
          <a:endParaRPr lang="es-PY" sz="1400" noProof="0"/>
        </a:p>
      </dgm:t>
    </dgm:pt>
    <dgm:pt modelId="{B5842FF0-D244-4FF1-867F-CB808448AACA}" type="parTrans" cxnId="{5B9EEDBD-98F7-47EE-9442-A175622D2616}">
      <dgm:prSet/>
      <dgm:spPr/>
      <dgm:t>
        <a:bodyPr/>
        <a:lstStyle/>
        <a:p>
          <a:endParaRPr lang="es-PY" sz="2400" noProof="0"/>
        </a:p>
      </dgm:t>
    </dgm:pt>
    <dgm:pt modelId="{F60DBEA0-0E6B-483B-AD89-1DD13429D786}" type="sibTrans" cxnId="{5B9EEDBD-98F7-47EE-9442-A175622D2616}">
      <dgm:prSet/>
      <dgm:spPr/>
      <dgm:t>
        <a:bodyPr/>
        <a:lstStyle/>
        <a:p>
          <a:endParaRPr lang="es-PY" sz="2400" noProof="0"/>
        </a:p>
      </dgm:t>
    </dgm:pt>
    <dgm:pt modelId="{28B07659-0DC8-457D-813F-9630A36F4891}">
      <dgm:prSet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Impuesto al valor agregado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10%</a:t>
          </a:r>
          <a:endParaRPr lang="es-PY" sz="1400" noProof="0" dirty="0"/>
        </a:p>
      </dgm:t>
    </dgm:pt>
    <dgm:pt modelId="{3E115817-4A79-4C42-A97C-BA8E346C37EC}" type="parTrans" cxnId="{AFF844D0-E8AA-4AE9-929D-C4B17483C61B}">
      <dgm:prSet/>
      <dgm:spPr/>
      <dgm:t>
        <a:bodyPr/>
        <a:lstStyle/>
        <a:p>
          <a:endParaRPr lang="es-PY" sz="2400" noProof="0"/>
        </a:p>
      </dgm:t>
    </dgm:pt>
    <dgm:pt modelId="{8195E06A-4F13-4D5D-A52E-212F8797A8DC}" type="sibTrans" cxnId="{AFF844D0-E8AA-4AE9-929D-C4B17483C61B}">
      <dgm:prSet/>
      <dgm:spPr/>
      <dgm:t>
        <a:bodyPr/>
        <a:lstStyle/>
        <a:p>
          <a:endParaRPr lang="es-PY" sz="2400" noProof="0"/>
        </a:p>
      </dgm:t>
    </dgm:pt>
    <dgm:pt modelId="{E0BE1340-F48E-45F0-873D-555166218CF2}">
      <dgm:prSet custT="1"/>
      <dgm:spPr/>
      <dgm:t>
        <a:bodyPr/>
        <a:lstStyle/>
        <a:p>
          <a:r>
            <a:rPr lang="es-PY" altLang="ko-KR" sz="1400" b="1" noProof="0" smtClean="0">
              <a:ea typeface="Batang" pitchFamily="18" charset="-127"/>
              <a:cs typeface="Tahoma" pitchFamily="34" charset="0"/>
            </a:rPr>
            <a:t>Aranceles e impuestos aduaneros: </a:t>
          </a:r>
          <a:r>
            <a:rPr lang="es-PY" altLang="ko-KR" sz="1400" noProof="0" smtClean="0">
              <a:ea typeface="Batang" pitchFamily="18" charset="-127"/>
              <a:cs typeface="Tahoma" pitchFamily="34" charset="0"/>
            </a:rPr>
            <a:t>0%</a:t>
          </a:r>
          <a:endParaRPr lang="es-PY" sz="1400" noProof="0" dirty="0">
            <a:ea typeface="Batang" pitchFamily="18" charset="-127"/>
            <a:cs typeface="Tahoma" pitchFamily="34" charset="0"/>
          </a:endParaRPr>
        </a:p>
      </dgm:t>
    </dgm:pt>
    <dgm:pt modelId="{00873C79-78E3-4433-AFBB-FCB1FF4149AB}" type="parTrans" cxnId="{33E782A5-D499-4DE4-AB56-D880760A9598}">
      <dgm:prSet/>
      <dgm:spPr/>
      <dgm:t>
        <a:bodyPr/>
        <a:lstStyle/>
        <a:p>
          <a:endParaRPr lang="es-PY" sz="2400" noProof="0"/>
        </a:p>
      </dgm:t>
    </dgm:pt>
    <dgm:pt modelId="{51758E5E-CD44-4FD5-8AF0-4E830B109B00}" type="sibTrans" cxnId="{33E782A5-D499-4DE4-AB56-D880760A9598}">
      <dgm:prSet/>
      <dgm:spPr/>
      <dgm:t>
        <a:bodyPr/>
        <a:lstStyle/>
        <a:p>
          <a:endParaRPr lang="es-PY" sz="2400" noProof="0"/>
        </a:p>
      </dgm:t>
    </dgm:pt>
    <dgm:pt modelId="{F597A908-6160-4F4E-88D4-4234BF9BD3AD}">
      <dgm:prSet phldrT="[Texto]" custT="1"/>
      <dgm:spPr/>
      <dgm:t>
        <a:bodyPr/>
        <a:lstStyle/>
        <a:p>
          <a:r>
            <a:rPr lang="es-PY" sz="1400" noProof="0" dirty="0" smtClean="0"/>
            <a:t>BENEFICIOS:</a:t>
          </a:r>
          <a:endParaRPr lang="es-PY" sz="1400" noProof="0" dirty="0"/>
        </a:p>
      </dgm:t>
    </dgm:pt>
    <dgm:pt modelId="{8A2AB062-9DCF-47BF-98E1-C41E60A1B45D}" type="parTrans" cxnId="{7989BB73-ADB7-48C3-9B31-1EA8FBC8223A}">
      <dgm:prSet/>
      <dgm:spPr/>
      <dgm:t>
        <a:bodyPr/>
        <a:lstStyle/>
        <a:p>
          <a:endParaRPr lang="es-PY"/>
        </a:p>
      </dgm:t>
    </dgm:pt>
    <dgm:pt modelId="{1F87FC19-21E6-4120-B672-259DBA5D7C0D}" type="sibTrans" cxnId="{7989BB73-ADB7-48C3-9B31-1EA8FBC8223A}">
      <dgm:prSet/>
      <dgm:spPr/>
      <dgm:t>
        <a:bodyPr/>
        <a:lstStyle/>
        <a:p>
          <a:endParaRPr lang="es-PY"/>
        </a:p>
      </dgm:t>
    </dgm:pt>
    <dgm:pt modelId="{E38A7938-ECF8-43F9-80BA-79F2226F723E}">
      <dgm:prSet phldrT="[Texto]" custT="1"/>
      <dgm:spPr>
        <a:gradFill flip="none"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es-PY" sz="1400" noProof="0" dirty="0" smtClean="0"/>
            <a:t>BENEFICIOS:</a:t>
          </a:r>
          <a:endParaRPr lang="es-PY" sz="1400" noProof="0" dirty="0"/>
        </a:p>
      </dgm:t>
    </dgm:pt>
    <dgm:pt modelId="{2AD1E460-BC4A-4755-AD10-B6DA6FEEE18E}" type="parTrans" cxnId="{A17BECB3-8D9E-4936-8FAD-3626311D9079}">
      <dgm:prSet/>
      <dgm:spPr/>
      <dgm:t>
        <a:bodyPr/>
        <a:lstStyle/>
        <a:p>
          <a:endParaRPr lang="es-PY"/>
        </a:p>
      </dgm:t>
    </dgm:pt>
    <dgm:pt modelId="{FB628251-A2F0-4AED-89D1-AE867CFE609D}" type="sibTrans" cxnId="{A17BECB3-8D9E-4936-8FAD-3626311D9079}">
      <dgm:prSet/>
      <dgm:spPr/>
      <dgm:t>
        <a:bodyPr/>
        <a:lstStyle/>
        <a:p>
          <a:endParaRPr lang="es-PY"/>
        </a:p>
      </dgm:t>
    </dgm:pt>
    <dgm:pt modelId="{BCFD32F4-E55D-4A85-8486-4F393C27F5D2}">
      <dgm:prSet custT="1"/>
      <dgm:spPr/>
      <dgm:t>
        <a:bodyPr/>
        <a:lstStyle/>
        <a:p>
          <a:r>
            <a:rPr lang="es-PY" sz="1400" noProof="0" dirty="0" smtClean="0"/>
            <a:t>BENEFICIOS:</a:t>
          </a:r>
          <a:endParaRPr lang="es-PY" sz="1400" noProof="0" dirty="0"/>
        </a:p>
      </dgm:t>
    </dgm:pt>
    <dgm:pt modelId="{755D92EC-45C0-40F1-AFE6-6E6E2269B7B5}" type="parTrans" cxnId="{62115050-81C4-4030-BF42-D118121ACA85}">
      <dgm:prSet/>
      <dgm:spPr/>
      <dgm:t>
        <a:bodyPr/>
        <a:lstStyle/>
        <a:p>
          <a:endParaRPr lang="es-PY"/>
        </a:p>
      </dgm:t>
    </dgm:pt>
    <dgm:pt modelId="{3656CFDE-7D20-4E00-996F-047D856E524C}" type="sibTrans" cxnId="{62115050-81C4-4030-BF42-D118121ACA85}">
      <dgm:prSet/>
      <dgm:spPr/>
      <dgm:t>
        <a:bodyPr/>
        <a:lstStyle/>
        <a:p>
          <a:endParaRPr lang="es-PY"/>
        </a:p>
      </dgm:t>
    </dgm:pt>
    <dgm:pt modelId="{25CEF301-A6D7-47F8-8688-4EA35E9F68BE}" type="pres">
      <dgm:prSet presAssocID="{E6FB0F00-2ABD-4F31-9A9E-191E30DEBF0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PY"/>
        </a:p>
      </dgm:t>
    </dgm:pt>
    <dgm:pt modelId="{897C311B-A6CA-431B-BA19-E4DB52B8346B}" type="pres">
      <dgm:prSet presAssocID="{EBCEB3A2-5663-4C3D-86C7-5ACABB46C8EE}" presName="composite" presStyleCnt="0"/>
      <dgm:spPr/>
    </dgm:pt>
    <dgm:pt modelId="{AB5F0F27-3F42-4FDE-BD57-F4D461E52CEC}" type="pres">
      <dgm:prSet presAssocID="{EBCEB3A2-5663-4C3D-86C7-5ACABB46C8EE}" presName="parTx" presStyleLbl="alignNode1" presStyleIdx="0" presStyleCnt="3" custLinFactNeighborX="-2198" custLinFactNeighborY="-11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A4CC3BBD-2AF5-4D3D-A096-E6D035671B1C}" type="pres">
      <dgm:prSet presAssocID="{EBCEB3A2-5663-4C3D-86C7-5ACABB46C8EE}" presName="desTx" presStyleLbl="alignAccFollowNode1" presStyleIdx="0" presStyleCnt="3" custScaleY="98510" custLinFactNeighborX="-2198" custLinFactNeighborY="416">
        <dgm:presLayoutVars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401D60B8-9E86-45FE-A87D-53DA6617A0E5}" type="pres">
      <dgm:prSet presAssocID="{8C45EA1F-A4A7-4AE4-9212-79667E8F6F8F}" presName="space" presStyleCnt="0"/>
      <dgm:spPr/>
    </dgm:pt>
    <dgm:pt modelId="{34535610-D294-4FB1-9549-16E5ADF1FF88}" type="pres">
      <dgm:prSet presAssocID="{9634502F-7572-4067-99EB-F3EB6C577FE7}" presName="composite" presStyleCnt="0"/>
      <dgm:spPr/>
    </dgm:pt>
    <dgm:pt modelId="{DC2C1E78-5C12-4BB7-ACF5-2C9FCABCE87F}" type="pres">
      <dgm:prSet presAssocID="{9634502F-7572-4067-99EB-F3EB6C577FE7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32DDBEF5-D2BA-49C7-B17C-3DC225C2FFC7}" type="pres">
      <dgm:prSet presAssocID="{9634502F-7572-4067-99EB-F3EB6C577FE7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14E692D2-C6D0-46C4-A9F2-8F248DB8306B}" type="pres">
      <dgm:prSet presAssocID="{86C38E37-1F60-4A14-A87F-6DA63E136CAE}" presName="space" presStyleCnt="0"/>
      <dgm:spPr/>
    </dgm:pt>
    <dgm:pt modelId="{A6DCF497-E9C4-4BD1-BFBF-3037C79F71EE}" type="pres">
      <dgm:prSet presAssocID="{12A669F7-42E2-40C6-8E3B-41E556016551}" presName="composite" presStyleCnt="0"/>
      <dgm:spPr/>
    </dgm:pt>
    <dgm:pt modelId="{BF02A858-8C03-4D0F-971A-E75B554E59B1}" type="pres">
      <dgm:prSet presAssocID="{12A669F7-42E2-40C6-8E3B-41E556016551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PY"/>
        </a:p>
      </dgm:t>
    </dgm:pt>
    <dgm:pt modelId="{C1B94B1E-20C9-4602-9349-C5D2DF76762B}" type="pres">
      <dgm:prSet presAssocID="{12A669F7-42E2-40C6-8E3B-41E556016551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PY"/>
        </a:p>
      </dgm:t>
    </dgm:pt>
  </dgm:ptLst>
  <dgm:cxnLst>
    <dgm:cxn modelId="{804B1CAA-D12E-40BE-BFED-78E8E9E61CAA}" type="presOf" srcId="{AC987A20-A953-4A6B-B5F2-BCE09985BDDE}" destId="{32DDBEF5-D2BA-49C7-B17C-3DC225C2FFC7}" srcOrd="0" destOrd="0" presId="urn:microsoft.com/office/officeart/2005/8/layout/hList1"/>
    <dgm:cxn modelId="{F4F5449E-6C55-44B6-8794-A893B0637D9F}" srcId="{E6FB0F00-2ABD-4F31-9A9E-191E30DEBF0C}" destId="{9634502F-7572-4067-99EB-F3EB6C577FE7}" srcOrd="1" destOrd="0" parTransId="{A850E665-4B2A-4F2C-A0B5-97D299EF7231}" sibTransId="{86C38E37-1F60-4A14-A87F-6DA63E136CAE}"/>
    <dgm:cxn modelId="{34EC79EF-748A-4657-BA5E-A6CA82F1B169}" type="presOf" srcId="{12A669F7-42E2-40C6-8E3B-41E556016551}" destId="{BF02A858-8C03-4D0F-971A-E75B554E59B1}" srcOrd="0" destOrd="0" presId="urn:microsoft.com/office/officeart/2005/8/layout/hList1"/>
    <dgm:cxn modelId="{8B9547E8-6001-47EB-AD4D-1173254EFBA4}" srcId="{12A669F7-42E2-40C6-8E3B-41E556016551}" destId="{A44B5E1A-C0C8-4DD8-A7DD-DA0DA23DB49C}" srcOrd="0" destOrd="0" parTransId="{55DC8D38-691E-4BE4-985E-5F815F877C67}" sibTransId="{3F4C519E-3297-4AB7-9286-76EEC535F508}"/>
    <dgm:cxn modelId="{08D8D7A0-CC51-4D57-95BB-E566825D494B}" srcId="{EBCEB3A2-5663-4C3D-86C7-5ACABB46C8EE}" destId="{51E29447-02CE-457E-A721-6D29C6DB07FA}" srcOrd="2" destOrd="0" parTransId="{5568DA98-B8CA-4903-80F3-6F965B7A66F8}" sibTransId="{6A9C5316-126C-41CA-8038-7EE65BA72FE2}"/>
    <dgm:cxn modelId="{4732D284-C448-41CC-BD94-87851019451F}" type="presOf" srcId="{668B7823-486F-4BAB-A476-C26791D9265C}" destId="{A4CC3BBD-2AF5-4D3D-A096-E6D035671B1C}" srcOrd="0" destOrd="3" presId="urn:microsoft.com/office/officeart/2005/8/layout/hList1"/>
    <dgm:cxn modelId="{48423330-581F-4940-8AB3-7EB28ED7D745}" type="presOf" srcId="{0ABE4E5F-EFA7-4E84-8C93-EEAEB8960F36}" destId="{32DDBEF5-D2BA-49C7-B17C-3DC225C2FFC7}" srcOrd="0" destOrd="3" presId="urn:microsoft.com/office/officeart/2005/8/layout/hList1"/>
    <dgm:cxn modelId="{A17BECB3-8D9E-4936-8FAD-3626311D9079}" srcId="{9634502F-7572-4067-99EB-F3EB6C577FE7}" destId="{E38A7938-ECF8-43F9-80BA-79F2226F723E}" srcOrd="1" destOrd="0" parTransId="{2AD1E460-BC4A-4755-AD10-B6DA6FEEE18E}" sibTransId="{FB628251-A2F0-4AED-89D1-AE867CFE609D}"/>
    <dgm:cxn modelId="{3316BA43-A55E-4EDE-9129-74B6841B9212}" srcId="{F597A908-6160-4F4E-88D4-4234BF9BD3AD}" destId="{668B7823-486F-4BAB-A476-C26791D9265C}" srcOrd="1" destOrd="0" parTransId="{D1126161-93FD-4796-A009-D8BBCFFDF7F9}" sibTransId="{5E20C9B5-A0CA-4C84-9CDB-C0D8B7EE7165}"/>
    <dgm:cxn modelId="{02E40E1F-6D9D-4C1A-919C-22B627BC333C}" type="presOf" srcId="{E6FB0F00-2ABD-4F31-9A9E-191E30DEBF0C}" destId="{25CEF301-A6D7-47F8-8688-4EA35E9F68BE}" srcOrd="0" destOrd="0" presId="urn:microsoft.com/office/officeart/2005/8/layout/hList1"/>
    <dgm:cxn modelId="{48CE98BA-7847-4A28-B28E-1692562067B7}" type="presOf" srcId="{F11FA0CE-7FB8-40DB-A8FC-8AC16622E8D5}" destId="{A4CC3BBD-2AF5-4D3D-A096-E6D035671B1C}" srcOrd="0" destOrd="4" presId="urn:microsoft.com/office/officeart/2005/8/layout/hList1"/>
    <dgm:cxn modelId="{52D7A671-0867-4785-9168-CF6F69E8B560}" type="presOf" srcId="{F597A908-6160-4F4E-88D4-4234BF9BD3AD}" destId="{A4CC3BBD-2AF5-4D3D-A096-E6D035671B1C}" srcOrd="0" destOrd="1" presId="urn:microsoft.com/office/officeart/2005/8/layout/hList1"/>
    <dgm:cxn modelId="{5B9EEDBD-98F7-47EE-9442-A175622D2616}" srcId="{12A669F7-42E2-40C6-8E3B-41E556016551}" destId="{FB7B7BD3-2747-46DE-9BE3-ECAE22C559EF}" srcOrd="2" destOrd="0" parTransId="{B5842FF0-D244-4FF1-867F-CB808448AACA}" sibTransId="{F60DBEA0-0E6B-483B-AD89-1DD13429D786}"/>
    <dgm:cxn modelId="{8103F6C1-E466-4222-8A86-61E052C3CE8F}" type="presOf" srcId="{A44B5E1A-C0C8-4DD8-A7DD-DA0DA23DB49C}" destId="{C1B94B1E-20C9-4602-9349-C5D2DF76762B}" srcOrd="0" destOrd="0" presId="urn:microsoft.com/office/officeart/2005/8/layout/hList1"/>
    <dgm:cxn modelId="{638ADE04-D211-4FB8-9730-A199F1330B20}" srcId="{E38A7938-ECF8-43F9-80BA-79F2226F723E}" destId="{0ABE4E5F-EFA7-4E84-8C93-EEAEB8960F36}" srcOrd="1" destOrd="0" parTransId="{E38C4C4A-5551-44C7-B7F9-0362F26A7D6E}" sibTransId="{592DC60D-07FC-44B8-8DD9-8E6706CCCA48}"/>
    <dgm:cxn modelId="{42506536-55D4-4A05-98D9-0B26AA63B7E1}" srcId="{9634502F-7572-4067-99EB-F3EB6C577FE7}" destId="{970CE7F3-5737-4EDC-8BE5-3AD20DD15A95}" srcOrd="2" destOrd="0" parTransId="{0E0196E1-8BE0-4CEC-A71E-95D62A6C0B92}" sibTransId="{DFB59AE8-8841-4DA5-AE4E-3AF18B620B24}"/>
    <dgm:cxn modelId="{CBAF76B5-D5C6-4EA0-A925-585CD3AE970F}" srcId="{E6FB0F00-2ABD-4F31-9A9E-191E30DEBF0C}" destId="{12A669F7-42E2-40C6-8E3B-41E556016551}" srcOrd="2" destOrd="0" parTransId="{67441AAE-1A3A-4E0A-8488-A07506F9D3B9}" sibTransId="{68F6D216-3A7B-4AC5-832D-4988E333A836}"/>
    <dgm:cxn modelId="{AF0581D1-9B95-4367-9BF1-76720801D54D}" srcId="{F597A908-6160-4F4E-88D4-4234BF9BD3AD}" destId="{F11FA0CE-7FB8-40DB-A8FC-8AC16622E8D5}" srcOrd="2" destOrd="0" parTransId="{048C4454-881B-4E75-A582-F3052515A8E9}" sibTransId="{3E8C973F-C68F-4741-982B-4662DF878483}"/>
    <dgm:cxn modelId="{89984053-58BD-48D7-AF07-6238B8EB7B39}" type="presOf" srcId="{8F4458A4-05C3-4D3C-832B-65D4E30B95B8}" destId="{32DDBEF5-D2BA-49C7-B17C-3DC225C2FFC7}" srcOrd="0" destOrd="2" presId="urn:microsoft.com/office/officeart/2005/8/layout/hList1"/>
    <dgm:cxn modelId="{62115050-81C4-4030-BF42-D118121ACA85}" srcId="{12A669F7-42E2-40C6-8E3B-41E556016551}" destId="{BCFD32F4-E55D-4A85-8486-4F393C27F5D2}" srcOrd="1" destOrd="0" parTransId="{755D92EC-45C0-40F1-AFE6-6E6E2269B7B5}" sibTransId="{3656CFDE-7D20-4E00-996F-047D856E524C}"/>
    <dgm:cxn modelId="{8FB42688-00F6-4A1B-8F86-79E63BD231ED}" type="presOf" srcId="{E38A7938-ECF8-43F9-80BA-79F2226F723E}" destId="{32DDBEF5-D2BA-49C7-B17C-3DC225C2FFC7}" srcOrd="0" destOrd="1" presId="urn:microsoft.com/office/officeart/2005/8/layout/hList1"/>
    <dgm:cxn modelId="{F8FB9BA7-D5A4-435E-84FD-5145A54E1A3E}" type="presOf" srcId="{F4EBB13C-F675-4574-9459-B9D44344546D}" destId="{C1B94B1E-20C9-4602-9349-C5D2DF76762B}" srcOrd="0" destOrd="2" presId="urn:microsoft.com/office/officeart/2005/8/layout/hList1"/>
    <dgm:cxn modelId="{AFFE7C2E-10B9-466C-BEF5-4905689EFA80}" type="presOf" srcId="{970CE7F3-5737-4EDC-8BE5-3AD20DD15A95}" destId="{32DDBEF5-D2BA-49C7-B17C-3DC225C2FFC7}" srcOrd="0" destOrd="5" presId="urn:microsoft.com/office/officeart/2005/8/layout/hList1"/>
    <dgm:cxn modelId="{EC7F6508-9C8D-4077-B037-C180E718695F}" srcId="{F597A908-6160-4F4E-88D4-4234BF9BD3AD}" destId="{C4FCC4FC-A09B-4C41-A279-14B997B9855B}" srcOrd="0" destOrd="0" parTransId="{29D14A07-199F-4898-8070-2D5B93F8AEAA}" sibTransId="{C52C7C22-83A4-4AC3-B4D9-1492B0D60DC6}"/>
    <dgm:cxn modelId="{3EE76F3A-671D-462F-9D16-E1B5816835AA}" type="presOf" srcId="{FB7B7BD3-2747-46DE-9BE3-ECAE22C559EF}" destId="{C1B94B1E-20C9-4602-9349-C5D2DF76762B}" srcOrd="0" destOrd="5" presId="urn:microsoft.com/office/officeart/2005/8/layout/hList1"/>
    <dgm:cxn modelId="{E16B04C2-2DD2-4CC8-A654-C40C7466F1BF}" srcId="{9634502F-7572-4067-99EB-F3EB6C577FE7}" destId="{AC987A20-A953-4A6B-B5F2-BCE09985BDDE}" srcOrd="0" destOrd="0" parTransId="{7509C4F2-DD4C-46AB-AC74-A6AE45E3496B}" sibTransId="{BE7C0033-7551-487B-A8CD-723F3FA90F3A}"/>
    <dgm:cxn modelId="{33E782A5-D499-4DE4-AB56-D880760A9598}" srcId="{BCFD32F4-E55D-4A85-8486-4F393C27F5D2}" destId="{E0BE1340-F48E-45F0-873D-555166218CF2}" srcOrd="2" destOrd="0" parTransId="{00873C79-78E3-4433-AFBB-FCB1FF4149AB}" sibTransId="{51758E5E-CD44-4FD5-8AF0-4E830B109B00}"/>
    <dgm:cxn modelId="{56D1C813-F938-4290-B210-73F5C7CD8C64}" type="presOf" srcId="{51E29447-02CE-457E-A721-6D29C6DB07FA}" destId="{A4CC3BBD-2AF5-4D3D-A096-E6D035671B1C}" srcOrd="0" destOrd="5" presId="urn:microsoft.com/office/officeart/2005/8/layout/hList1"/>
    <dgm:cxn modelId="{7989BB73-ADB7-48C3-9B31-1EA8FBC8223A}" srcId="{EBCEB3A2-5663-4C3D-86C7-5ACABB46C8EE}" destId="{F597A908-6160-4F4E-88D4-4234BF9BD3AD}" srcOrd="1" destOrd="0" parTransId="{8A2AB062-9DCF-47BF-98E1-C41E60A1B45D}" sibTransId="{1F87FC19-21E6-4120-B672-259DBA5D7C0D}"/>
    <dgm:cxn modelId="{AFF844D0-E8AA-4AE9-929D-C4B17483C61B}" srcId="{BCFD32F4-E55D-4A85-8486-4F393C27F5D2}" destId="{28B07659-0DC8-457D-813F-9630A36F4891}" srcOrd="1" destOrd="0" parTransId="{3E115817-4A79-4C42-A97C-BA8E346C37EC}" sibTransId="{8195E06A-4F13-4D5D-A52E-212F8797A8DC}"/>
    <dgm:cxn modelId="{75BA84E2-45EA-450E-9C86-5E154133A5E2}" type="presOf" srcId="{9634502F-7572-4067-99EB-F3EB6C577FE7}" destId="{DC2C1E78-5C12-4BB7-ACF5-2C9FCABCE87F}" srcOrd="0" destOrd="0" presId="urn:microsoft.com/office/officeart/2005/8/layout/hList1"/>
    <dgm:cxn modelId="{5518786A-AC7B-4636-9661-DBB1786EB812}" type="presOf" srcId="{71F88A31-B89D-49CD-8305-48EDC5C33989}" destId="{A4CC3BBD-2AF5-4D3D-A096-E6D035671B1C}" srcOrd="0" destOrd="0" presId="urn:microsoft.com/office/officeart/2005/8/layout/hList1"/>
    <dgm:cxn modelId="{7B63030B-5503-49B1-9A1B-92664DCA7012}" srcId="{E6FB0F00-2ABD-4F31-9A9E-191E30DEBF0C}" destId="{EBCEB3A2-5663-4C3D-86C7-5ACABB46C8EE}" srcOrd="0" destOrd="0" parTransId="{EE1AD953-0B10-4F84-A57F-2C50BBEE36B7}" sibTransId="{8C45EA1F-A4A7-4AE4-9212-79667E8F6F8F}"/>
    <dgm:cxn modelId="{2601C484-BF1C-4672-92BA-DE50B28F44C8}" type="presOf" srcId="{BCFD32F4-E55D-4A85-8486-4F393C27F5D2}" destId="{C1B94B1E-20C9-4602-9349-C5D2DF76762B}" srcOrd="0" destOrd="1" presId="urn:microsoft.com/office/officeart/2005/8/layout/hList1"/>
    <dgm:cxn modelId="{CCCEDCDA-98D5-4300-8D3F-98E6AD8064B1}" srcId="{EBCEB3A2-5663-4C3D-86C7-5ACABB46C8EE}" destId="{71F88A31-B89D-49CD-8305-48EDC5C33989}" srcOrd="0" destOrd="0" parTransId="{9D58B4E3-1A70-4C0E-B253-2EA5F313F8CF}" sibTransId="{AFC8CFA3-D18A-44B5-B4A1-D914DA82E84A}"/>
    <dgm:cxn modelId="{2EFBA2F2-6420-4B79-90B7-339351D0CEA1}" srcId="{E38A7938-ECF8-43F9-80BA-79F2226F723E}" destId="{8F4458A4-05C3-4D3C-832B-65D4E30B95B8}" srcOrd="0" destOrd="0" parTransId="{1FCAADE3-D9C8-4ABB-9277-79985DB81665}" sibTransId="{17BD48D5-6485-4678-B447-1A8EC43117ED}"/>
    <dgm:cxn modelId="{1C1D1EF5-8F94-4D9C-B2B6-A4D9A26D3962}" type="presOf" srcId="{EBCEB3A2-5663-4C3D-86C7-5ACABB46C8EE}" destId="{AB5F0F27-3F42-4FDE-BD57-F4D461E52CEC}" srcOrd="0" destOrd="0" presId="urn:microsoft.com/office/officeart/2005/8/layout/hList1"/>
    <dgm:cxn modelId="{F43885B2-D935-40CA-AC75-9ED36C878029}" type="presOf" srcId="{28B07659-0DC8-457D-813F-9630A36F4891}" destId="{C1B94B1E-20C9-4602-9349-C5D2DF76762B}" srcOrd="0" destOrd="3" presId="urn:microsoft.com/office/officeart/2005/8/layout/hList1"/>
    <dgm:cxn modelId="{4C41DE22-0182-4318-96CA-A93A383E4D9C}" type="presOf" srcId="{E0BE1340-F48E-45F0-873D-555166218CF2}" destId="{C1B94B1E-20C9-4602-9349-C5D2DF76762B}" srcOrd="0" destOrd="4" presId="urn:microsoft.com/office/officeart/2005/8/layout/hList1"/>
    <dgm:cxn modelId="{68DD620F-FB46-4D3C-B681-BAC0F959AFA1}" type="presOf" srcId="{30C250D1-2C42-4B37-8ADA-B2A258A51CF0}" destId="{32DDBEF5-D2BA-49C7-B17C-3DC225C2FFC7}" srcOrd="0" destOrd="4" presId="urn:microsoft.com/office/officeart/2005/8/layout/hList1"/>
    <dgm:cxn modelId="{34B5690D-6E09-4E11-AA22-577A73CC9ADF}" srcId="{BCFD32F4-E55D-4A85-8486-4F393C27F5D2}" destId="{F4EBB13C-F675-4574-9459-B9D44344546D}" srcOrd="0" destOrd="0" parTransId="{90C96FB4-8177-40ED-B82C-7CBFBBA97C2E}" sibTransId="{D89EDA1A-98C9-4D5A-B09A-9FE1297153A9}"/>
    <dgm:cxn modelId="{EC95BE7D-EAF3-4CEC-B84A-E6A2662C7F78}" type="presOf" srcId="{C4FCC4FC-A09B-4C41-A279-14B997B9855B}" destId="{A4CC3BBD-2AF5-4D3D-A096-E6D035671B1C}" srcOrd="0" destOrd="2" presId="urn:microsoft.com/office/officeart/2005/8/layout/hList1"/>
    <dgm:cxn modelId="{54B36D35-F8B1-4CBB-80A4-797864B0A1A4}" srcId="{E38A7938-ECF8-43F9-80BA-79F2226F723E}" destId="{30C250D1-2C42-4B37-8ADA-B2A258A51CF0}" srcOrd="2" destOrd="0" parTransId="{D5041B17-7CB5-4F6E-AB23-A8E7957AE508}" sibTransId="{F03E6FA2-79CB-438D-A6CD-F45F2AE094F0}"/>
    <dgm:cxn modelId="{48C624C2-A511-48E2-B8D5-DD8A6A9F52E8}" type="presParOf" srcId="{25CEF301-A6D7-47F8-8688-4EA35E9F68BE}" destId="{897C311B-A6CA-431B-BA19-E4DB52B8346B}" srcOrd="0" destOrd="0" presId="urn:microsoft.com/office/officeart/2005/8/layout/hList1"/>
    <dgm:cxn modelId="{9DADBE94-3E43-4F95-9C9A-73A826985AFB}" type="presParOf" srcId="{897C311B-A6CA-431B-BA19-E4DB52B8346B}" destId="{AB5F0F27-3F42-4FDE-BD57-F4D461E52CEC}" srcOrd="0" destOrd="0" presId="urn:microsoft.com/office/officeart/2005/8/layout/hList1"/>
    <dgm:cxn modelId="{B11B05F0-F6C1-41A2-A92C-EE1834F1EBA9}" type="presParOf" srcId="{897C311B-A6CA-431B-BA19-E4DB52B8346B}" destId="{A4CC3BBD-2AF5-4D3D-A096-E6D035671B1C}" srcOrd="1" destOrd="0" presId="urn:microsoft.com/office/officeart/2005/8/layout/hList1"/>
    <dgm:cxn modelId="{07C96B84-1ACB-4AF9-8017-856D5661486F}" type="presParOf" srcId="{25CEF301-A6D7-47F8-8688-4EA35E9F68BE}" destId="{401D60B8-9E86-45FE-A87D-53DA6617A0E5}" srcOrd="1" destOrd="0" presId="urn:microsoft.com/office/officeart/2005/8/layout/hList1"/>
    <dgm:cxn modelId="{ABD84791-132C-408C-89DD-5700747D9E39}" type="presParOf" srcId="{25CEF301-A6D7-47F8-8688-4EA35E9F68BE}" destId="{34535610-D294-4FB1-9549-16E5ADF1FF88}" srcOrd="2" destOrd="0" presId="urn:microsoft.com/office/officeart/2005/8/layout/hList1"/>
    <dgm:cxn modelId="{9AE8E322-86EE-4C0F-B23E-5AF21BADCDD7}" type="presParOf" srcId="{34535610-D294-4FB1-9549-16E5ADF1FF88}" destId="{DC2C1E78-5C12-4BB7-ACF5-2C9FCABCE87F}" srcOrd="0" destOrd="0" presId="urn:microsoft.com/office/officeart/2005/8/layout/hList1"/>
    <dgm:cxn modelId="{6C644975-2940-4B84-83BE-B7631CF75F47}" type="presParOf" srcId="{34535610-D294-4FB1-9549-16E5ADF1FF88}" destId="{32DDBEF5-D2BA-49C7-B17C-3DC225C2FFC7}" srcOrd="1" destOrd="0" presId="urn:microsoft.com/office/officeart/2005/8/layout/hList1"/>
    <dgm:cxn modelId="{886D6E4C-B53F-4B12-B896-135E70641530}" type="presParOf" srcId="{25CEF301-A6D7-47F8-8688-4EA35E9F68BE}" destId="{14E692D2-C6D0-46C4-A9F2-8F248DB8306B}" srcOrd="3" destOrd="0" presId="urn:microsoft.com/office/officeart/2005/8/layout/hList1"/>
    <dgm:cxn modelId="{FE06176D-A263-49B6-A070-8A6917CC68F4}" type="presParOf" srcId="{25CEF301-A6D7-47F8-8688-4EA35E9F68BE}" destId="{A6DCF497-E9C4-4BD1-BFBF-3037C79F71EE}" srcOrd="4" destOrd="0" presId="urn:microsoft.com/office/officeart/2005/8/layout/hList1"/>
    <dgm:cxn modelId="{38966593-8BAC-4214-828D-2B9E423B5B45}" type="presParOf" srcId="{A6DCF497-E9C4-4BD1-BFBF-3037C79F71EE}" destId="{BF02A858-8C03-4D0F-971A-E75B554E59B1}" srcOrd="0" destOrd="0" presId="urn:microsoft.com/office/officeart/2005/8/layout/hList1"/>
    <dgm:cxn modelId="{09C0AF0B-BC22-4A9E-816F-4E2128D72843}" type="presParOf" srcId="{A6DCF497-E9C4-4BD1-BFBF-3037C79F71EE}" destId="{C1B94B1E-20C9-4602-9349-C5D2DF76762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2#2">
  <dgm:title val=""/>
  <dgm:desc val=""/>
  <dgm:catLst>
    <dgm:cat type="list" pri="6000"/>
    <dgm:cat type="relationship" pri="1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52</cdr:x>
      <cdr:y>0.52214</cdr:y>
    </cdr:from>
    <cdr:to>
      <cdr:x>0.9704</cdr:x>
      <cdr:y>0.57242</cdr:y>
    </cdr:to>
    <cdr:sp macro="" textlink="">
      <cdr:nvSpPr>
        <cdr:cNvPr id="8" name="8 CuadroTexto"/>
        <cdr:cNvSpPr txBox="1"/>
      </cdr:nvSpPr>
      <cdr:spPr>
        <a:xfrm xmlns:a="http://schemas.openxmlformats.org/drawingml/2006/main">
          <a:off x="7282486" y="2556662"/>
          <a:ext cx="980989" cy="24619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es-ES" sz="1000" b="1" dirty="0" smtClean="0">
              <a:solidFill>
                <a:srgbClr val="669900"/>
              </a:solidFill>
              <a:latin typeface="Calibri" pitchFamily="34" charset="0"/>
              <a:cs typeface="Arial" pitchFamily="34" charset="0"/>
            </a:rPr>
            <a:t>Real :130</a:t>
          </a:r>
          <a:endParaRPr lang="es-ES" sz="1000" b="1" dirty="0">
            <a:solidFill>
              <a:srgbClr val="669900"/>
            </a:solidFill>
            <a:latin typeface="Calibri" pitchFamily="34" charset="0"/>
            <a:cs typeface="Arial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097</cdr:x>
      <cdr:y>0.07232</cdr:y>
    </cdr:from>
    <cdr:to>
      <cdr:x>0.92494</cdr:x>
      <cdr:y>0.12656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891208" y="288032"/>
          <a:ext cx="7272808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PY" sz="1100" b="1" dirty="0" smtClean="0"/>
            <a:t> 36%                 46%                   28%                 32%                 18%                   15%                   43%                 75%</a:t>
          </a:r>
          <a:endParaRPr lang="es-PY" sz="11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4820" cy="461010"/>
          </a:xfrm>
          <a:prstGeom prst="rect">
            <a:avLst/>
          </a:prstGeom>
        </p:spPr>
        <p:txBody>
          <a:bodyPr vert="horz" lIns="92300" tIns="46149" rIns="92300" bIns="46149" rtlCol="0"/>
          <a:lstStyle>
            <a:lvl1pPr algn="l" eaLnBrk="0" latinLnBrk="1" hangingPunct="0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775" y="0"/>
            <a:ext cx="3004820" cy="461010"/>
          </a:xfrm>
          <a:prstGeom prst="rect">
            <a:avLst/>
          </a:prstGeom>
        </p:spPr>
        <p:txBody>
          <a:bodyPr vert="horz" lIns="92300" tIns="46149" rIns="92300" bIns="46149" rtlCol="0"/>
          <a:lstStyle>
            <a:lvl1pPr algn="r" eaLnBrk="0" latinLnBrk="1" hangingPunct="0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435965C4-F9E0-4C37-95EE-9E7B85195E41}" type="datetimeFigureOut">
              <a:rPr lang="en-US"/>
              <a:pPr>
                <a:defRPr/>
              </a:pPr>
              <a:t>8/15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692150"/>
            <a:ext cx="46101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0" tIns="46149" rIns="92300" bIns="4614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3420" y="4379595"/>
            <a:ext cx="5547360" cy="4149090"/>
          </a:xfrm>
          <a:prstGeom prst="rect">
            <a:avLst/>
          </a:prstGeom>
        </p:spPr>
        <p:txBody>
          <a:bodyPr vert="horz" lIns="92300" tIns="46149" rIns="92300" bIns="46149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7590"/>
            <a:ext cx="3004820" cy="461010"/>
          </a:xfrm>
          <a:prstGeom prst="rect">
            <a:avLst/>
          </a:prstGeom>
        </p:spPr>
        <p:txBody>
          <a:bodyPr vert="horz" lIns="92300" tIns="46149" rIns="92300" bIns="46149" rtlCol="0" anchor="b"/>
          <a:lstStyle>
            <a:lvl1pPr algn="l" eaLnBrk="0" latinLnBrk="1" hangingPunct="0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775" y="8757590"/>
            <a:ext cx="3004820" cy="461010"/>
          </a:xfrm>
          <a:prstGeom prst="rect">
            <a:avLst/>
          </a:prstGeom>
        </p:spPr>
        <p:txBody>
          <a:bodyPr vert="horz" lIns="92300" tIns="46149" rIns="92300" bIns="46149" rtlCol="0" anchor="b"/>
          <a:lstStyle>
            <a:lvl1pPr algn="r" eaLnBrk="0" latinLnBrk="1" hangingPunct="0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535AC6E9-A0DC-4097-9DD4-1E1E3199913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0223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Y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5AC6E9-A0DC-4097-9DD4-1E1E3199913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6195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8B19BAF-EAD4-4FE7-AD94-E0C3CFB4D30D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es-ES" smtClean="0"/>
          </a:p>
        </p:txBody>
      </p:sp>
      <p:sp>
        <p:nvSpPr>
          <p:cNvPr id="4100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E026F4-D465-4C7B-B921-2CB84EDC7329}" type="slidenum">
              <a:rPr lang="es-PY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es-PY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224CD33-C109-4DA7-A218-A976EBD69352}" type="slidenum">
              <a:rPr lang="pt-BR"/>
              <a:pPr/>
              <a:t>30</a:t>
            </a:fld>
            <a:endParaRPr lang="pt-BR"/>
          </a:p>
        </p:txBody>
      </p:sp>
      <p:sp>
        <p:nvSpPr>
          <p:cNvPr id="66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  <a:p>
            <a:endParaRPr lang="es-E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Recursos</a:t>
            </a:r>
            <a:r>
              <a:rPr lang="es-PY" baseline="0" dirty="0" smtClean="0"/>
              <a:t> propios y del Tesoro: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baseline="0" dirty="0" smtClean="0"/>
              <a:t>Para afrontar los gastos corrientes y de </a:t>
            </a:r>
            <a:r>
              <a:rPr lang="es-PY" baseline="0" dirty="0" err="1" smtClean="0"/>
              <a:t>inversion</a:t>
            </a:r>
            <a:r>
              <a:rPr lang="es-PY" baseline="0" dirty="0" smtClean="0"/>
              <a:t> en infraestructura no contemplados en el PMT o préstamos especiales 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dirty="0" smtClean="0"/>
              <a:t>SIVIPAR Fideicomiso para contrapartida 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s-PY" dirty="0" smtClean="0"/>
          </a:p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Concesiones: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s-PY" dirty="0" smtClean="0"/>
          </a:p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Préstamos: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dirty="0" smtClean="0"/>
              <a:t>Cuya contrapartida será cubierta por los bonos soberanos (hemos enviado el proyecto de ley y esperamos su aprobación)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s-PY" dirty="0" smtClean="0"/>
          </a:p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Alianza Público Privada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dirty="0" smtClean="0"/>
              <a:t>Ley</a:t>
            </a:r>
            <a:r>
              <a:rPr lang="es-PY" baseline="0" dirty="0" smtClean="0"/>
              <a:t> de PPP (tiene nuevo nombre hoy) que debe ser consensuada </a:t>
            </a:r>
            <a:endParaRPr lang="es-PY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D6814-F9D6-488B-8BF2-04D92ADD4A5D}" type="slidenum">
              <a:rPr lang="es-PY" smtClean="0"/>
              <a:t>31</a:t>
            </a:fld>
            <a:endParaRPr lang="es-PY"/>
          </a:p>
        </p:txBody>
      </p:sp>
    </p:spTree>
    <p:extLst>
      <p:ext uri="{BB962C8B-B14F-4D97-AF65-F5344CB8AC3E}">
        <p14:creationId xmlns:p14="http://schemas.microsoft.com/office/powerpoint/2010/main" val="9437813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Recursos</a:t>
            </a:r>
            <a:r>
              <a:rPr lang="es-PY" baseline="0" dirty="0" smtClean="0"/>
              <a:t> propios y del Tesoro: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baseline="0" dirty="0" smtClean="0"/>
              <a:t>Para afrontar los gastos corrientes y de </a:t>
            </a:r>
            <a:r>
              <a:rPr lang="es-PY" baseline="0" dirty="0" err="1" smtClean="0"/>
              <a:t>inversion</a:t>
            </a:r>
            <a:r>
              <a:rPr lang="es-PY" baseline="0" dirty="0" smtClean="0"/>
              <a:t> en infraestructura no contemplados en el PMT o préstamos especiales 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dirty="0" smtClean="0"/>
              <a:t>SIVIPAR Fideicomiso para contrapartida 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s-PY" dirty="0" smtClean="0"/>
          </a:p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Concesiones: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s-PY" dirty="0" smtClean="0"/>
          </a:p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Préstamos: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dirty="0" smtClean="0"/>
              <a:t>Cuya contrapartida será cubierta por los bonos soberanos (hemos enviado el proyecto de ley y esperamos su aprobación)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s-PY" dirty="0" smtClean="0"/>
          </a:p>
          <a:p>
            <a:pPr marL="0" lvl="1" defTabSz="9230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dirty="0" smtClean="0"/>
              <a:t>Alianza Público Privada</a:t>
            </a:r>
          </a:p>
          <a:p>
            <a:pPr marL="230772" lvl="1" indent="-230772" defTabSz="923087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dirty="0" smtClean="0"/>
              <a:t>Ley</a:t>
            </a:r>
            <a:r>
              <a:rPr lang="es-PY" baseline="0" dirty="0" smtClean="0"/>
              <a:t> de PPP (tiene nuevo nombre hoy) que debe ser consensuada </a:t>
            </a:r>
            <a:endParaRPr lang="es-PY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D6814-F9D6-488B-8BF2-04D92ADD4A5D}" type="slidenum">
              <a:rPr lang="es-PY" smtClean="0"/>
              <a:t>32</a:t>
            </a:fld>
            <a:endParaRPr lang="es-PY"/>
          </a:p>
        </p:txBody>
      </p:sp>
    </p:spTree>
    <p:extLst>
      <p:ext uri="{BB962C8B-B14F-4D97-AF65-F5344CB8AC3E}">
        <p14:creationId xmlns:p14="http://schemas.microsoft.com/office/powerpoint/2010/main" val="9437813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ES" smtClean="0">
              <a:ea typeface="ＭＳ Ｐゴシック" pitchFamily="34" charset="-128"/>
            </a:endParaRPr>
          </a:p>
        </p:txBody>
      </p:sp>
      <p:sp>
        <p:nvSpPr>
          <p:cNvPr id="3072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9C6262A-887B-42CD-9B58-4A4E0ABAA82A}" type="slidenum">
              <a:rPr lang="es-PY"/>
              <a:pPr fontAlgn="base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s-PY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45CB174-B086-4AAB-B434-F8395ADBD62B}" type="slidenum">
              <a:rPr lang="es-ES"/>
              <a:pPr fontAlgn="base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s-ES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37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482392" indent="-482392" fontAlgn="auto">
              <a:spcBef>
                <a:spcPts val="0"/>
              </a:spcBef>
              <a:spcAft>
                <a:spcPts val="0"/>
              </a:spcAft>
              <a:buFontTx/>
              <a:buAutoNum type="alphaLcParenR"/>
              <a:defRPr/>
            </a:pPr>
            <a:r>
              <a:rPr lang="es-ES" sz="2500" dirty="0" smtClean="0">
                <a:solidFill>
                  <a:srgbClr val="5F5F5F"/>
                </a:solidFill>
              </a:rPr>
              <a:t>Exoneración de los tributos para la </a:t>
            </a:r>
            <a:r>
              <a:rPr lang="es-ES" sz="2500" b="1" u="sng" dirty="0" smtClean="0">
                <a:solidFill>
                  <a:srgbClr val="5F5F5F"/>
                </a:solidFill>
              </a:rPr>
              <a:t>constitución  de sociedades</a:t>
            </a:r>
            <a:r>
              <a:rPr lang="es-ES" sz="2500" dirty="0" smtClean="0">
                <a:solidFill>
                  <a:srgbClr val="5F5F5F"/>
                </a:solidFill>
              </a:rPr>
              <a:t>.</a:t>
            </a:r>
          </a:p>
          <a:p>
            <a:pPr marL="482392" indent="-482392" fontAlgn="auto">
              <a:spcBef>
                <a:spcPts val="0"/>
              </a:spcBef>
              <a:spcAft>
                <a:spcPts val="0"/>
              </a:spcAft>
              <a:buFontTx/>
              <a:buAutoNum type="alphaLcParenR"/>
              <a:defRPr/>
            </a:pPr>
            <a:endParaRPr lang="es-ES" sz="2500" dirty="0" smtClean="0">
              <a:solidFill>
                <a:srgbClr val="5F5F5F"/>
              </a:solidFill>
            </a:endParaRPr>
          </a:p>
          <a:p>
            <a:pPr marL="482392" indent="-482392" fontAlgn="auto">
              <a:spcBef>
                <a:spcPts val="0"/>
              </a:spcBef>
              <a:spcAft>
                <a:spcPts val="0"/>
              </a:spcAft>
              <a:buFontTx/>
              <a:buAutoNum type="alphaLcParenR"/>
              <a:defRPr/>
            </a:pPr>
            <a:r>
              <a:rPr lang="es-ES" sz="2500" dirty="0" smtClean="0">
                <a:solidFill>
                  <a:srgbClr val="5F5F5F"/>
                </a:solidFill>
              </a:rPr>
              <a:t>Exoneración de los tributos para la </a:t>
            </a:r>
            <a:r>
              <a:rPr lang="es-ES" sz="2500" b="1" u="sng" dirty="0" smtClean="0">
                <a:solidFill>
                  <a:srgbClr val="5F5F5F"/>
                </a:solidFill>
              </a:rPr>
              <a:t>importación de bienes de capital</a:t>
            </a:r>
            <a:r>
              <a:rPr lang="es-ES" sz="2500" dirty="0" smtClean="0">
                <a:solidFill>
                  <a:srgbClr val="5F5F5F"/>
                </a:solidFill>
              </a:rPr>
              <a:t> (cuando la actividad es nueva esta exonerado también del IVA de los bienes de capital).</a:t>
            </a:r>
          </a:p>
          <a:p>
            <a:pPr marL="482392" indent="-482392" fontAlgn="auto">
              <a:spcBef>
                <a:spcPts val="0"/>
              </a:spcBef>
              <a:spcAft>
                <a:spcPts val="0"/>
              </a:spcAft>
              <a:buFontTx/>
              <a:buAutoNum type="alphaLcParenR"/>
              <a:defRPr/>
            </a:pPr>
            <a:endParaRPr lang="es-ES" sz="2500" dirty="0" smtClean="0">
              <a:solidFill>
                <a:srgbClr val="5F5F5F"/>
              </a:solidFill>
            </a:endParaRPr>
          </a:p>
          <a:p>
            <a:pPr marL="482392" indent="-482392" fontAlgn="auto">
              <a:spcBef>
                <a:spcPts val="0"/>
              </a:spcBef>
              <a:spcAft>
                <a:spcPts val="0"/>
              </a:spcAft>
              <a:buFontTx/>
              <a:buAutoNum type="alphaLcParenR"/>
              <a:defRPr/>
            </a:pPr>
            <a:r>
              <a:rPr lang="es-ES" sz="2500" dirty="0" smtClean="0">
                <a:solidFill>
                  <a:srgbClr val="5F5F5F"/>
                </a:solidFill>
              </a:rPr>
              <a:t>Cuando la inversión supere los 5.000.000 USD están exonerados</a:t>
            </a:r>
          </a:p>
          <a:p>
            <a:pPr marL="884385" lvl="1" indent="-40199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es-ES" sz="2500" dirty="0" smtClean="0">
                <a:solidFill>
                  <a:srgbClr val="5F5F5F"/>
                </a:solidFill>
              </a:rPr>
              <a:t>los tributos para las remesas y pagos al exterior en conceptos de intereses, comisiones y capital de los mismos a bancos y financieras.</a:t>
            </a:r>
          </a:p>
          <a:p>
            <a:pPr marL="884385" lvl="1" indent="-40199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es-ES" sz="2500" dirty="0" smtClean="0">
                <a:solidFill>
                  <a:srgbClr val="5F5F5F"/>
                </a:solidFill>
              </a:rPr>
              <a:t>los impuestos que inciden sobre los dividendos y utilidades provenientes del proyecto de inversión</a:t>
            </a:r>
            <a:endParaRPr lang="es-PY" sz="250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4502D19-6194-4080-84A7-F3B7AEE0FF6B}" type="slidenum">
              <a:rPr lang="es-ES"/>
              <a:pPr fontAlgn="base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s-ES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481013" indent="-481013">
              <a:spcBef>
                <a:spcPct val="0"/>
              </a:spcBef>
              <a:buFontTx/>
              <a:buAutoNum type="alphaLcParenR"/>
            </a:pPr>
            <a:r>
              <a:rPr lang="es-ES" sz="2500" smtClean="0">
                <a:solidFill>
                  <a:srgbClr val="5F5F5F"/>
                </a:solidFill>
                <a:ea typeface="ＭＳ Ｐゴシック" pitchFamily="34" charset="-128"/>
              </a:rPr>
              <a:t>Arancel de Importación de Bienes de Capital (maquinarias y equipos): Sean estos nuevos o usados, según cronograma de inversión.</a:t>
            </a:r>
          </a:p>
          <a:p>
            <a:pPr marL="481013" indent="-481013">
              <a:spcBef>
                <a:spcPct val="0"/>
              </a:spcBef>
              <a:buFontTx/>
              <a:buAutoNum type="alphaLcParenR"/>
            </a:pPr>
            <a:r>
              <a:rPr lang="es-ES" sz="2500" smtClean="0">
                <a:solidFill>
                  <a:srgbClr val="5F5F5F"/>
                </a:solidFill>
                <a:ea typeface="ＭＳ Ｐゴシック" pitchFamily="34" charset="-128"/>
              </a:rPr>
              <a:t>IVA sobre los Bienes de Capital Adquiridos (dentro o fuera del país): En caso que no exista fabricacion del Bien de Capital en el pais.</a:t>
            </a:r>
          </a:p>
          <a:p>
            <a:pPr marL="481013" indent="-481013">
              <a:spcBef>
                <a:spcPct val="0"/>
              </a:spcBef>
              <a:buFontTx/>
              <a:buAutoNum type="alphaLcParenR"/>
            </a:pPr>
            <a:r>
              <a:rPr lang="es-ES" sz="2500" smtClean="0">
                <a:solidFill>
                  <a:srgbClr val="5F5F5F"/>
                </a:solidFill>
                <a:ea typeface="ＭＳ Ｐゴシック" pitchFamily="34" charset="-128"/>
              </a:rPr>
              <a:t>Impuesto a las remesas y pagos al exterior en concepto de intereses, comisiones y capital, a bancos y financieras por el plazo pactado del credito.</a:t>
            </a:r>
          </a:p>
          <a:p>
            <a:pPr marL="481013" indent="-481013">
              <a:spcBef>
                <a:spcPct val="0"/>
              </a:spcBef>
              <a:buFontTx/>
              <a:buAutoNum type="alphaLcParenR"/>
            </a:pPr>
            <a:r>
              <a:rPr lang="es-ES" sz="2500" smtClean="0">
                <a:solidFill>
                  <a:srgbClr val="5F5F5F"/>
                </a:solidFill>
                <a:ea typeface="ＭＳ Ｐゴシック" pitchFamily="34" charset="-128"/>
              </a:rPr>
              <a:t>Impuesto a los dividendos y utilidades al exterior, provenientes del proyecto de Inversión</a:t>
            </a:r>
          </a:p>
          <a:p>
            <a:pPr marL="481013" indent="-481013">
              <a:spcBef>
                <a:spcPct val="0"/>
              </a:spcBef>
            </a:pPr>
            <a:endParaRPr lang="es-ES" sz="2500" smtClean="0">
              <a:solidFill>
                <a:srgbClr val="5F5F5F"/>
              </a:solidFill>
              <a:ea typeface="ＭＳ Ｐゴシック" pitchFamily="34" charset="-128"/>
            </a:endParaRPr>
          </a:p>
          <a:p>
            <a:pPr marL="481013" indent="-481013">
              <a:spcBef>
                <a:spcPct val="0"/>
              </a:spcBef>
            </a:pPr>
            <a:r>
              <a:rPr lang="es-ES" sz="2500" smtClean="0">
                <a:ea typeface="ＭＳ Ｐゴシック" pitchFamily="34" charset="-128"/>
              </a:rPr>
              <a:t>La Ley 60/90 se aplica para todo el tiempo la producción de proyectos en las áreas industriales o agrícolas.</a:t>
            </a:r>
          </a:p>
          <a:p>
            <a:pPr marL="481013" indent="-481013">
              <a:spcBef>
                <a:spcPct val="0"/>
              </a:spcBef>
            </a:pPr>
            <a:r>
              <a:rPr lang="es-ES" sz="2500" smtClean="0">
                <a:solidFill>
                  <a:srgbClr val="5F5F5F"/>
                </a:solidFill>
                <a:ea typeface="ＭＳ Ｐゴシック" pitchFamily="34" charset="-128"/>
              </a:rPr>
              <a:t> </a:t>
            </a:r>
          </a:p>
          <a:p>
            <a:pPr marL="481013" indent="-481013">
              <a:spcBef>
                <a:spcPct val="0"/>
              </a:spcBef>
            </a:pPr>
            <a:endParaRPr lang="es-ES" sz="2500" smtClean="0">
              <a:solidFill>
                <a:srgbClr val="5F5F5F"/>
              </a:solidFill>
              <a:ea typeface="ＭＳ Ｐゴシック" pitchFamily="34" charset="-128"/>
            </a:endParaRPr>
          </a:p>
          <a:p>
            <a:pPr marL="481013" indent="-481013">
              <a:spcBef>
                <a:spcPct val="0"/>
              </a:spcBef>
            </a:pPr>
            <a:endParaRPr lang="es-ES" sz="2500" smtClean="0">
              <a:solidFill>
                <a:srgbClr val="5F5F5F"/>
              </a:solidFill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Y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5AC6E9-A0DC-4097-9DD4-1E1E3199913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Y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5AC6E9-A0DC-4097-9DD4-1E1E3199913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Y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5AC6E9-A0DC-4097-9DD4-1E1E3199913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PY" smtClean="0">
              <a:ea typeface="ＭＳ Ｐゴシック" pitchFamily="34" charset="-128"/>
            </a:endParaRPr>
          </a:p>
        </p:txBody>
      </p:sp>
      <p:sp>
        <p:nvSpPr>
          <p:cNvPr id="2765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50008" indent="-288465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53859" indent="-230772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15402" indent="-230772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76945" indent="-230772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38489" indent="-2307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3000032" indent="-2307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61576" indent="-2307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923119" indent="-2307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F8381F79-47B9-4BB8-B6C9-DECD60769EF0}" type="slidenum">
              <a:rPr lang="es-ES"/>
              <a:pPr eaLnBrk="1" hangingPunct="1"/>
              <a:t>9</a:t>
            </a:fld>
            <a:endParaRPr lang="es-E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PY" smtClean="0">
              <a:ea typeface="ＭＳ Ｐゴシック" charset="-128"/>
            </a:endParaRPr>
          </a:p>
        </p:txBody>
      </p:sp>
      <p:sp>
        <p:nvSpPr>
          <p:cNvPr id="2458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8A9ED02-BAE2-49EB-B092-25A935602F5A}" type="slidenum">
              <a:rPr lang="es-ES">
                <a:solidFill>
                  <a:prstClr val="black"/>
                </a:solidFill>
              </a:rPr>
              <a:pPr/>
              <a:t>11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PY" smtClean="0"/>
          </a:p>
        </p:txBody>
      </p:sp>
      <p:sp>
        <p:nvSpPr>
          <p:cNvPr id="4403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9731" indent="-288358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53434" indent="-23068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14807" indent="-23068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76181" indent="-23068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37554" indent="-23068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98928" indent="-23068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60301" indent="-23068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921674" indent="-23068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DEE27C4-9B17-404E-861C-7C9A2573909D}" type="slidenum">
              <a:rPr lang="es-E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s-E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Y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FF2A30-AC01-4600-A5E0-5868DE8AF182}" type="slidenum">
              <a:rPr lang="es-PY" smtClean="0"/>
              <a:pPr>
                <a:defRPr/>
              </a:pPr>
              <a:t>17</a:t>
            </a:fld>
            <a:endParaRPr lang="es-PY"/>
          </a:p>
        </p:txBody>
      </p:sp>
    </p:spTree>
    <p:extLst>
      <p:ext uri="{BB962C8B-B14F-4D97-AF65-F5344CB8AC3E}">
        <p14:creationId xmlns:p14="http://schemas.microsoft.com/office/powerpoint/2010/main" val="33265434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6195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8B19BAF-EAD4-4FE7-AD94-E0C3CFB4D30D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69875"/>
            <a:ext cx="2057400" cy="5856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69875"/>
            <a:ext cx="6019800" cy="5856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269875"/>
            <a:ext cx="7199313" cy="5651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9885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508125"/>
            <a:ext cx="1927225" cy="230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4450" y="1508125"/>
            <a:ext cx="1928813" cy="230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867400" y="269875"/>
            <a:ext cx="1798638" cy="3540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6725" y="269875"/>
            <a:ext cx="5248275" cy="3540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269875"/>
            <a:ext cx="7199313" cy="5651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Freeform 78"/>
          <p:cNvSpPr>
            <a:spLocks noChangeArrowheads="1"/>
          </p:cNvSpPr>
          <p:nvPr/>
        </p:nvSpPr>
        <p:spPr bwMode="auto">
          <a:xfrm>
            <a:off x="1724025" y="1100138"/>
            <a:ext cx="1144588" cy="1411287"/>
          </a:xfrm>
          <a:custGeom>
            <a:avLst/>
            <a:gdLst>
              <a:gd name="T0" fmla="*/ 9 w 2544"/>
              <a:gd name="T1" fmla="*/ 2428 h 2551"/>
              <a:gd name="T2" fmla="*/ 109 w 2544"/>
              <a:gd name="T3" fmla="*/ 2236 h 2551"/>
              <a:gd name="T4" fmla="*/ 225 w 2544"/>
              <a:gd name="T5" fmla="*/ 2040 h 2551"/>
              <a:gd name="T6" fmla="*/ 357 w 2544"/>
              <a:gd name="T7" fmla="*/ 1845 h 2551"/>
              <a:gd name="T8" fmla="*/ 500 w 2544"/>
              <a:gd name="T9" fmla="*/ 1654 h 2551"/>
              <a:gd name="T10" fmla="*/ 701 w 2544"/>
              <a:gd name="T11" fmla="*/ 1411 h 2551"/>
              <a:gd name="T12" fmla="*/ 920 w 2544"/>
              <a:gd name="T13" fmla="*/ 1174 h 2551"/>
              <a:gd name="T14" fmla="*/ 1152 w 2544"/>
              <a:gd name="T15" fmla="*/ 944 h 2551"/>
              <a:gd name="T16" fmla="*/ 1396 w 2544"/>
              <a:gd name="T17" fmla="*/ 727 h 2551"/>
              <a:gd name="T18" fmla="*/ 1647 w 2544"/>
              <a:gd name="T19" fmla="*/ 522 h 2551"/>
              <a:gd name="T20" fmla="*/ 1903 w 2544"/>
              <a:gd name="T21" fmla="*/ 332 h 2551"/>
              <a:gd name="T22" fmla="*/ 2162 w 2544"/>
              <a:gd name="T23" fmla="*/ 161 h 2551"/>
              <a:gd name="T24" fmla="*/ 2418 w 2544"/>
              <a:gd name="T25" fmla="*/ 10 h 2551"/>
              <a:gd name="T26" fmla="*/ 2450 w 2544"/>
              <a:gd name="T27" fmla="*/ 0 h 2551"/>
              <a:gd name="T28" fmla="*/ 2483 w 2544"/>
              <a:gd name="T29" fmla="*/ 3 h 2551"/>
              <a:gd name="T30" fmla="*/ 2512 w 2544"/>
              <a:gd name="T31" fmla="*/ 19 h 2551"/>
              <a:gd name="T32" fmla="*/ 2534 w 2544"/>
              <a:gd name="T33" fmla="*/ 44 h 2551"/>
              <a:gd name="T34" fmla="*/ 2543 w 2544"/>
              <a:gd name="T35" fmla="*/ 72 h 2551"/>
              <a:gd name="T36" fmla="*/ 2543 w 2544"/>
              <a:gd name="T37" fmla="*/ 100 h 2551"/>
              <a:gd name="T38" fmla="*/ 2535 w 2544"/>
              <a:gd name="T39" fmla="*/ 126 h 2551"/>
              <a:gd name="T40" fmla="*/ 2517 w 2544"/>
              <a:gd name="T41" fmla="*/ 149 h 2551"/>
              <a:gd name="T42" fmla="*/ 2396 w 2544"/>
              <a:gd name="T43" fmla="*/ 288 h 2551"/>
              <a:gd name="T44" fmla="*/ 2236 w 2544"/>
              <a:gd name="T45" fmla="*/ 488 h 2551"/>
              <a:gd name="T46" fmla="*/ 2079 w 2544"/>
              <a:gd name="T47" fmla="*/ 701 h 2551"/>
              <a:gd name="T48" fmla="*/ 1814 w 2544"/>
              <a:gd name="T49" fmla="*/ 1095 h 2551"/>
              <a:gd name="T50" fmla="*/ 1523 w 2544"/>
              <a:gd name="T51" fmla="*/ 1562 h 2551"/>
              <a:gd name="T52" fmla="*/ 1260 w 2544"/>
              <a:gd name="T53" fmla="*/ 2000 h 2551"/>
              <a:gd name="T54" fmla="*/ 1235 w 2544"/>
              <a:gd name="T55" fmla="*/ 2027 h 2551"/>
              <a:gd name="T56" fmla="*/ 1197 w 2544"/>
              <a:gd name="T57" fmla="*/ 2051 h 2551"/>
              <a:gd name="T58" fmla="*/ 1038 w 2544"/>
              <a:gd name="T59" fmla="*/ 2138 h 2551"/>
              <a:gd name="T60" fmla="*/ 849 w 2544"/>
              <a:gd name="T61" fmla="*/ 2227 h 2551"/>
              <a:gd name="T62" fmla="*/ 648 w 2544"/>
              <a:gd name="T63" fmla="*/ 2315 h 2551"/>
              <a:gd name="T64" fmla="*/ 443 w 2544"/>
              <a:gd name="T65" fmla="*/ 2401 h 2551"/>
              <a:gd name="T66" fmla="*/ 244 w 2544"/>
              <a:gd name="T67" fmla="*/ 2486 h 2551"/>
              <a:gd name="T68" fmla="*/ 116 w 2544"/>
              <a:gd name="T69" fmla="*/ 2546 h 2551"/>
              <a:gd name="T70" fmla="*/ 82 w 2544"/>
              <a:gd name="T71" fmla="*/ 2551 h 2551"/>
              <a:gd name="T72" fmla="*/ 50 w 2544"/>
              <a:gd name="T73" fmla="*/ 2544 h 2551"/>
              <a:gd name="T74" fmla="*/ 23 w 2544"/>
              <a:gd name="T75" fmla="*/ 2525 h 2551"/>
              <a:gd name="T76" fmla="*/ 5 w 2544"/>
              <a:gd name="T77" fmla="*/ 2495 h 2551"/>
              <a:gd name="T78" fmla="*/ 1 w 2544"/>
              <a:gd name="T79" fmla="*/ 2457 h 2551"/>
              <a:gd name="T80" fmla="*/ 8 w 2544"/>
              <a:gd name="T81" fmla="*/ 2430 h 2551"/>
              <a:gd name="T82" fmla="*/ 333 w 2544"/>
              <a:gd name="T83" fmla="*/ 2190 h 2551"/>
              <a:gd name="T84" fmla="*/ 288 w 2544"/>
              <a:gd name="T85" fmla="*/ 2266 h 2551"/>
              <a:gd name="T86" fmla="*/ 623 w 2544"/>
              <a:gd name="T87" fmla="*/ 2139 h 2551"/>
              <a:gd name="T88" fmla="*/ 901 w 2544"/>
              <a:gd name="T89" fmla="*/ 2014 h 2551"/>
              <a:gd name="T90" fmla="*/ 1060 w 2544"/>
              <a:gd name="T91" fmla="*/ 1933 h 2551"/>
              <a:gd name="T92" fmla="*/ 1220 w 2544"/>
              <a:gd name="T93" fmla="*/ 1735 h 2551"/>
              <a:gd name="T94" fmla="*/ 1435 w 2544"/>
              <a:gd name="T95" fmla="*/ 1379 h 2551"/>
              <a:gd name="T96" fmla="*/ 1658 w 2544"/>
              <a:gd name="T97" fmla="*/ 1023 h 2551"/>
              <a:gd name="T98" fmla="*/ 1890 w 2544"/>
              <a:gd name="T99" fmla="*/ 674 h 2551"/>
              <a:gd name="T100" fmla="*/ 2020 w 2544"/>
              <a:gd name="T101" fmla="*/ 460 h 2551"/>
              <a:gd name="T102" fmla="*/ 1824 w 2544"/>
              <a:gd name="T103" fmla="*/ 602 h 2551"/>
              <a:gd name="T104" fmla="*/ 1630 w 2544"/>
              <a:gd name="T105" fmla="*/ 754 h 2551"/>
              <a:gd name="T106" fmla="*/ 1441 w 2544"/>
              <a:gd name="T107" fmla="*/ 914 h 2551"/>
              <a:gd name="T108" fmla="*/ 1256 w 2544"/>
              <a:gd name="T109" fmla="*/ 1082 h 2551"/>
              <a:gd name="T110" fmla="*/ 1078 w 2544"/>
              <a:gd name="T111" fmla="*/ 1257 h 2551"/>
              <a:gd name="T112" fmla="*/ 908 w 2544"/>
              <a:gd name="T113" fmla="*/ 1436 h 2551"/>
              <a:gd name="T114" fmla="*/ 748 w 2544"/>
              <a:gd name="T115" fmla="*/ 1621 h 2551"/>
              <a:gd name="T116" fmla="*/ 598 w 2544"/>
              <a:gd name="T117" fmla="*/ 1807 h 2551"/>
              <a:gd name="T118" fmla="*/ 461 w 2544"/>
              <a:gd name="T119" fmla="*/ 1994 h 25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544" h="2551">
                <a:moveTo>
                  <a:pt x="8" y="2430"/>
                </a:moveTo>
                <a:lnTo>
                  <a:pt x="9" y="2429"/>
                </a:lnTo>
                <a:lnTo>
                  <a:pt x="9" y="2428"/>
                </a:lnTo>
                <a:lnTo>
                  <a:pt x="32" y="2380"/>
                </a:lnTo>
                <a:lnTo>
                  <a:pt x="56" y="2332"/>
                </a:lnTo>
                <a:lnTo>
                  <a:pt x="82" y="2284"/>
                </a:lnTo>
                <a:lnTo>
                  <a:pt x="109" y="2236"/>
                </a:lnTo>
                <a:lnTo>
                  <a:pt x="136" y="2187"/>
                </a:lnTo>
                <a:lnTo>
                  <a:pt x="165" y="2138"/>
                </a:lnTo>
                <a:lnTo>
                  <a:pt x="194" y="2090"/>
                </a:lnTo>
                <a:lnTo>
                  <a:pt x="225" y="2040"/>
                </a:lnTo>
                <a:lnTo>
                  <a:pt x="257" y="1992"/>
                </a:lnTo>
                <a:lnTo>
                  <a:pt x="289" y="1942"/>
                </a:lnTo>
                <a:lnTo>
                  <a:pt x="323" y="1894"/>
                </a:lnTo>
                <a:lnTo>
                  <a:pt x="357" y="1845"/>
                </a:lnTo>
                <a:lnTo>
                  <a:pt x="391" y="1797"/>
                </a:lnTo>
                <a:lnTo>
                  <a:pt x="427" y="1749"/>
                </a:lnTo>
                <a:lnTo>
                  <a:pt x="463" y="1702"/>
                </a:lnTo>
                <a:lnTo>
                  <a:pt x="500" y="1654"/>
                </a:lnTo>
                <a:lnTo>
                  <a:pt x="549" y="1593"/>
                </a:lnTo>
                <a:lnTo>
                  <a:pt x="598" y="1532"/>
                </a:lnTo>
                <a:lnTo>
                  <a:pt x="650" y="1471"/>
                </a:lnTo>
                <a:lnTo>
                  <a:pt x="701" y="1411"/>
                </a:lnTo>
                <a:lnTo>
                  <a:pt x="755" y="1352"/>
                </a:lnTo>
                <a:lnTo>
                  <a:pt x="808" y="1292"/>
                </a:lnTo>
                <a:lnTo>
                  <a:pt x="864" y="1232"/>
                </a:lnTo>
                <a:lnTo>
                  <a:pt x="920" y="1174"/>
                </a:lnTo>
                <a:lnTo>
                  <a:pt x="977" y="1115"/>
                </a:lnTo>
                <a:lnTo>
                  <a:pt x="1035" y="1058"/>
                </a:lnTo>
                <a:lnTo>
                  <a:pt x="1094" y="1001"/>
                </a:lnTo>
                <a:lnTo>
                  <a:pt x="1152" y="944"/>
                </a:lnTo>
                <a:lnTo>
                  <a:pt x="1212" y="890"/>
                </a:lnTo>
                <a:lnTo>
                  <a:pt x="1273" y="834"/>
                </a:lnTo>
                <a:lnTo>
                  <a:pt x="1335" y="780"/>
                </a:lnTo>
                <a:lnTo>
                  <a:pt x="1396" y="727"/>
                </a:lnTo>
                <a:lnTo>
                  <a:pt x="1458" y="674"/>
                </a:lnTo>
                <a:lnTo>
                  <a:pt x="1521" y="623"/>
                </a:lnTo>
                <a:lnTo>
                  <a:pt x="1584" y="571"/>
                </a:lnTo>
                <a:lnTo>
                  <a:pt x="1647" y="522"/>
                </a:lnTo>
                <a:lnTo>
                  <a:pt x="1711" y="473"/>
                </a:lnTo>
                <a:lnTo>
                  <a:pt x="1774" y="425"/>
                </a:lnTo>
                <a:lnTo>
                  <a:pt x="1839" y="378"/>
                </a:lnTo>
                <a:lnTo>
                  <a:pt x="1903" y="332"/>
                </a:lnTo>
                <a:lnTo>
                  <a:pt x="1968" y="288"/>
                </a:lnTo>
                <a:lnTo>
                  <a:pt x="2032" y="244"/>
                </a:lnTo>
                <a:lnTo>
                  <a:pt x="2097" y="202"/>
                </a:lnTo>
                <a:lnTo>
                  <a:pt x="2162" y="161"/>
                </a:lnTo>
                <a:lnTo>
                  <a:pt x="2226" y="121"/>
                </a:lnTo>
                <a:lnTo>
                  <a:pt x="2290" y="83"/>
                </a:lnTo>
                <a:lnTo>
                  <a:pt x="2354" y="45"/>
                </a:lnTo>
                <a:lnTo>
                  <a:pt x="2418" y="10"/>
                </a:lnTo>
                <a:lnTo>
                  <a:pt x="2426" y="6"/>
                </a:lnTo>
                <a:lnTo>
                  <a:pt x="2434" y="3"/>
                </a:lnTo>
                <a:lnTo>
                  <a:pt x="2442" y="1"/>
                </a:lnTo>
                <a:lnTo>
                  <a:pt x="2450" y="0"/>
                </a:lnTo>
                <a:lnTo>
                  <a:pt x="2458" y="0"/>
                </a:lnTo>
                <a:lnTo>
                  <a:pt x="2467" y="0"/>
                </a:lnTo>
                <a:lnTo>
                  <a:pt x="2475" y="1"/>
                </a:lnTo>
                <a:lnTo>
                  <a:pt x="2483" y="3"/>
                </a:lnTo>
                <a:lnTo>
                  <a:pt x="2491" y="6"/>
                </a:lnTo>
                <a:lnTo>
                  <a:pt x="2499" y="9"/>
                </a:lnTo>
                <a:lnTo>
                  <a:pt x="2506" y="13"/>
                </a:lnTo>
                <a:lnTo>
                  <a:pt x="2512" y="19"/>
                </a:lnTo>
                <a:lnTo>
                  <a:pt x="2518" y="24"/>
                </a:lnTo>
                <a:lnTo>
                  <a:pt x="2524" y="30"/>
                </a:lnTo>
                <a:lnTo>
                  <a:pt x="2529" y="37"/>
                </a:lnTo>
                <a:lnTo>
                  <a:pt x="2534" y="44"/>
                </a:lnTo>
                <a:lnTo>
                  <a:pt x="2537" y="51"/>
                </a:lnTo>
                <a:lnTo>
                  <a:pt x="2540" y="58"/>
                </a:lnTo>
                <a:lnTo>
                  <a:pt x="2542" y="65"/>
                </a:lnTo>
                <a:lnTo>
                  <a:pt x="2543" y="72"/>
                </a:lnTo>
                <a:lnTo>
                  <a:pt x="2544" y="78"/>
                </a:lnTo>
                <a:lnTo>
                  <a:pt x="2544" y="86"/>
                </a:lnTo>
                <a:lnTo>
                  <a:pt x="2544" y="93"/>
                </a:lnTo>
                <a:lnTo>
                  <a:pt x="2543" y="100"/>
                </a:lnTo>
                <a:lnTo>
                  <a:pt x="2542" y="106"/>
                </a:lnTo>
                <a:lnTo>
                  <a:pt x="2540" y="113"/>
                </a:lnTo>
                <a:lnTo>
                  <a:pt x="2538" y="120"/>
                </a:lnTo>
                <a:lnTo>
                  <a:pt x="2535" y="126"/>
                </a:lnTo>
                <a:lnTo>
                  <a:pt x="2530" y="132"/>
                </a:lnTo>
                <a:lnTo>
                  <a:pt x="2526" y="137"/>
                </a:lnTo>
                <a:lnTo>
                  <a:pt x="2522" y="143"/>
                </a:lnTo>
                <a:lnTo>
                  <a:pt x="2517" y="149"/>
                </a:lnTo>
                <a:lnTo>
                  <a:pt x="2476" y="194"/>
                </a:lnTo>
                <a:lnTo>
                  <a:pt x="2436" y="240"/>
                </a:lnTo>
                <a:lnTo>
                  <a:pt x="2396" y="288"/>
                </a:lnTo>
                <a:lnTo>
                  <a:pt x="2355" y="336"/>
                </a:lnTo>
                <a:lnTo>
                  <a:pt x="2315" y="387"/>
                </a:lnTo>
                <a:lnTo>
                  <a:pt x="2275" y="437"/>
                </a:lnTo>
                <a:lnTo>
                  <a:pt x="2236" y="488"/>
                </a:lnTo>
                <a:lnTo>
                  <a:pt x="2196" y="540"/>
                </a:lnTo>
                <a:lnTo>
                  <a:pt x="2157" y="593"/>
                </a:lnTo>
                <a:lnTo>
                  <a:pt x="2117" y="646"/>
                </a:lnTo>
                <a:lnTo>
                  <a:pt x="2079" y="701"/>
                </a:lnTo>
                <a:lnTo>
                  <a:pt x="2040" y="756"/>
                </a:lnTo>
                <a:lnTo>
                  <a:pt x="1964" y="867"/>
                </a:lnTo>
                <a:lnTo>
                  <a:pt x="1889" y="980"/>
                </a:lnTo>
                <a:lnTo>
                  <a:pt x="1814" y="1095"/>
                </a:lnTo>
                <a:lnTo>
                  <a:pt x="1739" y="1211"/>
                </a:lnTo>
                <a:lnTo>
                  <a:pt x="1666" y="1328"/>
                </a:lnTo>
                <a:lnTo>
                  <a:pt x="1594" y="1445"/>
                </a:lnTo>
                <a:lnTo>
                  <a:pt x="1523" y="1562"/>
                </a:lnTo>
                <a:lnTo>
                  <a:pt x="1452" y="1679"/>
                </a:lnTo>
                <a:lnTo>
                  <a:pt x="1383" y="1795"/>
                </a:lnTo>
                <a:lnTo>
                  <a:pt x="1314" y="1910"/>
                </a:lnTo>
                <a:lnTo>
                  <a:pt x="1260" y="2000"/>
                </a:lnTo>
                <a:lnTo>
                  <a:pt x="1255" y="2007"/>
                </a:lnTo>
                <a:lnTo>
                  <a:pt x="1249" y="2014"/>
                </a:lnTo>
                <a:lnTo>
                  <a:pt x="1242" y="2022"/>
                </a:lnTo>
                <a:lnTo>
                  <a:pt x="1235" y="2027"/>
                </a:lnTo>
                <a:lnTo>
                  <a:pt x="1235" y="2028"/>
                </a:lnTo>
                <a:lnTo>
                  <a:pt x="1230" y="2030"/>
                </a:lnTo>
                <a:lnTo>
                  <a:pt x="1197" y="2051"/>
                </a:lnTo>
                <a:lnTo>
                  <a:pt x="1161" y="2073"/>
                </a:lnTo>
                <a:lnTo>
                  <a:pt x="1121" y="2095"/>
                </a:lnTo>
                <a:lnTo>
                  <a:pt x="1081" y="2116"/>
                </a:lnTo>
                <a:lnTo>
                  <a:pt x="1038" y="2138"/>
                </a:lnTo>
                <a:lnTo>
                  <a:pt x="993" y="2161"/>
                </a:lnTo>
                <a:lnTo>
                  <a:pt x="946" y="2182"/>
                </a:lnTo>
                <a:lnTo>
                  <a:pt x="899" y="2205"/>
                </a:lnTo>
                <a:lnTo>
                  <a:pt x="849" y="2227"/>
                </a:lnTo>
                <a:lnTo>
                  <a:pt x="800" y="2249"/>
                </a:lnTo>
                <a:lnTo>
                  <a:pt x="750" y="2271"/>
                </a:lnTo>
                <a:lnTo>
                  <a:pt x="699" y="2293"/>
                </a:lnTo>
                <a:lnTo>
                  <a:pt x="648" y="2315"/>
                </a:lnTo>
                <a:lnTo>
                  <a:pt x="597" y="2336"/>
                </a:lnTo>
                <a:lnTo>
                  <a:pt x="547" y="2358"/>
                </a:lnTo>
                <a:lnTo>
                  <a:pt x="497" y="2378"/>
                </a:lnTo>
                <a:lnTo>
                  <a:pt x="443" y="2401"/>
                </a:lnTo>
                <a:lnTo>
                  <a:pt x="390" y="2424"/>
                </a:lnTo>
                <a:lnTo>
                  <a:pt x="339" y="2445"/>
                </a:lnTo>
                <a:lnTo>
                  <a:pt x="290" y="2466"/>
                </a:lnTo>
                <a:lnTo>
                  <a:pt x="244" y="2486"/>
                </a:lnTo>
                <a:lnTo>
                  <a:pt x="201" y="2506"/>
                </a:lnTo>
                <a:lnTo>
                  <a:pt x="160" y="2525"/>
                </a:lnTo>
                <a:lnTo>
                  <a:pt x="123" y="2542"/>
                </a:lnTo>
                <a:lnTo>
                  <a:pt x="116" y="2546"/>
                </a:lnTo>
                <a:lnTo>
                  <a:pt x="108" y="2548"/>
                </a:lnTo>
                <a:lnTo>
                  <a:pt x="100" y="2550"/>
                </a:lnTo>
                <a:lnTo>
                  <a:pt x="90" y="2551"/>
                </a:lnTo>
                <a:lnTo>
                  <a:pt x="82" y="2551"/>
                </a:lnTo>
                <a:lnTo>
                  <a:pt x="74" y="2550"/>
                </a:lnTo>
                <a:lnTo>
                  <a:pt x="67" y="2549"/>
                </a:lnTo>
                <a:lnTo>
                  <a:pt x="58" y="2547"/>
                </a:lnTo>
                <a:lnTo>
                  <a:pt x="50" y="2544"/>
                </a:lnTo>
                <a:lnTo>
                  <a:pt x="43" y="2540"/>
                </a:lnTo>
                <a:lnTo>
                  <a:pt x="36" y="2536"/>
                </a:lnTo>
                <a:lnTo>
                  <a:pt x="30" y="2531"/>
                </a:lnTo>
                <a:lnTo>
                  <a:pt x="23" y="2525"/>
                </a:lnTo>
                <a:lnTo>
                  <a:pt x="18" y="2518"/>
                </a:lnTo>
                <a:lnTo>
                  <a:pt x="13" y="2511"/>
                </a:lnTo>
                <a:lnTo>
                  <a:pt x="9" y="2504"/>
                </a:lnTo>
                <a:lnTo>
                  <a:pt x="5" y="2495"/>
                </a:lnTo>
                <a:lnTo>
                  <a:pt x="2" y="2485"/>
                </a:lnTo>
                <a:lnTo>
                  <a:pt x="1" y="2476"/>
                </a:lnTo>
                <a:lnTo>
                  <a:pt x="0" y="2466"/>
                </a:lnTo>
                <a:lnTo>
                  <a:pt x="1" y="2457"/>
                </a:lnTo>
                <a:lnTo>
                  <a:pt x="2" y="2447"/>
                </a:lnTo>
                <a:lnTo>
                  <a:pt x="5" y="2438"/>
                </a:lnTo>
                <a:lnTo>
                  <a:pt x="8" y="2430"/>
                </a:lnTo>
                <a:close/>
                <a:moveTo>
                  <a:pt x="369" y="2132"/>
                </a:moveTo>
                <a:lnTo>
                  <a:pt x="357" y="2151"/>
                </a:lnTo>
                <a:lnTo>
                  <a:pt x="345" y="2170"/>
                </a:lnTo>
                <a:lnTo>
                  <a:pt x="333" y="2190"/>
                </a:lnTo>
                <a:lnTo>
                  <a:pt x="322" y="2208"/>
                </a:lnTo>
                <a:lnTo>
                  <a:pt x="311" y="2228"/>
                </a:lnTo>
                <a:lnTo>
                  <a:pt x="299" y="2247"/>
                </a:lnTo>
                <a:lnTo>
                  <a:pt x="288" y="2266"/>
                </a:lnTo>
                <a:lnTo>
                  <a:pt x="277" y="2285"/>
                </a:lnTo>
                <a:lnTo>
                  <a:pt x="432" y="2220"/>
                </a:lnTo>
                <a:lnTo>
                  <a:pt x="527" y="2180"/>
                </a:lnTo>
                <a:lnTo>
                  <a:pt x="623" y="2139"/>
                </a:lnTo>
                <a:lnTo>
                  <a:pt x="719" y="2098"/>
                </a:lnTo>
                <a:lnTo>
                  <a:pt x="812" y="2056"/>
                </a:lnTo>
                <a:lnTo>
                  <a:pt x="858" y="2035"/>
                </a:lnTo>
                <a:lnTo>
                  <a:pt x="901" y="2014"/>
                </a:lnTo>
                <a:lnTo>
                  <a:pt x="943" y="1994"/>
                </a:lnTo>
                <a:lnTo>
                  <a:pt x="984" y="1973"/>
                </a:lnTo>
                <a:lnTo>
                  <a:pt x="1023" y="1954"/>
                </a:lnTo>
                <a:lnTo>
                  <a:pt x="1060" y="1933"/>
                </a:lnTo>
                <a:lnTo>
                  <a:pt x="1094" y="1913"/>
                </a:lnTo>
                <a:lnTo>
                  <a:pt x="1124" y="1895"/>
                </a:lnTo>
                <a:lnTo>
                  <a:pt x="1168" y="1822"/>
                </a:lnTo>
                <a:lnTo>
                  <a:pt x="1220" y="1735"/>
                </a:lnTo>
                <a:lnTo>
                  <a:pt x="1273" y="1646"/>
                </a:lnTo>
                <a:lnTo>
                  <a:pt x="1326" y="1558"/>
                </a:lnTo>
                <a:lnTo>
                  <a:pt x="1380" y="1468"/>
                </a:lnTo>
                <a:lnTo>
                  <a:pt x="1435" y="1379"/>
                </a:lnTo>
                <a:lnTo>
                  <a:pt x="1489" y="1290"/>
                </a:lnTo>
                <a:lnTo>
                  <a:pt x="1545" y="1200"/>
                </a:lnTo>
                <a:lnTo>
                  <a:pt x="1601" y="1111"/>
                </a:lnTo>
                <a:lnTo>
                  <a:pt x="1658" y="1023"/>
                </a:lnTo>
                <a:lnTo>
                  <a:pt x="1715" y="934"/>
                </a:lnTo>
                <a:lnTo>
                  <a:pt x="1772" y="846"/>
                </a:lnTo>
                <a:lnTo>
                  <a:pt x="1831" y="760"/>
                </a:lnTo>
                <a:lnTo>
                  <a:pt x="1890" y="674"/>
                </a:lnTo>
                <a:lnTo>
                  <a:pt x="1948" y="590"/>
                </a:lnTo>
                <a:lnTo>
                  <a:pt x="2008" y="507"/>
                </a:lnTo>
                <a:lnTo>
                  <a:pt x="2069" y="426"/>
                </a:lnTo>
                <a:lnTo>
                  <a:pt x="2020" y="460"/>
                </a:lnTo>
                <a:lnTo>
                  <a:pt x="1970" y="494"/>
                </a:lnTo>
                <a:lnTo>
                  <a:pt x="1922" y="530"/>
                </a:lnTo>
                <a:lnTo>
                  <a:pt x="1872" y="565"/>
                </a:lnTo>
                <a:lnTo>
                  <a:pt x="1824" y="602"/>
                </a:lnTo>
                <a:lnTo>
                  <a:pt x="1775" y="639"/>
                </a:lnTo>
                <a:lnTo>
                  <a:pt x="1727" y="676"/>
                </a:lnTo>
                <a:lnTo>
                  <a:pt x="1679" y="714"/>
                </a:lnTo>
                <a:lnTo>
                  <a:pt x="1630" y="754"/>
                </a:lnTo>
                <a:lnTo>
                  <a:pt x="1583" y="793"/>
                </a:lnTo>
                <a:lnTo>
                  <a:pt x="1534" y="833"/>
                </a:lnTo>
                <a:lnTo>
                  <a:pt x="1488" y="873"/>
                </a:lnTo>
                <a:lnTo>
                  <a:pt x="1441" y="914"/>
                </a:lnTo>
                <a:lnTo>
                  <a:pt x="1394" y="956"/>
                </a:lnTo>
                <a:lnTo>
                  <a:pt x="1348" y="997"/>
                </a:lnTo>
                <a:lnTo>
                  <a:pt x="1302" y="1039"/>
                </a:lnTo>
                <a:lnTo>
                  <a:pt x="1256" y="1082"/>
                </a:lnTo>
                <a:lnTo>
                  <a:pt x="1211" y="1125"/>
                </a:lnTo>
                <a:lnTo>
                  <a:pt x="1166" y="1169"/>
                </a:lnTo>
                <a:lnTo>
                  <a:pt x="1122" y="1212"/>
                </a:lnTo>
                <a:lnTo>
                  <a:pt x="1078" y="1257"/>
                </a:lnTo>
                <a:lnTo>
                  <a:pt x="1035" y="1301"/>
                </a:lnTo>
                <a:lnTo>
                  <a:pt x="992" y="1346"/>
                </a:lnTo>
                <a:lnTo>
                  <a:pt x="950" y="1391"/>
                </a:lnTo>
                <a:lnTo>
                  <a:pt x="908" y="1436"/>
                </a:lnTo>
                <a:lnTo>
                  <a:pt x="867" y="1482"/>
                </a:lnTo>
                <a:lnTo>
                  <a:pt x="827" y="1528"/>
                </a:lnTo>
                <a:lnTo>
                  <a:pt x="787" y="1574"/>
                </a:lnTo>
                <a:lnTo>
                  <a:pt x="748" y="1621"/>
                </a:lnTo>
                <a:lnTo>
                  <a:pt x="709" y="1667"/>
                </a:lnTo>
                <a:lnTo>
                  <a:pt x="671" y="1713"/>
                </a:lnTo>
                <a:lnTo>
                  <a:pt x="634" y="1760"/>
                </a:lnTo>
                <a:lnTo>
                  <a:pt x="598" y="1807"/>
                </a:lnTo>
                <a:lnTo>
                  <a:pt x="562" y="1854"/>
                </a:lnTo>
                <a:lnTo>
                  <a:pt x="528" y="1900"/>
                </a:lnTo>
                <a:lnTo>
                  <a:pt x="494" y="1946"/>
                </a:lnTo>
                <a:lnTo>
                  <a:pt x="461" y="1994"/>
                </a:lnTo>
                <a:lnTo>
                  <a:pt x="430" y="2040"/>
                </a:lnTo>
                <a:lnTo>
                  <a:pt x="399" y="2087"/>
                </a:lnTo>
                <a:lnTo>
                  <a:pt x="369" y="21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27" name="Freeform 3"/>
          <p:cNvSpPr>
            <a:spLocks noChangeArrowheads="1"/>
          </p:cNvSpPr>
          <p:nvPr/>
        </p:nvSpPr>
        <p:spPr bwMode="auto">
          <a:xfrm>
            <a:off x="4732338" y="904875"/>
            <a:ext cx="1454150" cy="815975"/>
          </a:xfrm>
          <a:custGeom>
            <a:avLst/>
            <a:gdLst>
              <a:gd name="T0" fmla="*/ 5 w 3230"/>
              <a:gd name="T1" fmla="*/ 102 h 1474"/>
              <a:gd name="T2" fmla="*/ 11 w 3230"/>
              <a:gd name="T3" fmla="*/ 89 h 1474"/>
              <a:gd name="T4" fmla="*/ 29 w 3230"/>
              <a:gd name="T5" fmla="*/ 66 h 1474"/>
              <a:gd name="T6" fmla="*/ 83 w 3230"/>
              <a:gd name="T7" fmla="*/ 32 h 1474"/>
              <a:gd name="T8" fmla="*/ 217 w 3230"/>
              <a:gd name="T9" fmla="*/ 5 h 1474"/>
              <a:gd name="T10" fmla="*/ 422 w 3230"/>
              <a:gd name="T11" fmla="*/ 1 h 1474"/>
              <a:gd name="T12" fmla="*/ 901 w 3230"/>
              <a:gd name="T13" fmla="*/ 44 h 1474"/>
              <a:gd name="T14" fmla="*/ 1442 w 3230"/>
              <a:gd name="T15" fmla="*/ 154 h 1474"/>
              <a:gd name="T16" fmla="*/ 1756 w 3230"/>
              <a:gd name="T17" fmla="*/ 248 h 1474"/>
              <a:gd name="T18" fmla="*/ 1906 w 3230"/>
              <a:gd name="T19" fmla="*/ 306 h 1474"/>
              <a:gd name="T20" fmla="*/ 2159 w 3230"/>
              <a:gd name="T21" fmla="*/ 413 h 1474"/>
              <a:gd name="T22" fmla="*/ 2392 w 3230"/>
              <a:gd name="T23" fmla="*/ 520 h 1474"/>
              <a:gd name="T24" fmla="*/ 2650 w 3230"/>
              <a:gd name="T25" fmla="*/ 653 h 1474"/>
              <a:gd name="T26" fmla="*/ 2887 w 3230"/>
              <a:gd name="T27" fmla="*/ 799 h 1474"/>
              <a:gd name="T28" fmla="*/ 3066 w 3230"/>
              <a:gd name="T29" fmla="*/ 942 h 1474"/>
              <a:gd name="T30" fmla="*/ 3182 w 3230"/>
              <a:gd name="T31" fmla="*/ 1083 h 1474"/>
              <a:gd name="T32" fmla="*/ 3229 w 3230"/>
              <a:gd name="T33" fmla="*/ 1220 h 1474"/>
              <a:gd name="T34" fmla="*/ 3209 w 3230"/>
              <a:gd name="T35" fmla="*/ 1327 h 1474"/>
              <a:gd name="T36" fmla="*/ 3122 w 3230"/>
              <a:gd name="T37" fmla="*/ 1412 h 1474"/>
              <a:gd name="T38" fmla="*/ 3001 w 3230"/>
              <a:gd name="T39" fmla="*/ 1456 h 1474"/>
              <a:gd name="T40" fmla="*/ 2844 w 3230"/>
              <a:gd name="T41" fmla="*/ 1474 h 1474"/>
              <a:gd name="T42" fmla="*/ 2626 w 3230"/>
              <a:gd name="T43" fmla="*/ 1461 h 1474"/>
              <a:gd name="T44" fmla="*/ 2368 w 3230"/>
              <a:gd name="T45" fmla="*/ 1421 h 1474"/>
              <a:gd name="T46" fmla="*/ 2075 w 3230"/>
              <a:gd name="T47" fmla="*/ 1354 h 1474"/>
              <a:gd name="T48" fmla="*/ 1413 w 3230"/>
              <a:gd name="T49" fmla="*/ 1151 h 1474"/>
              <a:gd name="T50" fmla="*/ 312 w 3230"/>
              <a:gd name="T51" fmla="*/ 172 h 1474"/>
              <a:gd name="T52" fmla="*/ 200 w 3230"/>
              <a:gd name="T53" fmla="*/ 179 h 1474"/>
              <a:gd name="T54" fmla="*/ 354 w 3230"/>
              <a:gd name="T55" fmla="*/ 322 h 1474"/>
              <a:gd name="T56" fmla="*/ 630 w 3230"/>
              <a:gd name="T57" fmla="*/ 526 h 1474"/>
              <a:gd name="T58" fmla="*/ 938 w 3230"/>
              <a:gd name="T59" fmla="*/ 722 h 1474"/>
              <a:gd name="T60" fmla="*/ 1154 w 3230"/>
              <a:gd name="T61" fmla="*/ 841 h 1474"/>
              <a:gd name="T62" fmla="*/ 1389 w 3230"/>
              <a:gd name="T63" fmla="*/ 954 h 1474"/>
              <a:gd name="T64" fmla="*/ 1799 w 3230"/>
              <a:gd name="T65" fmla="*/ 1099 h 1474"/>
              <a:gd name="T66" fmla="*/ 2342 w 3230"/>
              <a:gd name="T67" fmla="*/ 1242 h 1474"/>
              <a:gd name="T68" fmla="*/ 2593 w 3230"/>
              <a:gd name="T69" fmla="*/ 1286 h 1474"/>
              <a:gd name="T70" fmla="*/ 2804 w 3230"/>
              <a:gd name="T71" fmla="*/ 1303 h 1474"/>
              <a:gd name="T72" fmla="*/ 2946 w 3230"/>
              <a:gd name="T73" fmla="*/ 1293 h 1474"/>
              <a:gd name="T74" fmla="*/ 3030 w 3230"/>
              <a:gd name="T75" fmla="*/ 1268 h 1474"/>
              <a:gd name="T76" fmla="*/ 3059 w 3230"/>
              <a:gd name="T77" fmla="*/ 1207 h 1474"/>
              <a:gd name="T78" fmla="*/ 3016 w 3230"/>
              <a:gd name="T79" fmla="*/ 1121 h 1474"/>
              <a:gd name="T80" fmla="*/ 2917 w 3230"/>
              <a:gd name="T81" fmla="*/ 1025 h 1474"/>
              <a:gd name="T82" fmla="*/ 2741 w 3230"/>
              <a:gd name="T83" fmla="*/ 902 h 1474"/>
              <a:gd name="T84" fmla="*/ 2354 w 3230"/>
              <a:gd name="T85" fmla="*/ 692 h 1474"/>
              <a:gd name="T86" fmla="*/ 2130 w 3230"/>
              <a:gd name="T87" fmla="*/ 587 h 1474"/>
              <a:gd name="T88" fmla="*/ 1882 w 3230"/>
              <a:gd name="T89" fmla="*/ 481 h 1474"/>
              <a:gd name="T90" fmla="*/ 1650 w 3230"/>
              <a:gd name="T91" fmla="*/ 393 h 1474"/>
              <a:gd name="T92" fmla="*/ 1349 w 3230"/>
              <a:gd name="T93" fmla="*/ 308 h 1474"/>
              <a:gd name="T94" fmla="*/ 793 w 3230"/>
              <a:gd name="T95" fmla="*/ 203 h 1474"/>
              <a:gd name="T96" fmla="*/ 358 w 3230"/>
              <a:gd name="T97" fmla="*/ 172 h 1474"/>
              <a:gd name="T98" fmla="*/ 1361 w 3230"/>
              <a:gd name="T99" fmla="*/ 1128 h 1474"/>
              <a:gd name="T100" fmla="*/ 1115 w 3230"/>
              <a:gd name="T101" fmla="*/ 1013 h 1474"/>
              <a:gd name="T102" fmla="*/ 890 w 3230"/>
              <a:gd name="T103" fmla="*/ 891 h 1474"/>
              <a:gd name="T104" fmla="*/ 653 w 3230"/>
              <a:gd name="T105" fmla="*/ 745 h 1474"/>
              <a:gd name="T106" fmla="*/ 422 w 3230"/>
              <a:gd name="T107" fmla="*/ 580 h 1474"/>
              <a:gd name="T108" fmla="*/ 237 w 3230"/>
              <a:gd name="T109" fmla="*/ 424 h 1474"/>
              <a:gd name="T110" fmla="*/ 101 w 3230"/>
              <a:gd name="T111" fmla="*/ 290 h 1474"/>
              <a:gd name="T112" fmla="*/ 21 w 3230"/>
              <a:gd name="T113" fmla="*/ 188 h 1474"/>
              <a:gd name="T114" fmla="*/ 1405 w 3230"/>
              <a:gd name="T115" fmla="*/ 1147 h 1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230" h="1474">
                <a:moveTo>
                  <a:pt x="0" y="135"/>
                </a:moveTo>
                <a:lnTo>
                  <a:pt x="0" y="126"/>
                </a:lnTo>
                <a:lnTo>
                  <a:pt x="1" y="118"/>
                </a:lnTo>
                <a:lnTo>
                  <a:pt x="3" y="110"/>
                </a:lnTo>
                <a:lnTo>
                  <a:pt x="6" y="102"/>
                </a:lnTo>
                <a:lnTo>
                  <a:pt x="5" y="102"/>
                </a:lnTo>
                <a:lnTo>
                  <a:pt x="6" y="102"/>
                </a:lnTo>
                <a:lnTo>
                  <a:pt x="6" y="101"/>
                </a:lnTo>
                <a:lnTo>
                  <a:pt x="8" y="96"/>
                </a:lnTo>
                <a:lnTo>
                  <a:pt x="9" y="94"/>
                </a:lnTo>
                <a:lnTo>
                  <a:pt x="10" y="91"/>
                </a:lnTo>
                <a:lnTo>
                  <a:pt x="11" y="89"/>
                </a:lnTo>
                <a:lnTo>
                  <a:pt x="12" y="88"/>
                </a:lnTo>
                <a:lnTo>
                  <a:pt x="13" y="85"/>
                </a:lnTo>
                <a:lnTo>
                  <a:pt x="14" y="85"/>
                </a:lnTo>
                <a:lnTo>
                  <a:pt x="18" y="78"/>
                </a:lnTo>
                <a:lnTo>
                  <a:pt x="23" y="72"/>
                </a:lnTo>
                <a:lnTo>
                  <a:pt x="29" y="66"/>
                </a:lnTo>
                <a:lnTo>
                  <a:pt x="35" y="61"/>
                </a:lnTo>
                <a:lnTo>
                  <a:pt x="41" y="54"/>
                </a:lnTo>
                <a:lnTo>
                  <a:pt x="48" y="49"/>
                </a:lnTo>
                <a:lnTo>
                  <a:pt x="56" y="45"/>
                </a:lnTo>
                <a:lnTo>
                  <a:pt x="65" y="40"/>
                </a:lnTo>
                <a:lnTo>
                  <a:pt x="83" y="32"/>
                </a:lnTo>
                <a:lnTo>
                  <a:pt x="104" y="24"/>
                </a:lnTo>
                <a:lnTo>
                  <a:pt x="126" y="18"/>
                </a:lnTo>
                <a:lnTo>
                  <a:pt x="151" y="13"/>
                </a:lnTo>
                <a:lnTo>
                  <a:pt x="171" y="10"/>
                </a:lnTo>
                <a:lnTo>
                  <a:pt x="193" y="8"/>
                </a:lnTo>
                <a:lnTo>
                  <a:pt x="217" y="5"/>
                </a:lnTo>
                <a:lnTo>
                  <a:pt x="242" y="4"/>
                </a:lnTo>
                <a:lnTo>
                  <a:pt x="269" y="2"/>
                </a:lnTo>
                <a:lnTo>
                  <a:pt x="297" y="1"/>
                </a:lnTo>
                <a:lnTo>
                  <a:pt x="327" y="0"/>
                </a:lnTo>
                <a:lnTo>
                  <a:pt x="358" y="0"/>
                </a:lnTo>
                <a:lnTo>
                  <a:pt x="422" y="1"/>
                </a:lnTo>
                <a:lnTo>
                  <a:pt x="490" y="3"/>
                </a:lnTo>
                <a:lnTo>
                  <a:pt x="564" y="8"/>
                </a:lnTo>
                <a:lnTo>
                  <a:pt x="643" y="14"/>
                </a:lnTo>
                <a:lnTo>
                  <a:pt x="725" y="22"/>
                </a:lnTo>
                <a:lnTo>
                  <a:pt x="811" y="32"/>
                </a:lnTo>
                <a:lnTo>
                  <a:pt x="901" y="44"/>
                </a:lnTo>
                <a:lnTo>
                  <a:pt x="994" y="59"/>
                </a:lnTo>
                <a:lnTo>
                  <a:pt x="1090" y="76"/>
                </a:lnTo>
                <a:lnTo>
                  <a:pt x="1188" y="96"/>
                </a:lnTo>
                <a:lnTo>
                  <a:pt x="1288" y="117"/>
                </a:lnTo>
                <a:lnTo>
                  <a:pt x="1390" y="141"/>
                </a:lnTo>
                <a:lnTo>
                  <a:pt x="1442" y="154"/>
                </a:lnTo>
                <a:lnTo>
                  <a:pt x="1493" y="169"/>
                </a:lnTo>
                <a:lnTo>
                  <a:pt x="1546" y="183"/>
                </a:lnTo>
                <a:lnTo>
                  <a:pt x="1598" y="199"/>
                </a:lnTo>
                <a:lnTo>
                  <a:pt x="1651" y="214"/>
                </a:lnTo>
                <a:lnTo>
                  <a:pt x="1703" y="231"/>
                </a:lnTo>
                <a:lnTo>
                  <a:pt x="1756" y="248"/>
                </a:lnTo>
                <a:lnTo>
                  <a:pt x="1808" y="267"/>
                </a:lnTo>
                <a:lnTo>
                  <a:pt x="1813" y="268"/>
                </a:lnTo>
                <a:lnTo>
                  <a:pt x="1817" y="270"/>
                </a:lnTo>
                <a:lnTo>
                  <a:pt x="1862" y="288"/>
                </a:lnTo>
                <a:lnTo>
                  <a:pt x="1906" y="306"/>
                </a:lnTo>
                <a:lnTo>
                  <a:pt x="1951" y="324"/>
                </a:lnTo>
                <a:lnTo>
                  <a:pt x="1994" y="342"/>
                </a:lnTo>
                <a:lnTo>
                  <a:pt x="2036" y="360"/>
                </a:lnTo>
                <a:lnTo>
                  <a:pt x="2078" y="378"/>
                </a:lnTo>
                <a:lnTo>
                  <a:pt x="2118" y="396"/>
                </a:lnTo>
                <a:lnTo>
                  <a:pt x="2159" y="413"/>
                </a:lnTo>
                <a:lnTo>
                  <a:pt x="2199" y="431"/>
                </a:lnTo>
                <a:lnTo>
                  <a:pt x="2239" y="449"/>
                </a:lnTo>
                <a:lnTo>
                  <a:pt x="2278" y="467"/>
                </a:lnTo>
                <a:lnTo>
                  <a:pt x="2316" y="484"/>
                </a:lnTo>
                <a:lnTo>
                  <a:pt x="2354" y="503"/>
                </a:lnTo>
                <a:lnTo>
                  <a:pt x="2392" y="520"/>
                </a:lnTo>
                <a:lnTo>
                  <a:pt x="2429" y="538"/>
                </a:lnTo>
                <a:lnTo>
                  <a:pt x="2465" y="555"/>
                </a:lnTo>
                <a:lnTo>
                  <a:pt x="2513" y="580"/>
                </a:lnTo>
                <a:lnTo>
                  <a:pt x="2560" y="605"/>
                </a:lnTo>
                <a:lnTo>
                  <a:pt x="2606" y="629"/>
                </a:lnTo>
                <a:lnTo>
                  <a:pt x="2650" y="653"/>
                </a:lnTo>
                <a:lnTo>
                  <a:pt x="2693" y="677"/>
                </a:lnTo>
                <a:lnTo>
                  <a:pt x="2734" y="702"/>
                </a:lnTo>
                <a:lnTo>
                  <a:pt x="2775" y="726"/>
                </a:lnTo>
                <a:lnTo>
                  <a:pt x="2814" y="750"/>
                </a:lnTo>
                <a:lnTo>
                  <a:pt x="2851" y="775"/>
                </a:lnTo>
                <a:lnTo>
                  <a:pt x="2887" y="799"/>
                </a:lnTo>
                <a:lnTo>
                  <a:pt x="2921" y="822"/>
                </a:lnTo>
                <a:lnTo>
                  <a:pt x="2953" y="847"/>
                </a:lnTo>
                <a:lnTo>
                  <a:pt x="2984" y="871"/>
                </a:lnTo>
                <a:lnTo>
                  <a:pt x="3013" y="894"/>
                </a:lnTo>
                <a:lnTo>
                  <a:pt x="3040" y="918"/>
                </a:lnTo>
                <a:lnTo>
                  <a:pt x="3066" y="942"/>
                </a:lnTo>
                <a:lnTo>
                  <a:pt x="3090" y="966"/>
                </a:lnTo>
                <a:lnTo>
                  <a:pt x="3112" y="989"/>
                </a:lnTo>
                <a:lnTo>
                  <a:pt x="3133" y="1013"/>
                </a:lnTo>
                <a:lnTo>
                  <a:pt x="3152" y="1037"/>
                </a:lnTo>
                <a:lnTo>
                  <a:pt x="3168" y="1060"/>
                </a:lnTo>
                <a:lnTo>
                  <a:pt x="3182" y="1083"/>
                </a:lnTo>
                <a:lnTo>
                  <a:pt x="3196" y="1107"/>
                </a:lnTo>
                <a:lnTo>
                  <a:pt x="3206" y="1130"/>
                </a:lnTo>
                <a:lnTo>
                  <a:pt x="3215" y="1152"/>
                </a:lnTo>
                <a:lnTo>
                  <a:pt x="3222" y="1175"/>
                </a:lnTo>
                <a:lnTo>
                  <a:pt x="3227" y="1198"/>
                </a:lnTo>
                <a:lnTo>
                  <a:pt x="3229" y="1220"/>
                </a:lnTo>
                <a:lnTo>
                  <a:pt x="3230" y="1243"/>
                </a:lnTo>
                <a:lnTo>
                  <a:pt x="3228" y="1266"/>
                </a:lnTo>
                <a:lnTo>
                  <a:pt x="3224" y="1287"/>
                </a:lnTo>
                <a:lnTo>
                  <a:pt x="3218" y="1309"/>
                </a:lnTo>
                <a:lnTo>
                  <a:pt x="3214" y="1319"/>
                </a:lnTo>
                <a:lnTo>
                  <a:pt x="3209" y="1327"/>
                </a:lnTo>
                <a:lnTo>
                  <a:pt x="3198" y="1345"/>
                </a:lnTo>
                <a:lnTo>
                  <a:pt x="3186" y="1360"/>
                </a:lnTo>
                <a:lnTo>
                  <a:pt x="3172" y="1375"/>
                </a:lnTo>
                <a:lnTo>
                  <a:pt x="3157" y="1388"/>
                </a:lnTo>
                <a:lnTo>
                  <a:pt x="3140" y="1401"/>
                </a:lnTo>
                <a:lnTo>
                  <a:pt x="3122" y="1412"/>
                </a:lnTo>
                <a:lnTo>
                  <a:pt x="3102" y="1422"/>
                </a:lnTo>
                <a:lnTo>
                  <a:pt x="3082" y="1432"/>
                </a:lnTo>
                <a:lnTo>
                  <a:pt x="3063" y="1439"/>
                </a:lnTo>
                <a:lnTo>
                  <a:pt x="3043" y="1446"/>
                </a:lnTo>
                <a:lnTo>
                  <a:pt x="3023" y="1451"/>
                </a:lnTo>
                <a:lnTo>
                  <a:pt x="3001" y="1456"/>
                </a:lnTo>
                <a:lnTo>
                  <a:pt x="2979" y="1461"/>
                </a:lnTo>
                <a:lnTo>
                  <a:pt x="2956" y="1465"/>
                </a:lnTo>
                <a:lnTo>
                  <a:pt x="2931" y="1468"/>
                </a:lnTo>
                <a:lnTo>
                  <a:pt x="2906" y="1471"/>
                </a:lnTo>
                <a:lnTo>
                  <a:pt x="2876" y="1473"/>
                </a:lnTo>
                <a:lnTo>
                  <a:pt x="2844" y="1474"/>
                </a:lnTo>
                <a:lnTo>
                  <a:pt x="2811" y="1474"/>
                </a:lnTo>
                <a:lnTo>
                  <a:pt x="2777" y="1473"/>
                </a:lnTo>
                <a:lnTo>
                  <a:pt x="2741" y="1472"/>
                </a:lnTo>
                <a:lnTo>
                  <a:pt x="2704" y="1469"/>
                </a:lnTo>
                <a:lnTo>
                  <a:pt x="2665" y="1466"/>
                </a:lnTo>
                <a:lnTo>
                  <a:pt x="2626" y="1461"/>
                </a:lnTo>
                <a:lnTo>
                  <a:pt x="2586" y="1457"/>
                </a:lnTo>
                <a:lnTo>
                  <a:pt x="2545" y="1451"/>
                </a:lnTo>
                <a:lnTo>
                  <a:pt x="2502" y="1445"/>
                </a:lnTo>
                <a:lnTo>
                  <a:pt x="2458" y="1438"/>
                </a:lnTo>
                <a:lnTo>
                  <a:pt x="2413" y="1431"/>
                </a:lnTo>
                <a:lnTo>
                  <a:pt x="2368" y="1421"/>
                </a:lnTo>
                <a:lnTo>
                  <a:pt x="2321" y="1412"/>
                </a:lnTo>
                <a:lnTo>
                  <a:pt x="2274" y="1402"/>
                </a:lnTo>
                <a:lnTo>
                  <a:pt x="2226" y="1391"/>
                </a:lnTo>
                <a:lnTo>
                  <a:pt x="2176" y="1380"/>
                </a:lnTo>
                <a:lnTo>
                  <a:pt x="2126" y="1368"/>
                </a:lnTo>
                <a:lnTo>
                  <a:pt x="2075" y="1354"/>
                </a:lnTo>
                <a:lnTo>
                  <a:pt x="1970" y="1326"/>
                </a:lnTo>
                <a:lnTo>
                  <a:pt x="1864" y="1297"/>
                </a:lnTo>
                <a:lnTo>
                  <a:pt x="1754" y="1264"/>
                </a:lnTo>
                <a:lnTo>
                  <a:pt x="1643" y="1228"/>
                </a:lnTo>
                <a:lnTo>
                  <a:pt x="1529" y="1190"/>
                </a:lnTo>
                <a:lnTo>
                  <a:pt x="1413" y="1151"/>
                </a:lnTo>
                <a:lnTo>
                  <a:pt x="1405" y="1147"/>
                </a:lnTo>
                <a:lnTo>
                  <a:pt x="1409" y="1149"/>
                </a:lnTo>
                <a:lnTo>
                  <a:pt x="0" y="135"/>
                </a:lnTo>
                <a:close/>
                <a:moveTo>
                  <a:pt x="358" y="172"/>
                </a:moveTo>
                <a:lnTo>
                  <a:pt x="335" y="172"/>
                </a:lnTo>
                <a:lnTo>
                  <a:pt x="312" y="172"/>
                </a:lnTo>
                <a:lnTo>
                  <a:pt x="289" y="173"/>
                </a:lnTo>
                <a:lnTo>
                  <a:pt x="270" y="174"/>
                </a:lnTo>
                <a:lnTo>
                  <a:pt x="250" y="175"/>
                </a:lnTo>
                <a:lnTo>
                  <a:pt x="232" y="176"/>
                </a:lnTo>
                <a:lnTo>
                  <a:pt x="215" y="178"/>
                </a:lnTo>
                <a:lnTo>
                  <a:pt x="200" y="179"/>
                </a:lnTo>
                <a:lnTo>
                  <a:pt x="216" y="198"/>
                </a:lnTo>
                <a:lnTo>
                  <a:pt x="237" y="218"/>
                </a:lnTo>
                <a:lnTo>
                  <a:pt x="260" y="242"/>
                </a:lnTo>
                <a:lnTo>
                  <a:pt x="288" y="267"/>
                </a:lnTo>
                <a:lnTo>
                  <a:pt x="320" y="293"/>
                </a:lnTo>
                <a:lnTo>
                  <a:pt x="354" y="322"/>
                </a:lnTo>
                <a:lnTo>
                  <a:pt x="392" y="353"/>
                </a:lnTo>
                <a:lnTo>
                  <a:pt x="433" y="385"/>
                </a:lnTo>
                <a:lnTo>
                  <a:pt x="479" y="418"/>
                </a:lnTo>
                <a:lnTo>
                  <a:pt x="526" y="453"/>
                </a:lnTo>
                <a:lnTo>
                  <a:pt x="577" y="489"/>
                </a:lnTo>
                <a:lnTo>
                  <a:pt x="630" y="526"/>
                </a:lnTo>
                <a:lnTo>
                  <a:pt x="687" y="565"/>
                </a:lnTo>
                <a:lnTo>
                  <a:pt x="746" y="603"/>
                </a:lnTo>
                <a:lnTo>
                  <a:pt x="807" y="643"/>
                </a:lnTo>
                <a:lnTo>
                  <a:pt x="872" y="682"/>
                </a:lnTo>
                <a:lnTo>
                  <a:pt x="905" y="702"/>
                </a:lnTo>
                <a:lnTo>
                  <a:pt x="938" y="722"/>
                </a:lnTo>
                <a:lnTo>
                  <a:pt x="973" y="742"/>
                </a:lnTo>
                <a:lnTo>
                  <a:pt x="1008" y="761"/>
                </a:lnTo>
                <a:lnTo>
                  <a:pt x="1043" y="781"/>
                </a:lnTo>
                <a:lnTo>
                  <a:pt x="1079" y="801"/>
                </a:lnTo>
                <a:lnTo>
                  <a:pt x="1116" y="821"/>
                </a:lnTo>
                <a:lnTo>
                  <a:pt x="1154" y="841"/>
                </a:lnTo>
                <a:lnTo>
                  <a:pt x="1193" y="860"/>
                </a:lnTo>
                <a:lnTo>
                  <a:pt x="1231" y="879"/>
                </a:lnTo>
                <a:lnTo>
                  <a:pt x="1270" y="899"/>
                </a:lnTo>
                <a:lnTo>
                  <a:pt x="1309" y="917"/>
                </a:lnTo>
                <a:lnTo>
                  <a:pt x="1349" y="936"/>
                </a:lnTo>
                <a:lnTo>
                  <a:pt x="1389" y="954"/>
                </a:lnTo>
                <a:lnTo>
                  <a:pt x="1429" y="972"/>
                </a:lnTo>
                <a:lnTo>
                  <a:pt x="1471" y="989"/>
                </a:lnTo>
                <a:lnTo>
                  <a:pt x="1582" y="1028"/>
                </a:lnTo>
                <a:lnTo>
                  <a:pt x="1692" y="1065"/>
                </a:lnTo>
                <a:lnTo>
                  <a:pt x="1799" y="1099"/>
                </a:lnTo>
                <a:lnTo>
                  <a:pt x="1904" y="1130"/>
                </a:lnTo>
                <a:lnTo>
                  <a:pt x="2007" y="1159"/>
                </a:lnTo>
                <a:lnTo>
                  <a:pt x="2106" y="1186"/>
                </a:lnTo>
                <a:lnTo>
                  <a:pt x="2203" y="1211"/>
                </a:lnTo>
                <a:lnTo>
                  <a:pt x="2297" y="1233"/>
                </a:lnTo>
                <a:lnTo>
                  <a:pt x="2342" y="1242"/>
                </a:lnTo>
                <a:lnTo>
                  <a:pt x="2386" y="1251"/>
                </a:lnTo>
                <a:lnTo>
                  <a:pt x="2430" y="1259"/>
                </a:lnTo>
                <a:lnTo>
                  <a:pt x="2472" y="1268"/>
                </a:lnTo>
                <a:lnTo>
                  <a:pt x="2513" y="1275"/>
                </a:lnTo>
                <a:lnTo>
                  <a:pt x="2554" y="1280"/>
                </a:lnTo>
                <a:lnTo>
                  <a:pt x="2593" y="1286"/>
                </a:lnTo>
                <a:lnTo>
                  <a:pt x="2631" y="1290"/>
                </a:lnTo>
                <a:lnTo>
                  <a:pt x="2669" y="1294"/>
                </a:lnTo>
                <a:lnTo>
                  <a:pt x="2705" y="1298"/>
                </a:lnTo>
                <a:lnTo>
                  <a:pt x="2739" y="1300"/>
                </a:lnTo>
                <a:lnTo>
                  <a:pt x="2773" y="1302"/>
                </a:lnTo>
                <a:lnTo>
                  <a:pt x="2804" y="1303"/>
                </a:lnTo>
                <a:lnTo>
                  <a:pt x="2835" y="1302"/>
                </a:lnTo>
                <a:lnTo>
                  <a:pt x="2864" y="1302"/>
                </a:lnTo>
                <a:lnTo>
                  <a:pt x="2893" y="1300"/>
                </a:lnTo>
                <a:lnTo>
                  <a:pt x="2912" y="1298"/>
                </a:lnTo>
                <a:lnTo>
                  <a:pt x="2929" y="1295"/>
                </a:lnTo>
                <a:lnTo>
                  <a:pt x="2946" y="1293"/>
                </a:lnTo>
                <a:lnTo>
                  <a:pt x="2962" y="1290"/>
                </a:lnTo>
                <a:lnTo>
                  <a:pt x="2976" y="1286"/>
                </a:lnTo>
                <a:lnTo>
                  <a:pt x="2991" y="1283"/>
                </a:lnTo>
                <a:lnTo>
                  <a:pt x="3004" y="1278"/>
                </a:lnTo>
                <a:lnTo>
                  <a:pt x="3017" y="1274"/>
                </a:lnTo>
                <a:lnTo>
                  <a:pt x="3030" y="1268"/>
                </a:lnTo>
                <a:lnTo>
                  <a:pt x="3041" y="1260"/>
                </a:lnTo>
                <a:lnTo>
                  <a:pt x="3051" y="1253"/>
                </a:lnTo>
                <a:lnTo>
                  <a:pt x="3059" y="1246"/>
                </a:lnTo>
                <a:lnTo>
                  <a:pt x="3061" y="1234"/>
                </a:lnTo>
                <a:lnTo>
                  <a:pt x="3061" y="1220"/>
                </a:lnTo>
                <a:lnTo>
                  <a:pt x="3059" y="1207"/>
                </a:lnTo>
                <a:lnTo>
                  <a:pt x="3056" y="1193"/>
                </a:lnTo>
                <a:lnTo>
                  <a:pt x="3051" y="1180"/>
                </a:lnTo>
                <a:lnTo>
                  <a:pt x="3044" y="1166"/>
                </a:lnTo>
                <a:lnTo>
                  <a:pt x="3036" y="1151"/>
                </a:lnTo>
                <a:lnTo>
                  <a:pt x="3027" y="1137"/>
                </a:lnTo>
                <a:lnTo>
                  <a:pt x="3016" y="1121"/>
                </a:lnTo>
                <a:lnTo>
                  <a:pt x="3002" y="1106"/>
                </a:lnTo>
                <a:lnTo>
                  <a:pt x="2988" y="1090"/>
                </a:lnTo>
                <a:lnTo>
                  <a:pt x="2972" y="1075"/>
                </a:lnTo>
                <a:lnTo>
                  <a:pt x="2956" y="1058"/>
                </a:lnTo>
                <a:lnTo>
                  <a:pt x="2937" y="1042"/>
                </a:lnTo>
                <a:lnTo>
                  <a:pt x="2917" y="1025"/>
                </a:lnTo>
                <a:lnTo>
                  <a:pt x="2896" y="1008"/>
                </a:lnTo>
                <a:lnTo>
                  <a:pt x="2873" y="991"/>
                </a:lnTo>
                <a:lnTo>
                  <a:pt x="2849" y="974"/>
                </a:lnTo>
                <a:lnTo>
                  <a:pt x="2824" y="956"/>
                </a:lnTo>
                <a:lnTo>
                  <a:pt x="2797" y="939"/>
                </a:lnTo>
                <a:lnTo>
                  <a:pt x="2741" y="902"/>
                </a:lnTo>
                <a:lnTo>
                  <a:pt x="2679" y="865"/>
                </a:lnTo>
                <a:lnTo>
                  <a:pt x="2613" y="827"/>
                </a:lnTo>
                <a:lnTo>
                  <a:pt x="2543" y="788"/>
                </a:lnTo>
                <a:lnTo>
                  <a:pt x="2468" y="749"/>
                </a:lnTo>
                <a:lnTo>
                  <a:pt x="2389" y="709"/>
                </a:lnTo>
                <a:lnTo>
                  <a:pt x="2354" y="692"/>
                </a:lnTo>
                <a:lnTo>
                  <a:pt x="2318" y="675"/>
                </a:lnTo>
                <a:lnTo>
                  <a:pt x="2282" y="657"/>
                </a:lnTo>
                <a:lnTo>
                  <a:pt x="2245" y="640"/>
                </a:lnTo>
                <a:lnTo>
                  <a:pt x="2207" y="622"/>
                </a:lnTo>
                <a:lnTo>
                  <a:pt x="2169" y="605"/>
                </a:lnTo>
                <a:lnTo>
                  <a:pt x="2130" y="587"/>
                </a:lnTo>
                <a:lnTo>
                  <a:pt x="2091" y="570"/>
                </a:lnTo>
                <a:lnTo>
                  <a:pt x="2049" y="552"/>
                </a:lnTo>
                <a:lnTo>
                  <a:pt x="2008" y="535"/>
                </a:lnTo>
                <a:lnTo>
                  <a:pt x="1966" y="516"/>
                </a:lnTo>
                <a:lnTo>
                  <a:pt x="1925" y="499"/>
                </a:lnTo>
                <a:lnTo>
                  <a:pt x="1882" y="481"/>
                </a:lnTo>
                <a:lnTo>
                  <a:pt x="1839" y="464"/>
                </a:lnTo>
                <a:lnTo>
                  <a:pt x="1797" y="446"/>
                </a:lnTo>
                <a:lnTo>
                  <a:pt x="1754" y="429"/>
                </a:lnTo>
                <a:lnTo>
                  <a:pt x="1752" y="427"/>
                </a:lnTo>
                <a:lnTo>
                  <a:pt x="1700" y="410"/>
                </a:lnTo>
                <a:lnTo>
                  <a:pt x="1650" y="393"/>
                </a:lnTo>
                <a:lnTo>
                  <a:pt x="1599" y="378"/>
                </a:lnTo>
                <a:lnTo>
                  <a:pt x="1549" y="363"/>
                </a:lnTo>
                <a:lnTo>
                  <a:pt x="1498" y="347"/>
                </a:lnTo>
                <a:lnTo>
                  <a:pt x="1448" y="334"/>
                </a:lnTo>
                <a:lnTo>
                  <a:pt x="1399" y="320"/>
                </a:lnTo>
                <a:lnTo>
                  <a:pt x="1349" y="308"/>
                </a:lnTo>
                <a:lnTo>
                  <a:pt x="1251" y="284"/>
                </a:lnTo>
                <a:lnTo>
                  <a:pt x="1154" y="264"/>
                </a:lnTo>
                <a:lnTo>
                  <a:pt x="1061" y="245"/>
                </a:lnTo>
                <a:lnTo>
                  <a:pt x="969" y="229"/>
                </a:lnTo>
                <a:lnTo>
                  <a:pt x="879" y="214"/>
                </a:lnTo>
                <a:lnTo>
                  <a:pt x="793" y="203"/>
                </a:lnTo>
                <a:lnTo>
                  <a:pt x="710" y="192"/>
                </a:lnTo>
                <a:lnTo>
                  <a:pt x="631" y="185"/>
                </a:lnTo>
                <a:lnTo>
                  <a:pt x="556" y="179"/>
                </a:lnTo>
                <a:lnTo>
                  <a:pt x="485" y="175"/>
                </a:lnTo>
                <a:lnTo>
                  <a:pt x="419" y="172"/>
                </a:lnTo>
                <a:lnTo>
                  <a:pt x="358" y="172"/>
                </a:lnTo>
                <a:close/>
                <a:moveTo>
                  <a:pt x="3209" y="1327"/>
                </a:moveTo>
                <a:lnTo>
                  <a:pt x="3209" y="1327"/>
                </a:lnTo>
                <a:close/>
                <a:moveTo>
                  <a:pt x="1405" y="1147"/>
                </a:moveTo>
                <a:lnTo>
                  <a:pt x="1404" y="1147"/>
                </a:lnTo>
                <a:lnTo>
                  <a:pt x="1361" y="1128"/>
                </a:lnTo>
                <a:lnTo>
                  <a:pt x="1318" y="1110"/>
                </a:lnTo>
                <a:lnTo>
                  <a:pt x="1277" y="1090"/>
                </a:lnTo>
                <a:lnTo>
                  <a:pt x="1236" y="1072"/>
                </a:lnTo>
                <a:lnTo>
                  <a:pt x="1195" y="1052"/>
                </a:lnTo>
                <a:lnTo>
                  <a:pt x="1154" y="1033"/>
                </a:lnTo>
                <a:lnTo>
                  <a:pt x="1115" y="1013"/>
                </a:lnTo>
                <a:lnTo>
                  <a:pt x="1076" y="992"/>
                </a:lnTo>
                <a:lnTo>
                  <a:pt x="1038" y="973"/>
                </a:lnTo>
                <a:lnTo>
                  <a:pt x="1000" y="953"/>
                </a:lnTo>
                <a:lnTo>
                  <a:pt x="963" y="933"/>
                </a:lnTo>
                <a:lnTo>
                  <a:pt x="927" y="912"/>
                </a:lnTo>
                <a:lnTo>
                  <a:pt x="890" y="891"/>
                </a:lnTo>
                <a:lnTo>
                  <a:pt x="855" y="871"/>
                </a:lnTo>
                <a:lnTo>
                  <a:pt x="819" y="849"/>
                </a:lnTo>
                <a:lnTo>
                  <a:pt x="785" y="828"/>
                </a:lnTo>
                <a:lnTo>
                  <a:pt x="739" y="801"/>
                </a:lnTo>
                <a:lnTo>
                  <a:pt x="695" y="773"/>
                </a:lnTo>
                <a:lnTo>
                  <a:pt x="653" y="745"/>
                </a:lnTo>
                <a:lnTo>
                  <a:pt x="612" y="717"/>
                </a:lnTo>
                <a:lnTo>
                  <a:pt x="570" y="689"/>
                </a:lnTo>
                <a:lnTo>
                  <a:pt x="531" y="662"/>
                </a:lnTo>
                <a:lnTo>
                  <a:pt x="494" y="635"/>
                </a:lnTo>
                <a:lnTo>
                  <a:pt x="457" y="607"/>
                </a:lnTo>
                <a:lnTo>
                  <a:pt x="422" y="580"/>
                </a:lnTo>
                <a:lnTo>
                  <a:pt x="387" y="553"/>
                </a:lnTo>
                <a:lnTo>
                  <a:pt x="354" y="526"/>
                </a:lnTo>
                <a:lnTo>
                  <a:pt x="323" y="501"/>
                </a:lnTo>
                <a:lnTo>
                  <a:pt x="292" y="475"/>
                </a:lnTo>
                <a:lnTo>
                  <a:pt x="263" y="449"/>
                </a:lnTo>
                <a:lnTo>
                  <a:pt x="237" y="424"/>
                </a:lnTo>
                <a:lnTo>
                  <a:pt x="210" y="401"/>
                </a:lnTo>
                <a:lnTo>
                  <a:pt x="185" y="377"/>
                </a:lnTo>
                <a:lnTo>
                  <a:pt x="163" y="354"/>
                </a:lnTo>
                <a:lnTo>
                  <a:pt x="140" y="333"/>
                </a:lnTo>
                <a:lnTo>
                  <a:pt x="120" y="311"/>
                </a:lnTo>
                <a:lnTo>
                  <a:pt x="101" y="290"/>
                </a:lnTo>
                <a:lnTo>
                  <a:pt x="84" y="271"/>
                </a:lnTo>
                <a:lnTo>
                  <a:pt x="68" y="252"/>
                </a:lnTo>
                <a:lnTo>
                  <a:pt x="54" y="235"/>
                </a:lnTo>
                <a:lnTo>
                  <a:pt x="41" y="218"/>
                </a:lnTo>
                <a:lnTo>
                  <a:pt x="31" y="203"/>
                </a:lnTo>
                <a:lnTo>
                  <a:pt x="21" y="188"/>
                </a:lnTo>
                <a:lnTo>
                  <a:pt x="13" y="175"/>
                </a:lnTo>
                <a:lnTo>
                  <a:pt x="7" y="163"/>
                </a:lnTo>
                <a:lnTo>
                  <a:pt x="3" y="152"/>
                </a:lnTo>
                <a:lnTo>
                  <a:pt x="1" y="143"/>
                </a:lnTo>
                <a:lnTo>
                  <a:pt x="0" y="135"/>
                </a:lnTo>
                <a:lnTo>
                  <a:pt x="1405" y="114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28" name="Freeform 4"/>
          <p:cNvSpPr>
            <a:spLocks noChangeArrowheads="1"/>
          </p:cNvSpPr>
          <p:nvPr/>
        </p:nvSpPr>
        <p:spPr bwMode="auto">
          <a:xfrm>
            <a:off x="4775200" y="958850"/>
            <a:ext cx="1374775" cy="717550"/>
          </a:xfrm>
          <a:custGeom>
            <a:avLst/>
            <a:gdLst>
              <a:gd name="T0" fmla="*/ 10 w 3060"/>
              <a:gd name="T1" fmla="*/ 34 h 1302"/>
              <a:gd name="T2" fmla="*/ 59 w 3060"/>
              <a:gd name="T3" fmla="*/ 16 h 1302"/>
              <a:gd name="T4" fmla="*/ 146 w 3060"/>
              <a:gd name="T5" fmla="*/ 4 h 1302"/>
              <a:gd name="T6" fmla="*/ 266 w 3060"/>
              <a:gd name="T7" fmla="*/ 0 h 1302"/>
              <a:gd name="T8" fmla="*/ 416 w 3060"/>
              <a:gd name="T9" fmla="*/ 3 h 1302"/>
              <a:gd name="T10" fmla="*/ 590 w 3060"/>
              <a:gd name="T11" fmla="*/ 17 h 1302"/>
              <a:gd name="T12" fmla="*/ 786 w 3060"/>
              <a:gd name="T13" fmla="*/ 40 h 1302"/>
              <a:gd name="T14" fmla="*/ 999 w 3060"/>
              <a:gd name="T15" fmla="*/ 77 h 1302"/>
              <a:gd name="T16" fmla="*/ 1224 w 3060"/>
              <a:gd name="T17" fmla="*/ 124 h 1302"/>
              <a:gd name="T18" fmla="*/ 1458 w 3060"/>
              <a:gd name="T19" fmla="*/ 185 h 1302"/>
              <a:gd name="T20" fmla="*/ 1696 w 3060"/>
              <a:gd name="T21" fmla="*/ 261 h 1302"/>
              <a:gd name="T22" fmla="*/ 1927 w 3060"/>
              <a:gd name="T23" fmla="*/ 357 h 1302"/>
              <a:gd name="T24" fmla="*/ 2143 w 3060"/>
              <a:gd name="T25" fmla="*/ 452 h 1302"/>
              <a:gd name="T26" fmla="*/ 2341 w 3060"/>
              <a:gd name="T27" fmla="*/ 547 h 1302"/>
              <a:gd name="T28" fmla="*/ 2520 w 3060"/>
              <a:gd name="T29" fmla="*/ 639 h 1302"/>
              <a:gd name="T30" fmla="*/ 2676 w 3060"/>
              <a:gd name="T31" fmla="*/ 731 h 1302"/>
              <a:gd name="T32" fmla="*/ 2809 w 3060"/>
              <a:gd name="T33" fmla="*/ 820 h 1302"/>
              <a:gd name="T34" fmla="*/ 2916 w 3060"/>
              <a:gd name="T35" fmla="*/ 907 h 1302"/>
              <a:gd name="T36" fmla="*/ 2996 w 3060"/>
              <a:gd name="T37" fmla="*/ 991 h 1302"/>
              <a:gd name="T38" fmla="*/ 3044 w 3060"/>
              <a:gd name="T39" fmla="*/ 1071 h 1302"/>
              <a:gd name="T40" fmla="*/ 3060 w 3060"/>
              <a:gd name="T41" fmla="*/ 1148 h 1302"/>
              <a:gd name="T42" fmla="*/ 3038 w 3060"/>
              <a:gd name="T43" fmla="*/ 1216 h 1302"/>
              <a:gd name="T44" fmla="*/ 2977 w 3060"/>
              <a:gd name="T45" fmla="*/ 1261 h 1302"/>
              <a:gd name="T46" fmla="*/ 2888 w 3060"/>
              <a:gd name="T47" fmla="*/ 1289 h 1302"/>
              <a:gd name="T48" fmla="*/ 2773 w 3060"/>
              <a:gd name="T49" fmla="*/ 1301 h 1302"/>
              <a:gd name="T50" fmla="*/ 2634 w 3060"/>
              <a:gd name="T51" fmla="*/ 1298 h 1302"/>
              <a:gd name="T52" fmla="*/ 2474 w 3060"/>
              <a:gd name="T53" fmla="*/ 1282 h 1302"/>
              <a:gd name="T54" fmla="*/ 2295 w 3060"/>
              <a:gd name="T55" fmla="*/ 1251 h 1302"/>
              <a:gd name="T56" fmla="*/ 2099 w 3060"/>
              <a:gd name="T57" fmla="*/ 1207 h 1302"/>
              <a:gd name="T58" fmla="*/ 1889 w 3060"/>
              <a:gd name="T59" fmla="*/ 1153 h 1302"/>
              <a:gd name="T60" fmla="*/ 1668 w 3060"/>
              <a:gd name="T61" fmla="*/ 1087 h 1302"/>
              <a:gd name="T62" fmla="*/ 1435 w 3060"/>
              <a:gd name="T63" fmla="*/ 1012 h 1302"/>
              <a:gd name="T64" fmla="*/ 1208 w 3060"/>
              <a:gd name="T65" fmla="*/ 919 h 1302"/>
              <a:gd name="T66" fmla="*/ 998 w 3060"/>
              <a:gd name="T67" fmla="*/ 815 h 1302"/>
              <a:gd name="T68" fmla="*/ 805 w 3060"/>
              <a:gd name="T69" fmla="*/ 706 h 1302"/>
              <a:gd name="T70" fmla="*/ 629 w 3060"/>
              <a:gd name="T71" fmla="*/ 597 h 1302"/>
              <a:gd name="T72" fmla="*/ 470 w 3060"/>
              <a:gd name="T73" fmla="*/ 490 h 1302"/>
              <a:gd name="T74" fmla="*/ 333 w 3060"/>
              <a:gd name="T75" fmla="*/ 387 h 1302"/>
              <a:gd name="T76" fmla="*/ 217 w 3060"/>
              <a:gd name="T77" fmla="*/ 292 h 1302"/>
              <a:gd name="T78" fmla="*/ 124 w 3060"/>
              <a:gd name="T79" fmla="*/ 209 h 1302"/>
              <a:gd name="T80" fmla="*/ 56 w 3060"/>
              <a:gd name="T81" fmla="*/ 137 h 1302"/>
              <a:gd name="T82" fmla="*/ 15 w 3060"/>
              <a:gd name="T83" fmla="*/ 84 h 1302"/>
              <a:gd name="T84" fmla="*/ 0 w 3060"/>
              <a:gd name="T85" fmla="*/ 49 h 1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0" h="1302">
                <a:moveTo>
                  <a:pt x="0" y="49"/>
                </a:moveTo>
                <a:lnTo>
                  <a:pt x="2" y="42"/>
                </a:lnTo>
                <a:lnTo>
                  <a:pt x="10" y="34"/>
                </a:lnTo>
                <a:lnTo>
                  <a:pt x="22" y="27"/>
                </a:lnTo>
                <a:lnTo>
                  <a:pt x="38" y="21"/>
                </a:lnTo>
                <a:lnTo>
                  <a:pt x="59" y="16"/>
                </a:lnTo>
                <a:lnTo>
                  <a:pt x="84" y="12"/>
                </a:lnTo>
                <a:lnTo>
                  <a:pt x="113" y="8"/>
                </a:lnTo>
                <a:lnTo>
                  <a:pt x="146" y="4"/>
                </a:lnTo>
                <a:lnTo>
                  <a:pt x="183" y="2"/>
                </a:lnTo>
                <a:lnTo>
                  <a:pt x="223" y="0"/>
                </a:lnTo>
                <a:lnTo>
                  <a:pt x="266" y="0"/>
                </a:lnTo>
                <a:lnTo>
                  <a:pt x="313" y="0"/>
                </a:lnTo>
                <a:lnTo>
                  <a:pt x="363" y="1"/>
                </a:lnTo>
                <a:lnTo>
                  <a:pt x="416" y="3"/>
                </a:lnTo>
                <a:lnTo>
                  <a:pt x="472" y="8"/>
                </a:lnTo>
                <a:lnTo>
                  <a:pt x="530" y="12"/>
                </a:lnTo>
                <a:lnTo>
                  <a:pt x="590" y="17"/>
                </a:lnTo>
                <a:lnTo>
                  <a:pt x="654" y="24"/>
                </a:lnTo>
                <a:lnTo>
                  <a:pt x="719" y="31"/>
                </a:lnTo>
                <a:lnTo>
                  <a:pt x="786" y="40"/>
                </a:lnTo>
                <a:lnTo>
                  <a:pt x="856" y="51"/>
                </a:lnTo>
                <a:lnTo>
                  <a:pt x="926" y="63"/>
                </a:lnTo>
                <a:lnTo>
                  <a:pt x="999" y="77"/>
                </a:lnTo>
                <a:lnTo>
                  <a:pt x="1074" y="90"/>
                </a:lnTo>
                <a:lnTo>
                  <a:pt x="1148" y="106"/>
                </a:lnTo>
                <a:lnTo>
                  <a:pt x="1224" y="124"/>
                </a:lnTo>
                <a:lnTo>
                  <a:pt x="1301" y="143"/>
                </a:lnTo>
                <a:lnTo>
                  <a:pt x="1379" y="163"/>
                </a:lnTo>
                <a:lnTo>
                  <a:pt x="1458" y="185"/>
                </a:lnTo>
                <a:lnTo>
                  <a:pt x="1537" y="209"/>
                </a:lnTo>
                <a:lnTo>
                  <a:pt x="1616" y="234"/>
                </a:lnTo>
                <a:lnTo>
                  <a:pt x="1696" y="261"/>
                </a:lnTo>
                <a:lnTo>
                  <a:pt x="1774" y="293"/>
                </a:lnTo>
                <a:lnTo>
                  <a:pt x="1851" y="325"/>
                </a:lnTo>
                <a:lnTo>
                  <a:pt x="1927" y="357"/>
                </a:lnTo>
                <a:lnTo>
                  <a:pt x="2001" y="389"/>
                </a:lnTo>
                <a:lnTo>
                  <a:pt x="2073" y="420"/>
                </a:lnTo>
                <a:lnTo>
                  <a:pt x="2143" y="452"/>
                </a:lnTo>
                <a:lnTo>
                  <a:pt x="2211" y="484"/>
                </a:lnTo>
                <a:lnTo>
                  <a:pt x="2278" y="515"/>
                </a:lnTo>
                <a:lnTo>
                  <a:pt x="2341" y="547"/>
                </a:lnTo>
                <a:lnTo>
                  <a:pt x="2403" y="578"/>
                </a:lnTo>
                <a:lnTo>
                  <a:pt x="2462" y="608"/>
                </a:lnTo>
                <a:lnTo>
                  <a:pt x="2520" y="639"/>
                </a:lnTo>
                <a:lnTo>
                  <a:pt x="2574" y="670"/>
                </a:lnTo>
                <a:lnTo>
                  <a:pt x="2627" y="700"/>
                </a:lnTo>
                <a:lnTo>
                  <a:pt x="2676" y="731"/>
                </a:lnTo>
                <a:lnTo>
                  <a:pt x="2724" y="761"/>
                </a:lnTo>
                <a:lnTo>
                  <a:pt x="2768" y="791"/>
                </a:lnTo>
                <a:lnTo>
                  <a:pt x="2809" y="820"/>
                </a:lnTo>
                <a:lnTo>
                  <a:pt x="2848" y="850"/>
                </a:lnTo>
                <a:lnTo>
                  <a:pt x="2883" y="879"/>
                </a:lnTo>
                <a:lnTo>
                  <a:pt x="2916" y="907"/>
                </a:lnTo>
                <a:lnTo>
                  <a:pt x="2946" y="935"/>
                </a:lnTo>
                <a:lnTo>
                  <a:pt x="2972" y="963"/>
                </a:lnTo>
                <a:lnTo>
                  <a:pt x="2996" y="991"/>
                </a:lnTo>
                <a:lnTo>
                  <a:pt x="3015" y="1018"/>
                </a:lnTo>
                <a:lnTo>
                  <a:pt x="3031" y="1045"/>
                </a:lnTo>
                <a:lnTo>
                  <a:pt x="3044" y="1071"/>
                </a:lnTo>
                <a:lnTo>
                  <a:pt x="3053" y="1097"/>
                </a:lnTo>
                <a:lnTo>
                  <a:pt x="3058" y="1123"/>
                </a:lnTo>
                <a:lnTo>
                  <a:pt x="3060" y="1148"/>
                </a:lnTo>
                <a:lnTo>
                  <a:pt x="3058" y="1172"/>
                </a:lnTo>
                <a:lnTo>
                  <a:pt x="3052" y="1196"/>
                </a:lnTo>
                <a:lnTo>
                  <a:pt x="3038" y="1216"/>
                </a:lnTo>
                <a:lnTo>
                  <a:pt x="3021" y="1232"/>
                </a:lnTo>
                <a:lnTo>
                  <a:pt x="3001" y="1248"/>
                </a:lnTo>
                <a:lnTo>
                  <a:pt x="2977" y="1261"/>
                </a:lnTo>
                <a:lnTo>
                  <a:pt x="2950" y="1272"/>
                </a:lnTo>
                <a:lnTo>
                  <a:pt x="2921" y="1282"/>
                </a:lnTo>
                <a:lnTo>
                  <a:pt x="2888" y="1289"/>
                </a:lnTo>
                <a:lnTo>
                  <a:pt x="2852" y="1295"/>
                </a:lnTo>
                <a:lnTo>
                  <a:pt x="2814" y="1299"/>
                </a:lnTo>
                <a:lnTo>
                  <a:pt x="2773" y="1301"/>
                </a:lnTo>
                <a:lnTo>
                  <a:pt x="2730" y="1302"/>
                </a:lnTo>
                <a:lnTo>
                  <a:pt x="2683" y="1301"/>
                </a:lnTo>
                <a:lnTo>
                  <a:pt x="2634" y="1298"/>
                </a:lnTo>
                <a:lnTo>
                  <a:pt x="2584" y="1294"/>
                </a:lnTo>
                <a:lnTo>
                  <a:pt x="2530" y="1289"/>
                </a:lnTo>
                <a:lnTo>
                  <a:pt x="2474" y="1282"/>
                </a:lnTo>
                <a:lnTo>
                  <a:pt x="2417" y="1272"/>
                </a:lnTo>
                <a:lnTo>
                  <a:pt x="2357" y="1263"/>
                </a:lnTo>
                <a:lnTo>
                  <a:pt x="2295" y="1251"/>
                </a:lnTo>
                <a:lnTo>
                  <a:pt x="2232" y="1238"/>
                </a:lnTo>
                <a:lnTo>
                  <a:pt x="2166" y="1224"/>
                </a:lnTo>
                <a:lnTo>
                  <a:pt x="2099" y="1207"/>
                </a:lnTo>
                <a:lnTo>
                  <a:pt x="2031" y="1191"/>
                </a:lnTo>
                <a:lnTo>
                  <a:pt x="1961" y="1172"/>
                </a:lnTo>
                <a:lnTo>
                  <a:pt x="1889" y="1153"/>
                </a:lnTo>
                <a:lnTo>
                  <a:pt x="1817" y="1132"/>
                </a:lnTo>
                <a:lnTo>
                  <a:pt x="1743" y="1111"/>
                </a:lnTo>
                <a:lnTo>
                  <a:pt x="1668" y="1087"/>
                </a:lnTo>
                <a:lnTo>
                  <a:pt x="1591" y="1063"/>
                </a:lnTo>
                <a:lnTo>
                  <a:pt x="1513" y="1037"/>
                </a:lnTo>
                <a:lnTo>
                  <a:pt x="1435" y="1012"/>
                </a:lnTo>
                <a:lnTo>
                  <a:pt x="1357" y="984"/>
                </a:lnTo>
                <a:lnTo>
                  <a:pt x="1282" y="952"/>
                </a:lnTo>
                <a:lnTo>
                  <a:pt x="1208" y="919"/>
                </a:lnTo>
                <a:lnTo>
                  <a:pt x="1136" y="885"/>
                </a:lnTo>
                <a:lnTo>
                  <a:pt x="1067" y="850"/>
                </a:lnTo>
                <a:lnTo>
                  <a:pt x="998" y="815"/>
                </a:lnTo>
                <a:lnTo>
                  <a:pt x="932" y="779"/>
                </a:lnTo>
                <a:lnTo>
                  <a:pt x="868" y="742"/>
                </a:lnTo>
                <a:lnTo>
                  <a:pt x="805" y="706"/>
                </a:lnTo>
                <a:lnTo>
                  <a:pt x="744" y="670"/>
                </a:lnTo>
                <a:lnTo>
                  <a:pt x="685" y="633"/>
                </a:lnTo>
                <a:lnTo>
                  <a:pt x="629" y="597"/>
                </a:lnTo>
                <a:lnTo>
                  <a:pt x="573" y="561"/>
                </a:lnTo>
                <a:lnTo>
                  <a:pt x="520" y="525"/>
                </a:lnTo>
                <a:lnTo>
                  <a:pt x="470" y="490"/>
                </a:lnTo>
                <a:lnTo>
                  <a:pt x="423" y="455"/>
                </a:lnTo>
                <a:lnTo>
                  <a:pt x="376" y="421"/>
                </a:lnTo>
                <a:lnTo>
                  <a:pt x="333" y="387"/>
                </a:lnTo>
                <a:lnTo>
                  <a:pt x="292" y="355"/>
                </a:lnTo>
                <a:lnTo>
                  <a:pt x="253" y="323"/>
                </a:lnTo>
                <a:lnTo>
                  <a:pt x="217" y="292"/>
                </a:lnTo>
                <a:lnTo>
                  <a:pt x="184" y="263"/>
                </a:lnTo>
                <a:lnTo>
                  <a:pt x="153" y="235"/>
                </a:lnTo>
                <a:lnTo>
                  <a:pt x="124" y="209"/>
                </a:lnTo>
                <a:lnTo>
                  <a:pt x="99" y="183"/>
                </a:lnTo>
                <a:lnTo>
                  <a:pt x="76" y="159"/>
                </a:lnTo>
                <a:lnTo>
                  <a:pt x="56" y="137"/>
                </a:lnTo>
                <a:lnTo>
                  <a:pt x="39" y="118"/>
                </a:lnTo>
                <a:lnTo>
                  <a:pt x="25" y="99"/>
                </a:lnTo>
                <a:lnTo>
                  <a:pt x="15" y="84"/>
                </a:lnTo>
                <a:lnTo>
                  <a:pt x="6" y="69"/>
                </a:lnTo>
                <a:lnTo>
                  <a:pt x="1" y="58"/>
                </a:lnTo>
                <a:lnTo>
                  <a:pt x="0" y="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31" name="Freeform 7"/>
          <p:cNvSpPr>
            <a:spLocks noChangeArrowheads="1"/>
          </p:cNvSpPr>
          <p:nvPr/>
        </p:nvSpPr>
        <p:spPr bwMode="auto">
          <a:xfrm>
            <a:off x="5192713" y="746125"/>
            <a:ext cx="1006475" cy="984250"/>
          </a:xfrm>
          <a:custGeom>
            <a:avLst/>
            <a:gdLst>
              <a:gd name="T0" fmla="*/ 384 w 2241"/>
              <a:gd name="T1" fmla="*/ 59 h 1772"/>
              <a:gd name="T2" fmla="*/ 652 w 2241"/>
              <a:gd name="T3" fmla="*/ 122 h 1772"/>
              <a:gd name="T4" fmla="*/ 858 w 2241"/>
              <a:gd name="T5" fmla="*/ 190 h 1772"/>
              <a:gd name="T6" fmla="*/ 961 w 2241"/>
              <a:gd name="T7" fmla="*/ 240 h 1772"/>
              <a:gd name="T8" fmla="*/ 1158 w 2241"/>
              <a:gd name="T9" fmla="*/ 369 h 1772"/>
              <a:gd name="T10" fmla="*/ 1417 w 2241"/>
              <a:gd name="T11" fmla="*/ 557 h 1772"/>
              <a:gd name="T12" fmla="*/ 1694 w 2241"/>
              <a:gd name="T13" fmla="*/ 779 h 1772"/>
              <a:gd name="T14" fmla="*/ 1953 w 2241"/>
              <a:gd name="T15" fmla="*/ 1023 h 1772"/>
              <a:gd name="T16" fmla="*/ 2072 w 2241"/>
              <a:gd name="T17" fmla="*/ 1157 h 1772"/>
              <a:gd name="T18" fmla="*/ 2170 w 2241"/>
              <a:gd name="T19" fmla="*/ 1297 h 1772"/>
              <a:gd name="T20" fmla="*/ 2230 w 2241"/>
              <a:gd name="T21" fmla="*/ 1437 h 1772"/>
              <a:gd name="T22" fmla="*/ 2241 w 2241"/>
              <a:gd name="T23" fmla="*/ 1504 h 1772"/>
              <a:gd name="T24" fmla="*/ 2237 w 2241"/>
              <a:gd name="T25" fmla="*/ 1566 h 1772"/>
              <a:gd name="T26" fmla="*/ 2216 w 2241"/>
              <a:gd name="T27" fmla="*/ 1625 h 1772"/>
              <a:gd name="T28" fmla="*/ 2175 w 2241"/>
              <a:gd name="T29" fmla="*/ 1683 h 1772"/>
              <a:gd name="T30" fmla="*/ 2126 w 2241"/>
              <a:gd name="T31" fmla="*/ 1722 h 1772"/>
              <a:gd name="T32" fmla="*/ 2057 w 2241"/>
              <a:gd name="T33" fmla="*/ 1751 h 1772"/>
              <a:gd name="T34" fmla="*/ 1907 w 2241"/>
              <a:gd name="T35" fmla="*/ 1772 h 1772"/>
              <a:gd name="T36" fmla="*/ 1725 w 2241"/>
              <a:gd name="T37" fmla="*/ 1753 h 1772"/>
              <a:gd name="T38" fmla="*/ 1533 w 2241"/>
              <a:gd name="T39" fmla="*/ 1701 h 1772"/>
              <a:gd name="T40" fmla="*/ 1329 w 2241"/>
              <a:gd name="T41" fmla="*/ 1615 h 1772"/>
              <a:gd name="T42" fmla="*/ 1122 w 2241"/>
              <a:gd name="T43" fmla="*/ 1496 h 1772"/>
              <a:gd name="T44" fmla="*/ 942 w 2241"/>
              <a:gd name="T45" fmla="*/ 1358 h 1772"/>
              <a:gd name="T46" fmla="*/ 785 w 2241"/>
              <a:gd name="T47" fmla="*/ 1206 h 1772"/>
              <a:gd name="T48" fmla="*/ 453 w 2241"/>
              <a:gd name="T49" fmla="*/ 828 h 1772"/>
              <a:gd name="T50" fmla="*/ 251 w 2241"/>
              <a:gd name="T51" fmla="*/ 550 h 1772"/>
              <a:gd name="T52" fmla="*/ 68 w 2241"/>
              <a:gd name="T53" fmla="*/ 234 h 1772"/>
              <a:gd name="T54" fmla="*/ 1 w 2241"/>
              <a:gd name="T55" fmla="*/ 102 h 1772"/>
              <a:gd name="T56" fmla="*/ 4 w 2241"/>
              <a:gd name="T57" fmla="*/ 61 h 1772"/>
              <a:gd name="T58" fmla="*/ 24 w 2241"/>
              <a:gd name="T59" fmla="*/ 26 h 1772"/>
              <a:gd name="T60" fmla="*/ 59 w 2241"/>
              <a:gd name="T61" fmla="*/ 4 h 1772"/>
              <a:gd name="T62" fmla="*/ 95 w 2241"/>
              <a:gd name="T63" fmla="*/ 1 h 1772"/>
              <a:gd name="T64" fmla="*/ 495 w 2241"/>
              <a:gd name="T65" fmla="*/ 259 h 1772"/>
              <a:gd name="T66" fmla="*/ 295 w 2241"/>
              <a:gd name="T67" fmla="*/ 215 h 1772"/>
              <a:gd name="T68" fmla="*/ 372 w 2241"/>
              <a:gd name="T69" fmla="*/ 421 h 1772"/>
              <a:gd name="T70" fmla="*/ 534 w 2241"/>
              <a:gd name="T71" fmla="*/ 656 h 1772"/>
              <a:gd name="T72" fmla="*/ 776 w 2241"/>
              <a:gd name="T73" fmla="*/ 940 h 1772"/>
              <a:gd name="T74" fmla="*/ 995 w 2241"/>
              <a:gd name="T75" fmla="*/ 1176 h 1772"/>
              <a:gd name="T76" fmla="*/ 1143 w 2241"/>
              <a:gd name="T77" fmla="*/ 1300 h 1772"/>
              <a:gd name="T78" fmla="*/ 1329 w 2241"/>
              <a:gd name="T79" fmla="*/ 1423 h 1772"/>
              <a:gd name="T80" fmla="*/ 1515 w 2241"/>
              <a:gd name="T81" fmla="*/ 1512 h 1772"/>
              <a:gd name="T82" fmla="*/ 1690 w 2241"/>
              <a:gd name="T83" fmla="*/ 1570 h 1772"/>
              <a:gd name="T84" fmla="*/ 1834 w 2241"/>
              <a:gd name="T85" fmla="*/ 1598 h 1772"/>
              <a:gd name="T86" fmla="*/ 1948 w 2241"/>
              <a:gd name="T87" fmla="*/ 1602 h 1772"/>
              <a:gd name="T88" fmla="*/ 2027 w 2241"/>
              <a:gd name="T89" fmla="*/ 1582 h 1772"/>
              <a:gd name="T90" fmla="*/ 2055 w 2241"/>
              <a:gd name="T91" fmla="*/ 1560 h 1772"/>
              <a:gd name="T92" fmla="*/ 2062 w 2241"/>
              <a:gd name="T93" fmla="*/ 1550 h 1772"/>
              <a:gd name="T94" fmla="*/ 2070 w 2241"/>
              <a:gd name="T95" fmla="*/ 1494 h 1772"/>
              <a:gd name="T96" fmla="*/ 2043 w 2241"/>
              <a:gd name="T97" fmla="*/ 1419 h 1772"/>
              <a:gd name="T98" fmla="*/ 1988 w 2241"/>
              <a:gd name="T99" fmla="*/ 1330 h 1772"/>
              <a:gd name="T100" fmla="*/ 1897 w 2241"/>
              <a:gd name="T101" fmla="*/ 1213 h 1772"/>
              <a:gd name="T102" fmla="*/ 1640 w 2241"/>
              <a:gd name="T103" fmla="*/ 960 h 1772"/>
              <a:gd name="T104" fmla="*/ 1368 w 2241"/>
              <a:gd name="T105" fmla="*/ 735 h 1772"/>
              <a:gd name="T106" fmla="*/ 1113 w 2241"/>
              <a:gd name="T107" fmla="*/ 545 h 1772"/>
              <a:gd name="T108" fmla="*/ 909 w 2241"/>
              <a:gd name="T109" fmla="*/ 409 h 1772"/>
              <a:gd name="T110" fmla="*/ 756 w 2241"/>
              <a:gd name="T111" fmla="*/ 334 h 1772"/>
              <a:gd name="T112" fmla="*/ 563 w 2241"/>
              <a:gd name="T113" fmla="*/ 275 h 1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41" h="1772">
                <a:moveTo>
                  <a:pt x="102" y="1"/>
                </a:moveTo>
                <a:lnTo>
                  <a:pt x="180" y="16"/>
                </a:lnTo>
                <a:lnTo>
                  <a:pt x="252" y="32"/>
                </a:lnTo>
                <a:lnTo>
                  <a:pt x="320" y="45"/>
                </a:lnTo>
                <a:lnTo>
                  <a:pt x="384" y="59"/>
                </a:lnTo>
                <a:lnTo>
                  <a:pt x="443" y="72"/>
                </a:lnTo>
                <a:lnTo>
                  <a:pt x="500" y="85"/>
                </a:lnTo>
                <a:lnTo>
                  <a:pt x="554" y="97"/>
                </a:lnTo>
                <a:lnTo>
                  <a:pt x="604" y="108"/>
                </a:lnTo>
                <a:lnTo>
                  <a:pt x="652" y="122"/>
                </a:lnTo>
                <a:lnTo>
                  <a:pt x="698" y="134"/>
                </a:lnTo>
                <a:lnTo>
                  <a:pt x="741" y="147"/>
                </a:lnTo>
                <a:lnTo>
                  <a:pt x="782" y="161"/>
                </a:lnTo>
                <a:lnTo>
                  <a:pt x="820" y="174"/>
                </a:lnTo>
                <a:lnTo>
                  <a:pt x="858" y="190"/>
                </a:lnTo>
                <a:lnTo>
                  <a:pt x="894" y="205"/>
                </a:lnTo>
                <a:lnTo>
                  <a:pt x="928" y="222"/>
                </a:lnTo>
                <a:lnTo>
                  <a:pt x="933" y="224"/>
                </a:lnTo>
                <a:lnTo>
                  <a:pt x="961" y="240"/>
                </a:lnTo>
                <a:lnTo>
                  <a:pt x="993" y="261"/>
                </a:lnTo>
                <a:lnTo>
                  <a:pt x="1029" y="283"/>
                </a:lnTo>
                <a:lnTo>
                  <a:pt x="1070" y="309"/>
                </a:lnTo>
                <a:lnTo>
                  <a:pt x="1113" y="338"/>
                </a:lnTo>
                <a:lnTo>
                  <a:pt x="1158" y="369"/>
                </a:lnTo>
                <a:lnTo>
                  <a:pt x="1207" y="402"/>
                </a:lnTo>
                <a:lnTo>
                  <a:pt x="1257" y="438"/>
                </a:lnTo>
                <a:lnTo>
                  <a:pt x="1309" y="475"/>
                </a:lnTo>
                <a:lnTo>
                  <a:pt x="1362" y="515"/>
                </a:lnTo>
                <a:lnTo>
                  <a:pt x="1417" y="557"/>
                </a:lnTo>
                <a:lnTo>
                  <a:pt x="1472" y="599"/>
                </a:lnTo>
                <a:lnTo>
                  <a:pt x="1528" y="642"/>
                </a:lnTo>
                <a:lnTo>
                  <a:pt x="1584" y="688"/>
                </a:lnTo>
                <a:lnTo>
                  <a:pt x="1639" y="733"/>
                </a:lnTo>
                <a:lnTo>
                  <a:pt x="1694" y="779"/>
                </a:lnTo>
                <a:lnTo>
                  <a:pt x="1755" y="833"/>
                </a:lnTo>
                <a:lnTo>
                  <a:pt x="1814" y="887"/>
                </a:lnTo>
                <a:lnTo>
                  <a:pt x="1872" y="941"/>
                </a:lnTo>
                <a:lnTo>
                  <a:pt x="1928" y="996"/>
                </a:lnTo>
                <a:lnTo>
                  <a:pt x="1953" y="1023"/>
                </a:lnTo>
                <a:lnTo>
                  <a:pt x="1979" y="1050"/>
                </a:lnTo>
                <a:lnTo>
                  <a:pt x="2004" y="1077"/>
                </a:lnTo>
                <a:lnTo>
                  <a:pt x="2027" y="1104"/>
                </a:lnTo>
                <a:lnTo>
                  <a:pt x="2050" y="1131"/>
                </a:lnTo>
                <a:lnTo>
                  <a:pt x="2072" y="1157"/>
                </a:lnTo>
                <a:lnTo>
                  <a:pt x="2092" y="1183"/>
                </a:lnTo>
                <a:lnTo>
                  <a:pt x="2112" y="1209"/>
                </a:lnTo>
                <a:lnTo>
                  <a:pt x="2133" y="1239"/>
                </a:lnTo>
                <a:lnTo>
                  <a:pt x="2152" y="1268"/>
                </a:lnTo>
                <a:lnTo>
                  <a:pt x="2170" y="1297"/>
                </a:lnTo>
                <a:lnTo>
                  <a:pt x="2186" y="1326"/>
                </a:lnTo>
                <a:lnTo>
                  <a:pt x="2199" y="1355"/>
                </a:lnTo>
                <a:lnTo>
                  <a:pt x="2212" y="1382"/>
                </a:lnTo>
                <a:lnTo>
                  <a:pt x="2222" y="1410"/>
                </a:lnTo>
                <a:lnTo>
                  <a:pt x="2230" y="1437"/>
                </a:lnTo>
                <a:lnTo>
                  <a:pt x="2233" y="1451"/>
                </a:lnTo>
                <a:lnTo>
                  <a:pt x="2236" y="1464"/>
                </a:lnTo>
                <a:lnTo>
                  <a:pt x="2238" y="1477"/>
                </a:lnTo>
                <a:lnTo>
                  <a:pt x="2240" y="1491"/>
                </a:lnTo>
                <a:lnTo>
                  <a:pt x="2241" y="1504"/>
                </a:lnTo>
                <a:lnTo>
                  <a:pt x="2241" y="1516"/>
                </a:lnTo>
                <a:lnTo>
                  <a:pt x="2241" y="1529"/>
                </a:lnTo>
                <a:lnTo>
                  <a:pt x="2240" y="1541"/>
                </a:lnTo>
                <a:lnTo>
                  <a:pt x="2239" y="1553"/>
                </a:lnTo>
                <a:lnTo>
                  <a:pt x="2237" y="1566"/>
                </a:lnTo>
                <a:lnTo>
                  <a:pt x="2233" y="1578"/>
                </a:lnTo>
                <a:lnTo>
                  <a:pt x="2230" y="1590"/>
                </a:lnTo>
                <a:lnTo>
                  <a:pt x="2226" y="1602"/>
                </a:lnTo>
                <a:lnTo>
                  <a:pt x="2222" y="1613"/>
                </a:lnTo>
                <a:lnTo>
                  <a:pt x="2216" y="1625"/>
                </a:lnTo>
                <a:lnTo>
                  <a:pt x="2211" y="1636"/>
                </a:lnTo>
                <a:lnTo>
                  <a:pt x="2207" y="1641"/>
                </a:lnTo>
                <a:lnTo>
                  <a:pt x="2196" y="1657"/>
                </a:lnTo>
                <a:lnTo>
                  <a:pt x="2185" y="1671"/>
                </a:lnTo>
                <a:lnTo>
                  <a:pt x="2175" y="1683"/>
                </a:lnTo>
                <a:lnTo>
                  <a:pt x="2162" y="1695"/>
                </a:lnTo>
                <a:lnTo>
                  <a:pt x="2154" y="1703"/>
                </a:lnTo>
                <a:lnTo>
                  <a:pt x="2146" y="1709"/>
                </a:lnTo>
                <a:lnTo>
                  <a:pt x="2136" y="1716"/>
                </a:lnTo>
                <a:lnTo>
                  <a:pt x="2126" y="1722"/>
                </a:lnTo>
                <a:lnTo>
                  <a:pt x="2116" y="1728"/>
                </a:lnTo>
                <a:lnTo>
                  <a:pt x="2105" y="1733"/>
                </a:lnTo>
                <a:lnTo>
                  <a:pt x="2093" y="1739"/>
                </a:lnTo>
                <a:lnTo>
                  <a:pt x="2082" y="1743"/>
                </a:lnTo>
                <a:lnTo>
                  <a:pt x="2057" y="1751"/>
                </a:lnTo>
                <a:lnTo>
                  <a:pt x="2030" y="1759"/>
                </a:lnTo>
                <a:lnTo>
                  <a:pt x="2002" y="1764"/>
                </a:lnTo>
                <a:lnTo>
                  <a:pt x="1972" y="1768"/>
                </a:lnTo>
                <a:lnTo>
                  <a:pt x="1940" y="1771"/>
                </a:lnTo>
                <a:lnTo>
                  <a:pt x="1907" y="1772"/>
                </a:lnTo>
                <a:lnTo>
                  <a:pt x="1873" y="1771"/>
                </a:lnTo>
                <a:lnTo>
                  <a:pt x="1838" y="1769"/>
                </a:lnTo>
                <a:lnTo>
                  <a:pt x="1801" y="1766"/>
                </a:lnTo>
                <a:lnTo>
                  <a:pt x="1764" y="1761"/>
                </a:lnTo>
                <a:lnTo>
                  <a:pt x="1725" y="1753"/>
                </a:lnTo>
                <a:lnTo>
                  <a:pt x="1686" y="1745"/>
                </a:lnTo>
                <a:lnTo>
                  <a:pt x="1648" y="1737"/>
                </a:lnTo>
                <a:lnTo>
                  <a:pt x="1610" y="1726"/>
                </a:lnTo>
                <a:lnTo>
                  <a:pt x="1572" y="1714"/>
                </a:lnTo>
                <a:lnTo>
                  <a:pt x="1533" y="1701"/>
                </a:lnTo>
                <a:lnTo>
                  <a:pt x="1493" y="1687"/>
                </a:lnTo>
                <a:lnTo>
                  <a:pt x="1453" y="1671"/>
                </a:lnTo>
                <a:lnTo>
                  <a:pt x="1412" y="1655"/>
                </a:lnTo>
                <a:lnTo>
                  <a:pt x="1371" y="1636"/>
                </a:lnTo>
                <a:lnTo>
                  <a:pt x="1329" y="1615"/>
                </a:lnTo>
                <a:lnTo>
                  <a:pt x="1288" y="1595"/>
                </a:lnTo>
                <a:lnTo>
                  <a:pt x="1247" y="1572"/>
                </a:lnTo>
                <a:lnTo>
                  <a:pt x="1206" y="1547"/>
                </a:lnTo>
                <a:lnTo>
                  <a:pt x="1163" y="1523"/>
                </a:lnTo>
                <a:lnTo>
                  <a:pt x="1122" y="1496"/>
                </a:lnTo>
                <a:lnTo>
                  <a:pt x="1081" y="1467"/>
                </a:lnTo>
                <a:lnTo>
                  <a:pt x="1040" y="1437"/>
                </a:lnTo>
                <a:lnTo>
                  <a:pt x="1008" y="1411"/>
                </a:lnTo>
                <a:lnTo>
                  <a:pt x="975" y="1385"/>
                </a:lnTo>
                <a:lnTo>
                  <a:pt x="942" y="1358"/>
                </a:lnTo>
                <a:lnTo>
                  <a:pt x="910" y="1330"/>
                </a:lnTo>
                <a:lnTo>
                  <a:pt x="878" y="1300"/>
                </a:lnTo>
                <a:lnTo>
                  <a:pt x="847" y="1270"/>
                </a:lnTo>
                <a:lnTo>
                  <a:pt x="816" y="1238"/>
                </a:lnTo>
                <a:lnTo>
                  <a:pt x="785" y="1206"/>
                </a:lnTo>
                <a:lnTo>
                  <a:pt x="703" y="1115"/>
                </a:lnTo>
                <a:lnTo>
                  <a:pt x="630" y="1033"/>
                </a:lnTo>
                <a:lnTo>
                  <a:pt x="564" y="959"/>
                </a:lnTo>
                <a:lnTo>
                  <a:pt x="505" y="891"/>
                </a:lnTo>
                <a:lnTo>
                  <a:pt x="453" y="828"/>
                </a:lnTo>
                <a:lnTo>
                  <a:pt x="405" y="769"/>
                </a:lnTo>
                <a:lnTo>
                  <a:pt x="363" y="712"/>
                </a:lnTo>
                <a:lnTo>
                  <a:pt x="323" y="659"/>
                </a:lnTo>
                <a:lnTo>
                  <a:pt x="286" y="605"/>
                </a:lnTo>
                <a:lnTo>
                  <a:pt x="251" y="550"/>
                </a:lnTo>
                <a:lnTo>
                  <a:pt x="217" y="495"/>
                </a:lnTo>
                <a:lnTo>
                  <a:pt x="182" y="437"/>
                </a:lnTo>
                <a:lnTo>
                  <a:pt x="147" y="374"/>
                </a:lnTo>
                <a:lnTo>
                  <a:pt x="110" y="307"/>
                </a:lnTo>
                <a:lnTo>
                  <a:pt x="68" y="234"/>
                </a:lnTo>
                <a:lnTo>
                  <a:pt x="25" y="153"/>
                </a:lnTo>
                <a:lnTo>
                  <a:pt x="11" y="127"/>
                </a:lnTo>
                <a:lnTo>
                  <a:pt x="7" y="119"/>
                </a:lnTo>
                <a:lnTo>
                  <a:pt x="4" y="110"/>
                </a:lnTo>
                <a:lnTo>
                  <a:pt x="1" y="102"/>
                </a:lnTo>
                <a:lnTo>
                  <a:pt x="0" y="94"/>
                </a:lnTo>
                <a:lnTo>
                  <a:pt x="0" y="86"/>
                </a:lnTo>
                <a:lnTo>
                  <a:pt x="0" y="77"/>
                </a:lnTo>
                <a:lnTo>
                  <a:pt x="1" y="69"/>
                </a:lnTo>
                <a:lnTo>
                  <a:pt x="4" y="61"/>
                </a:lnTo>
                <a:lnTo>
                  <a:pt x="7" y="54"/>
                </a:lnTo>
                <a:lnTo>
                  <a:pt x="10" y="46"/>
                </a:lnTo>
                <a:lnTo>
                  <a:pt x="14" y="39"/>
                </a:lnTo>
                <a:lnTo>
                  <a:pt x="19" y="32"/>
                </a:lnTo>
                <a:lnTo>
                  <a:pt x="24" y="26"/>
                </a:lnTo>
                <a:lnTo>
                  <a:pt x="30" y="21"/>
                </a:lnTo>
                <a:lnTo>
                  <a:pt x="38" y="15"/>
                </a:lnTo>
                <a:lnTo>
                  <a:pt x="45" y="10"/>
                </a:lnTo>
                <a:lnTo>
                  <a:pt x="52" y="7"/>
                </a:lnTo>
                <a:lnTo>
                  <a:pt x="59" y="4"/>
                </a:lnTo>
                <a:lnTo>
                  <a:pt x="66" y="2"/>
                </a:lnTo>
                <a:lnTo>
                  <a:pt x="74" y="1"/>
                </a:lnTo>
                <a:lnTo>
                  <a:pt x="81" y="0"/>
                </a:lnTo>
                <a:lnTo>
                  <a:pt x="88" y="0"/>
                </a:lnTo>
                <a:lnTo>
                  <a:pt x="95" y="1"/>
                </a:lnTo>
                <a:lnTo>
                  <a:pt x="102" y="2"/>
                </a:lnTo>
                <a:lnTo>
                  <a:pt x="102" y="1"/>
                </a:lnTo>
                <a:close/>
                <a:moveTo>
                  <a:pt x="563" y="275"/>
                </a:moveTo>
                <a:lnTo>
                  <a:pt x="530" y="267"/>
                </a:lnTo>
                <a:lnTo>
                  <a:pt x="495" y="259"/>
                </a:lnTo>
                <a:lnTo>
                  <a:pt x="459" y="250"/>
                </a:lnTo>
                <a:lnTo>
                  <a:pt x="421" y="242"/>
                </a:lnTo>
                <a:lnTo>
                  <a:pt x="380" y="234"/>
                </a:lnTo>
                <a:lnTo>
                  <a:pt x="338" y="225"/>
                </a:lnTo>
                <a:lnTo>
                  <a:pt x="295" y="215"/>
                </a:lnTo>
                <a:lnTo>
                  <a:pt x="249" y="206"/>
                </a:lnTo>
                <a:lnTo>
                  <a:pt x="282" y="265"/>
                </a:lnTo>
                <a:lnTo>
                  <a:pt x="313" y="321"/>
                </a:lnTo>
                <a:lnTo>
                  <a:pt x="342" y="372"/>
                </a:lnTo>
                <a:lnTo>
                  <a:pt x="372" y="421"/>
                </a:lnTo>
                <a:lnTo>
                  <a:pt x="401" y="468"/>
                </a:lnTo>
                <a:lnTo>
                  <a:pt x="432" y="514"/>
                </a:lnTo>
                <a:lnTo>
                  <a:pt x="464" y="561"/>
                </a:lnTo>
                <a:lnTo>
                  <a:pt x="498" y="607"/>
                </a:lnTo>
                <a:lnTo>
                  <a:pt x="534" y="656"/>
                </a:lnTo>
                <a:lnTo>
                  <a:pt x="573" y="705"/>
                </a:lnTo>
                <a:lnTo>
                  <a:pt x="616" y="758"/>
                </a:lnTo>
                <a:lnTo>
                  <a:pt x="665" y="814"/>
                </a:lnTo>
                <a:lnTo>
                  <a:pt x="717" y="875"/>
                </a:lnTo>
                <a:lnTo>
                  <a:pt x="776" y="940"/>
                </a:lnTo>
                <a:lnTo>
                  <a:pt x="840" y="1012"/>
                </a:lnTo>
                <a:lnTo>
                  <a:pt x="912" y="1091"/>
                </a:lnTo>
                <a:lnTo>
                  <a:pt x="939" y="1119"/>
                </a:lnTo>
                <a:lnTo>
                  <a:pt x="967" y="1148"/>
                </a:lnTo>
                <a:lnTo>
                  <a:pt x="995" y="1176"/>
                </a:lnTo>
                <a:lnTo>
                  <a:pt x="1024" y="1202"/>
                </a:lnTo>
                <a:lnTo>
                  <a:pt x="1053" y="1228"/>
                </a:lnTo>
                <a:lnTo>
                  <a:pt x="1083" y="1252"/>
                </a:lnTo>
                <a:lnTo>
                  <a:pt x="1113" y="1277"/>
                </a:lnTo>
                <a:lnTo>
                  <a:pt x="1143" y="1300"/>
                </a:lnTo>
                <a:lnTo>
                  <a:pt x="1180" y="1327"/>
                </a:lnTo>
                <a:lnTo>
                  <a:pt x="1217" y="1352"/>
                </a:lnTo>
                <a:lnTo>
                  <a:pt x="1254" y="1377"/>
                </a:lnTo>
                <a:lnTo>
                  <a:pt x="1291" y="1400"/>
                </a:lnTo>
                <a:lnTo>
                  <a:pt x="1329" y="1423"/>
                </a:lnTo>
                <a:lnTo>
                  <a:pt x="1366" y="1442"/>
                </a:lnTo>
                <a:lnTo>
                  <a:pt x="1403" y="1462"/>
                </a:lnTo>
                <a:lnTo>
                  <a:pt x="1440" y="1479"/>
                </a:lnTo>
                <a:lnTo>
                  <a:pt x="1477" y="1497"/>
                </a:lnTo>
                <a:lnTo>
                  <a:pt x="1515" y="1512"/>
                </a:lnTo>
                <a:lnTo>
                  <a:pt x="1551" y="1526"/>
                </a:lnTo>
                <a:lnTo>
                  <a:pt x="1586" y="1539"/>
                </a:lnTo>
                <a:lnTo>
                  <a:pt x="1622" y="1550"/>
                </a:lnTo>
                <a:lnTo>
                  <a:pt x="1656" y="1561"/>
                </a:lnTo>
                <a:lnTo>
                  <a:pt x="1690" y="1570"/>
                </a:lnTo>
                <a:lnTo>
                  <a:pt x="1724" y="1578"/>
                </a:lnTo>
                <a:lnTo>
                  <a:pt x="1752" y="1584"/>
                </a:lnTo>
                <a:lnTo>
                  <a:pt x="1780" y="1590"/>
                </a:lnTo>
                <a:lnTo>
                  <a:pt x="1808" y="1595"/>
                </a:lnTo>
                <a:lnTo>
                  <a:pt x="1834" y="1598"/>
                </a:lnTo>
                <a:lnTo>
                  <a:pt x="1860" y="1601"/>
                </a:lnTo>
                <a:lnTo>
                  <a:pt x="1883" y="1602"/>
                </a:lnTo>
                <a:lnTo>
                  <a:pt x="1906" y="1603"/>
                </a:lnTo>
                <a:lnTo>
                  <a:pt x="1928" y="1603"/>
                </a:lnTo>
                <a:lnTo>
                  <a:pt x="1948" y="1602"/>
                </a:lnTo>
                <a:lnTo>
                  <a:pt x="1967" y="1600"/>
                </a:lnTo>
                <a:lnTo>
                  <a:pt x="1984" y="1597"/>
                </a:lnTo>
                <a:lnTo>
                  <a:pt x="2001" y="1593"/>
                </a:lnTo>
                <a:lnTo>
                  <a:pt x="2015" y="1589"/>
                </a:lnTo>
                <a:lnTo>
                  <a:pt x="2027" y="1582"/>
                </a:lnTo>
                <a:lnTo>
                  <a:pt x="2039" y="1576"/>
                </a:lnTo>
                <a:lnTo>
                  <a:pt x="2048" y="1569"/>
                </a:lnTo>
                <a:lnTo>
                  <a:pt x="2051" y="1565"/>
                </a:lnTo>
                <a:lnTo>
                  <a:pt x="2055" y="1560"/>
                </a:lnTo>
                <a:lnTo>
                  <a:pt x="2058" y="1557"/>
                </a:lnTo>
                <a:lnTo>
                  <a:pt x="2060" y="1553"/>
                </a:lnTo>
                <a:lnTo>
                  <a:pt x="2060" y="1552"/>
                </a:lnTo>
                <a:lnTo>
                  <a:pt x="2061" y="1552"/>
                </a:lnTo>
                <a:lnTo>
                  <a:pt x="2062" y="1550"/>
                </a:lnTo>
                <a:lnTo>
                  <a:pt x="2067" y="1541"/>
                </a:lnTo>
                <a:lnTo>
                  <a:pt x="2070" y="1531"/>
                </a:lnTo>
                <a:lnTo>
                  <a:pt x="2071" y="1519"/>
                </a:lnTo>
                <a:lnTo>
                  <a:pt x="2071" y="1507"/>
                </a:lnTo>
                <a:lnTo>
                  <a:pt x="2070" y="1494"/>
                </a:lnTo>
                <a:lnTo>
                  <a:pt x="2067" y="1480"/>
                </a:lnTo>
                <a:lnTo>
                  <a:pt x="2062" y="1466"/>
                </a:lnTo>
                <a:lnTo>
                  <a:pt x="2057" y="1451"/>
                </a:lnTo>
                <a:lnTo>
                  <a:pt x="2050" y="1436"/>
                </a:lnTo>
                <a:lnTo>
                  <a:pt x="2043" y="1419"/>
                </a:lnTo>
                <a:lnTo>
                  <a:pt x="2034" y="1402"/>
                </a:lnTo>
                <a:lnTo>
                  <a:pt x="2024" y="1384"/>
                </a:lnTo>
                <a:lnTo>
                  <a:pt x="2013" y="1367"/>
                </a:lnTo>
                <a:lnTo>
                  <a:pt x="2001" y="1348"/>
                </a:lnTo>
                <a:lnTo>
                  <a:pt x="1988" y="1330"/>
                </a:lnTo>
                <a:lnTo>
                  <a:pt x="1974" y="1310"/>
                </a:lnTo>
                <a:lnTo>
                  <a:pt x="1956" y="1286"/>
                </a:lnTo>
                <a:lnTo>
                  <a:pt x="1938" y="1262"/>
                </a:lnTo>
                <a:lnTo>
                  <a:pt x="1917" y="1238"/>
                </a:lnTo>
                <a:lnTo>
                  <a:pt x="1897" y="1213"/>
                </a:lnTo>
                <a:lnTo>
                  <a:pt x="1851" y="1164"/>
                </a:lnTo>
                <a:lnTo>
                  <a:pt x="1802" y="1112"/>
                </a:lnTo>
                <a:lnTo>
                  <a:pt x="1750" y="1062"/>
                </a:lnTo>
                <a:lnTo>
                  <a:pt x="1697" y="1011"/>
                </a:lnTo>
                <a:lnTo>
                  <a:pt x="1640" y="960"/>
                </a:lnTo>
                <a:lnTo>
                  <a:pt x="1583" y="909"/>
                </a:lnTo>
                <a:lnTo>
                  <a:pt x="1530" y="865"/>
                </a:lnTo>
                <a:lnTo>
                  <a:pt x="1476" y="821"/>
                </a:lnTo>
                <a:lnTo>
                  <a:pt x="1422" y="777"/>
                </a:lnTo>
                <a:lnTo>
                  <a:pt x="1368" y="735"/>
                </a:lnTo>
                <a:lnTo>
                  <a:pt x="1316" y="694"/>
                </a:lnTo>
                <a:lnTo>
                  <a:pt x="1263" y="655"/>
                </a:lnTo>
                <a:lnTo>
                  <a:pt x="1212" y="616"/>
                </a:lnTo>
                <a:lnTo>
                  <a:pt x="1161" y="580"/>
                </a:lnTo>
                <a:lnTo>
                  <a:pt x="1113" y="545"/>
                </a:lnTo>
                <a:lnTo>
                  <a:pt x="1066" y="513"/>
                </a:lnTo>
                <a:lnTo>
                  <a:pt x="1023" y="483"/>
                </a:lnTo>
                <a:lnTo>
                  <a:pt x="982" y="456"/>
                </a:lnTo>
                <a:lnTo>
                  <a:pt x="943" y="431"/>
                </a:lnTo>
                <a:lnTo>
                  <a:pt x="909" y="409"/>
                </a:lnTo>
                <a:lnTo>
                  <a:pt x="877" y="390"/>
                </a:lnTo>
                <a:lnTo>
                  <a:pt x="850" y="373"/>
                </a:lnTo>
                <a:lnTo>
                  <a:pt x="820" y="360"/>
                </a:lnTo>
                <a:lnTo>
                  <a:pt x="789" y="346"/>
                </a:lnTo>
                <a:lnTo>
                  <a:pt x="756" y="334"/>
                </a:lnTo>
                <a:lnTo>
                  <a:pt x="722" y="322"/>
                </a:lnTo>
                <a:lnTo>
                  <a:pt x="686" y="309"/>
                </a:lnTo>
                <a:lnTo>
                  <a:pt x="647" y="298"/>
                </a:lnTo>
                <a:lnTo>
                  <a:pt x="606" y="287"/>
                </a:lnTo>
                <a:lnTo>
                  <a:pt x="563" y="2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32" name="Freeform 8"/>
          <p:cNvSpPr>
            <a:spLocks noChangeArrowheads="1"/>
          </p:cNvSpPr>
          <p:nvPr/>
        </p:nvSpPr>
        <p:spPr bwMode="auto">
          <a:xfrm>
            <a:off x="5229225" y="790575"/>
            <a:ext cx="935038" cy="887413"/>
          </a:xfrm>
          <a:custGeom>
            <a:avLst/>
            <a:gdLst>
              <a:gd name="T0" fmla="*/ 76 w 2069"/>
              <a:gd name="T1" fmla="*/ 15 h 1601"/>
              <a:gd name="T2" fmla="*/ 216 w 2069"/>
              <a:gd name="T3" fmla="*/ 44 h 1601"/>
              <a:gd name="T4" fmla="*/ 340 w 2069"/>
              <a:gd name="T5" fmla="*/ 70 h 1601"/>
              <a:gd name="T6" fmla="*/ 448 w 2069"/>
              <a:gd name="T7" fmla="*/ 94 h 1601"/>
              <a:gd name="T8" fmla="*/ 544 w 2069"/>
              <a:gd name="T9" fmla="*/ 118 h 1601"/>
              <a:gd name="T10" fmla="*/ 628 w 2069"/>
              <a:gd name="T11" fmla="*/ 143 h 1601"/>
              <a:gd name="T12" fmla="*/ 703 w 2069"/>
              <a:gd name="T13" fmla="*/ 169 h 1601"/>
              <a:gd name="T14" fmla="*/ 772 w 2069"/>
              <a:gd name="T15" fmla="*/ 196 h 1601"/>
              <a:gd name="T16" fmla="*/ 835 w 2069"/>
              <a:gd name="T17" fmla="*/ 230 h 1601"/>
              <a:gd name="T18" fmla="*/ 909 w 2069"/>
              <a:gd name="T19" fmla="*/ 277 h 1601"/>
              <a:gd name="T20" fmla="*/ 1000 w 2069"/>
              <a:gd name="T21" fmla="*/ 338 h 1601"/>
              <a:gd name="T22" fmla="*/ 1103 w 2069"/>
              <a:gd name="T23" fmla="*/ 409 h 1601"/>
              <a:gd name="T24" fmla="*/ 1214 w 2069"/>
              <a:gd name="T25" fmla="*/ 490 h 1601"/>
              <a:gd name="T26" fmla="*/ 1332 w 2069"/>
              <a:gd name="T27" fmla="*/ 579 h 1601"/>
              <a:gd name="T28" fmla="*/ 1450 w 2069"/>
              <a:gd name="T29" fmla="*/ 674 h 1601"/>
              <a:gd name="T30" fmla="*/ 1569 w 2069"/>
              <a:gd name="T31" fmla="*/ 773 h 1601"/>
              <a:gd name="T32" fmla="*/ 1682 w 2069"/>
              <a:gd name="T33" fmla="*/ 875 h 1601"/>
              <a:gd name="T34" fmla="*/ 1787 w 2069"/>
              <a:gd name="T35" fmla="*/ 977 h 1601"/>
              <a:gd name="T36" fmla="*/ 1880 w 2069"/>
              <a:gd name="T37" fmla="*/ 1078 h 1601"/>
              <a:gd name="T38" fmla="*/ 1958 w 2069"/>
              <a:gd name="T39" fmla="*/ 1176 h 1601"/>
              <a:gd name="T40" fmla="*/ 2019 w 2069"/>
              <a:gd name="T41" fmla="*/ 1269 h 1601"/>
              <a:gd name="T42" fmla="*/ 2057 w 2069"/>
              <a:gd name="T43" fmla="*/ 1355 h 1601"/>
              <a:gd name="T44" fmla="*/ 2069 w 2069"/>
              <a:gd name="T45" fmla="*/ 1432 h 1601"/>
              <a:gd name="T46" fmla="*/ 2054 w 2069"/>
              <a:gd name="T47" fmla="*/ 1500 h 1601"/>
              <a:gd name="T48" fmla="*/ 2021 w 2069"/>
              <a:gd name="T49" fmla="*/ 1545 h 1601"/>
              <a:gd name="T50" fmla="*/ 1985 w 2069"/>
              <a:gd name="T51" fmla="*/ 1570 h 1601"/>
              <a:gd name="T52" fmla="*/ 1936 w 2069"/>
              <a:gd name="T53" fmla="*/ 1588 h 1601"/>
              <a:gd name="T54" fmla="*/ 1880 w 2069"/>
              <a:gd name="T55" fmla="*/ 1598 h 1601"/>
              <a:gd name="T56" fmla="*/ 1813 w 2069"/>
              <a:gd name="T57" fmla="*/ 1601 h 1601"/>
              <a:gd name="T58" fmla="*/ 1739 w 2069"/>
              <a:gd name="T59" fmla="*/ 1596 h 1601"/>
              <a:gd name="T60" fmla="*/ 1657 w 2069"/>
              <a:gd name="T61" fmla="*/ 1584 h 1601"/>
              <a:gd name="T62" fmla="*/ 1571 w 2069"/>
              <a:gd name="T63" fmla="*/ 1564 h 1601"/>
              <a:gd name="T64" fmla="*/ 1479 w 2069"/>
              <a:gd name="T65" fmla="*/ 1537 h 1601"/>
              <a:gd name="T66" fmla="*/ 1384 w 2069"/>
              <a:gd name="T67" fmla="*/ 1500 h 1601"/>
              <a:gd name="T68" fmla="*/ 1287 w 2069"/>
              <a:gd name="T69" fmla="*/ 1456 h 1601"/>
              <a:gd name="T70" fmla="*/ 1190 w 2069"/>
              <a:gd name="T71" fmla="*/ 1404 h 1601"/>
              <a:gd name="T72" fmla="*/ 1091 w 2069"/>
              <a:gd name="T73" fmla="*/ 1343 h 1601"/>
              <a:gd name="T74" fmla="*/ 994 w 2069"/>
              <a:gd name="T75" fmla="*/ 1274 h 1601"/>
              <a:gd name="T76" fmla="*/ 899 w 2069"/>
              <a:gd name="T77" fmla="*/ 1195 h 1601"/>
              <a:gd name="T78" fmla="*/ 806 w 2069"/>
              <a:gd name="T79" fmla="*/ 1109 h 1601"/>
              <a:gd name="T80" fmla="*/ 680 w 2069"/>
              <a:gd name="T81" fmla="*/ 972 h 1601"/>
              <a:gd name="T82" fmla="*/ 541 w 2069"/>
              <a:gd name="T83" fmla="*/ 815 h 1601"/>
              <a:gd name="T84" fmla="*/ 430 w 2069"/>
              <a:gd name="T85" fmla="*/ 684 h 1601"/>
              <a:gd name="T86" fmla="*/ 341 w 2069"/>
              <a:gd name="T87" fmla="*/ 570 h 1601"/>
              <a:gd name="T88" fmla="*/ 265 w 2069"/>
              <a:gd name="T89" fmla="*/ 461 h 1601"/>
              <a:gd name="T90" fmla="*/ 196 w 2069"/>
              <a:gd name="T91" fmla="*/ 351 h 1601"/>
              <a:gd name="T92" fmla="*/ 125 w 2069"/>
              <a:gd name="T93" fmla="*/ 227 h 1601"/>
              <a:gd name="T94" fmla="*/ 45 w 2069"/>
              <a:gd name="T95" fmla="*/ 83 h 1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69" h="1601">
                <a:moveTo>
                  <a:pt x="0" y="0"/>
                </a:moveTo>
                <a:lnTo>
                  <a:pt x="76" y="15"/>
                </a:lnTo>
                <a:lnTo>
                  <a:pt x="149" y="29"/>
                </a:lnTo>
                <a:lnTo>
                  <a:pt x="216" y="44"/>
                </a:lnTo>
                <a:lnTo>
                  <a:pt x="280" y="56"/>
                </a:lnTo>
                <a:lnTo>
                  <a:pt x="340" y="70"/>
                </a:lnTo>
                <a:lnTo>
                  <a:pt x="395" y="82"/>
                </a:lnTo>
                <a:lnTo>
                  <a:pt x="448" y="94"/>
                </a:lnTo>
                <a:lnTo>
                  <a:pt x="497" y="106"/>
                </a:lnTo>
                <a:lnTo>
                  <a:pt x="544" y="118"/>
                </a:lnTo>
                <a:lnTo>
                  <a:pt x="587" y="130"/>
                </a:lnTo>
                <a:lnTo>
                  <a:pt x="628" y="143"/>
                </a:lnTo>
                <a:lnTo>
                  <a:pt x="667" y="155"/>
                </a:lnTo>
                <a:lnTo>
                  <a:pt x="703" y="169"/>
                </a:lnTo>
                <a:lnTo>
                  <a:pt x="738" y="182"/>
                </a:lnTo>
                <a:lnTo>
                  <a:pt x="772" y="196"/>
                </a:lnTo>
                <a:lnTo>
                  <a:pt x="804" y="212"/>
                </a:lnTo>
                <a:lnTo>
                  <a:pt x="835" y="230"/>
                </a:lnTo>
                <a:lnTo>
                  <a:pt x="870" y="252"/>
                </a:lnTo>
                <a:lnTo>
                  <a:pt x="909" y="277"/>
                </a:lnTo>
                <a:lnTo>
                  <a:pt x="953" y="306"/>
                </a:lnTo>
                <a:lnTo>
                  <a:pt x="1000" y="338"/>
                </a:lnTo>
                <a:lnTo>
                  <a:pt x="1051" y="372"/>
                </a:lnTo>
                <a:lnTo>
                  <a:pt x="1103" y="409"/>
                </a:lnTo>
                <a:lnTo>
                  <a:pt x="1158" y="448"/>
                </a:lnTo>
                <a:lnTo>
                  <a:pt x="1214" y="490"/>
                </a:lnTo>
                <a:lnTo>
                  <a:pt x="1272" y="534"/>
                </a:lnTo>
                <a:lnTo>
                  <a:pt x="1332" y="579"/>
                </a:lnTo>
                <a:lnTo>
                  <a:pt x="1391" y="625"/>
                </a:lnTo>
                <a:lnTo>
                  <a:pt x="1450" y="674"/>
                </a:lnTo>
                <a:lnTo>
                  <a:pt x="1510" y="723"/>
                </a:lnTo>
                <a:lnTo>
                  <a:pt x="1569" y="773"/>
                </a:lnTo>
                <a:lnTo>
                  <a:pt x="1626" y="823"/>
                </a:lnTo>
                <a:lnTo>
                  <a:pt x="1682" y="875"/>
                </a:lnTo>
                <a:lnTo>
                  <a:pt x="1735" y="925"/>
                </a:lnTo>
                <a:lnTo>
                  <a:pt x="1787" y="977"/>
                </a:lnTo>
                <a:lnTo>
                  <a:pt x="1835" y="1027"/>
                </a:lnTo>
                <a:lnTo>
                  <a:pt x="1880" y="1078"/>
                </a:lnTo>
                <a:lnTo>
                  <a:pt x="1921" y="1127"/>
                </a:lnTo>
                <a:lnTo>
                  <a:pt x="1958" y="1176"/>
                </a:lnTo>
                <a:lnTo>
                  <a:pt x="1991" y="1222"/>
                </a:lnTo>
                <a:lnTo>
                  <a:pt x="2019" y="1269"/>
                </a:lnTo>
                <a:lnTo>
                  <a:pt x="2040" y="1313"/>
                </a:lnTo>
                <a:lnTo>
                  <a:pt x="2057" y="1355"/>
                </a:lnTo>
                <a:lnTo>
                  <a:pt x="2066" y="1395"/>
                </a:lnTo>
                <a:lnTo>
                  <a:pt x="2069" y="1432"/>
                </a:lnTo>
                <a:lnTo>
                  <a:pt x="2065" y="1469"/>
                </a:lnTo>
                <a:lnTo>
                  <a:pt x="2054" y="1500"/>
                </a:lnTo>
                <a:lnTo>
                  <a:pt x="2034" y="1530"/>
                </a:lnTo>
                <a:lnTo>
                  <a:pt x="2021" y="1545"/>
                </a:lnTo>
                <a:lnTo>
                  <a:pt x="2004" y="1558"/>
                </a:lnTo>
                <a:lnTo>
                  <a:pt x="1985" y="1570"/>
                </a:lnTo>
                <a:lnTo>
                  <a:pt x="1962" y="1580"/>
                </a:lnTo>
                <a:lnTo>
                  <a:pt x="1936" y="1588"/>
                </a:lnTo>
                <a:lnTo>
                  <a:pt x="1910" y="1593"/>
                </a:lnTo>
                <a:lnTo>
                  <a:pt x="1880" y="1598"/>
                </a:lnTo>
                <a:lnTo>
                  <a:pt x="1848" y="1600"/>
                </a:lnTo>
                <a:lnTo>
                  <a:pt x="1813" y="1601"/>
                </a:lnTo>
                <a:lnTo>
                  <a:pt x="1777" y="1599"/>
                </a:lnTo>
                <a:lnTo>
                  <a:pt x="1739" y="1596"/>
                </a:lnTo>
                <a:lnTo>
                  <a:pt x="1698" y="1591"/>
                </a:lnTo>
                <a:lnTo>
                  <a:pt x="1657" y="1584"/>
                </a:lnTo>
                <a:lnTo>
                  <a:pt x="1615" y="1575"/>
                </a:lnTo>
                <a:lnTo>
                  <a:pt x="1571" y="1564"/>
                </a:lnTo>
                <a:lnTo>
                  <a:pt x="1525" y="1551"/>
                </a:lnTo>
                <a:lnTo>
                  <a:pt x="1479" y="1537"/>
                </a:lnTo>
                <a:lnTo>
                  <a:pt x="1433" y="1519"/>
                </a:lnTo>
                <a:lnTo>
                  <a:pt x="1384" y="1500"/>
                </a:lnTo>
                <a:lnTo>
                  <a:pt x="1336" y="1479"/>
                </a:lnTo>
                <a:lnTo>
                  <a:pt x="1287" y="1456"/>
                </a:lnTo>
                <a:lnTo>
                  <a:pt x="1238" y="1431"/>
                </a:lnTo>
                <a:lnTo>
                  <a:pt x="1190" y="1404"/>
                </a:lnTo>
                <a:lnTo>
                  <a:pt x="1140" y="1375"/>
                </a:lnTo>
                <a:lnTo>
                  <a:pt x="1091" y="1343"/>
                </a:lnTo>
                <a:lnTo>
                  <a:pt x="1042" y="1310"/>
                </a:lnTo>
                <a:lnTo>
                  <a:pt x="994" y="1274"/>
                </a:lnTo>
                <a:lnTo>
                  <a:pt x="945" y="1236"/>
                </a:lnTo>
                <a:lnTo>
                  <a:pt x="899" y="1195"/>
                </a:lnTo>
                <a:lnTo>
                  <a:pt x="853" y="1153"/>
                </a:lnTo>
                <a:lnTo>
                  <a:pt x="806" y="1109"/>
                </a:lnTo>
                <a:lnTo>
                  <a:pt x="763" y="1062"/>
                </a:lnTo>
                <a:lnTo>
                  <a:pt x="680" y="972"/>
                </a:lnTo>
                <a:lnTo>
                  <a:pt x="607" y="889"/>
                </a:lnTo>
                <a:lnTo>
                  <a:pt x="541" y="815"/>
                </a:lnTo>
                <a:lnTo>
                  <a:pt x="483" y="747"/>
                </a:lnTo>
                <a:lnTo>
                  <a:pt x="430" y="684"/>
                </a:lnTo>
                <a:lnTo>
                  <a:pt x="383" y="625"/>
                </a:lnTo>
                <a:lnTo>
                  <a:pt x="341" y="570"/>
                </a:lnTo>
                <a:lnTo>
                  <a:pt x="302" y="515"/>
                </a:lnTo>
                <a:lnTo>
                  <a:pt x="265" y="461"/>
                </a:lnTo>
                <a:lnTo>
                  <a:pt x="230" y="407"/>
                </a:lnTo>
                <a:lnTo>
                  <a:pt x="196" y="351"/>
                </a:lnTo>
                <a:lnTo>
                  <a:pt x="161" y="291"/>
                </a:lnTo>
                <a:lnTo>
                  <a:pt x="125" y="227"/>
                </a:lnTo>
                <a:lnTo>
                  <a:pt x="86" y="158"/>
                </a:lnTo>
                <a:lnTo>
                  <a:pt x="45" y="8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66" name="Freeform 42"/>
          <p:cNvSpPr>
            <a:spLocks noChangeArrowheads="1"/>
          </p:cNvSpPr>
          <p:nvPr/>
        </p:nvSpPr>
        <p:spPr bwMode="auto">
          <a:xfrm>
            <a:off x="6200775" y="1020763"/>
            <a:ext cx="704850" cy="1571625"/>
          </a:xfrm>
          <a:custGeom>
            <a:avLst/>
            <a:gdLst>
              <a:gd name="T0" fmla="*/ 282 w 1561"/>
              <a:gd name="T1" fmla="*/ 0 h 2825"/>
              <a:gd name="T2" fmla="*/ 394 w 1561"/>
              <a:gd name="T3" fmla="*/ 31 h 2825"/>
              <a:gd name="T4" fmla="*/ 510 w 1561"/>
              <a:gd name="T5" fmla="*/ 102 h 2825"/>
              <a:gd name="T6" fmla="*/ 648 w 1561"/>
              <a:gd name="T7" fmla="*/ 230 h 2825"/>
              <a:gd name="T8" fmla="*/ 795 w 1561"/>
              <a:gd name="T9" fmla="*/ 405 h 2825"/>
              <a:gd name="T10" fmla="*/ 946 w 1561"/>
              <a:gd name="T11" fmla="*/ 623 h 2825"/>
              <a:gd name="T12" fmla="*/ 1122 w 1561"/>
              <a:gd name="T13" fmla="*/ 920 h 2825"/>
              <a:gd name="T14" fmla="*/ 1288 w 1561"/>
              <a:gd name="T15" fmla="*/ 1258 h 2825"/>
              <a:gd name="T16" fmla="*/ 1408 w 1561"/>
              <a:gd name="T17" fmla="*/ 1593 h 2825"/>
              <a:gd name="T18" fmla="*/ 1507 w 1561"/>
              <a:gd name="T19" fmla="*/ 1962 h 2825"/>
              <a:gd name="T20" fmla="*/ 1557 w 1561"/>
              <a:gd name="T21" fmla="*/ 2288 h 2825"/>
              <a:gd name="T22" fmla="*/ 1556 w 1561"/>
              <a:gd name="T23" fmla="*/ 2510 h 2825"/>
              <a:gd name="T24" fmla="*/ 1533 w 1561"/>
              <a:gd name="T25" fmla="*/ 2629 h 2825"/>
              <a:gd name="T26" fmla="*/ 1491 w 1561"/>
              <a:gd name="T27" fmla="*/ 2723 h 2825"/>
              <a:gd name="T28" fmla="*/ 1431 w 1561"/>
              <a:gd name="T29" fmla="*/ 2788 h 2825"/>
              <a:gd name="T30" fmla="*/ 1389 w 1561"/>
              <a:gd name="T31" fmla="*/ 2810 h 2825"/>
              <a:gd name="T32" fmla="*/ 1312 w 1561"/>
              <a:gd name="T33" fmla="*/ 2825 h 2825"/>
              <a:gd name="T34" fmla="*/ 1196 w 1561"/>
              <a:gd name="T35" fmla="*/ 2802 h 2825"/>
              <a:gd name="T36" fmla="*/ 1081 w 1561"/>
              <a:gd name="T37" fmla="*/ 2740 h 2825"/>
              <a:gd name="T38" fmla="*/ 938 w 1561"/>
              <a:gd name="T39" fmla="*/ 2620 h 2825"/>
              <a:gd name="T40" fmla="*/ 788 w 1561"/>
              <a:gd name="T41" fmla="*/ 2452 h 2825"/>
              <a:gd name="T42" fmla="*/ 634 w 1561"/>
              <a:gd name="T43" fmla="*/ 2242 h 2825"/>
              <a:gd name="T44" fmla="*/ 486 w 1561"/>
              <a:gd name="T45" fmla="*/ 1995 h 2825"/>
              <a:gd name="T46" fmla="*/ 349 w 1561"/>
              <a:gd name="T47" fmla="*/ 1717 h 2825"/>
              <a:gd name="T48" fmla="*/ 260 w 1561"/>
              <a:gd name="T49" fmla="*/ 1514 h 2825"/>
              <a:gd name="T50" fmla="*/ 171 w 1561"/>
              <a:gd name="T51" fmla="*/ 1290 h 2825"/>
              <a:gd name="T52" fmla="*/ 66 w 1561"/>
              <a:gd name="T53" fmla="*/ 941 h 2825"/>
              <a:gd name="T54" fmla="*/ 10 w 1561"/>
              <a:gd name="T55" fmla="*/ 630 h 2825"/>
              <a:gd name="T56" fmla="*/ 5 w 1561"/>
              <a:gd name="T57" fmla="*/ 353 h 2825"/>
              <a:gd name="T58" fmla="*/ 24 w 1561"/>
              <a:gd name="T59" fmla="*/ 236 h 2825"/>
              <a:gd name="T60" fmla="*/ 58 w 1561"/>
              <a:gd name="T61" fmla="*/ 140 h 2825"/>
              <a:gd name="T62" fmla="*/ 108 w 1561"/>
              <a:gd name="T63" fmla="*/ 67 h 2825"/>
              <a:gd name="T64" fmla="*/ 172 w 1561"/>
              <a:gd name="T65" fmla="*/ 20 h 2825"/>
              <a:gd name="T66" fmla="*/ 293 w 1561"/>
              <a:gd name="T67" fmla="*/ 175 h 2825"/>
              <a:gd name="T68" fmla="*/ 248 w 1561"/>
              <a:gd name="T69" fmla="*/ 174 h 2825"/>
              <a:gd name="T70" fmla="*/ 214 w 1561"/>
              <a:gd name="T71" fmla="*/ 203 h 2825"/>
              <a:gd name="T72" fmla="*/ 178 w 1561"/>
              <a:gd name="T73" fmla="*/ 314 h 2825"/>
              <a:gd name="T74" fmla="*/ 172 w 1561"/>
              <a:gd name="T75" fmla="*/ 493 h 2825"/>
              <a:gd name="T76" fmla="*/ 201 w 1561"/>
              <a:gd name="T77" fmla="*/ 755 h 2825"/>
              <a:gd name="T78" fmla="*/ 277 w 1561"/>
              <a:gd name="T79" fmla="*/ 1065 h 2825"/>
              <a:gd name="T80" fmla="*/ 385 w 1561"/>
              <a:gd name="T81" fmla="*/ 1372 h 2825"/>
              <a:gd name="T82" fmla="*/ 450 w 1561"/>
              <a:gd name="T83" fmla="*/ 1520 h 2825"/>
              <a:gd name="T84" fmla="*/ 545 w 1561"/>
              <a:gd name="T85" fmla="*/ 1734 h 2825"/>
              <a:gd name="T86" fmla="*/ 676 w 1561"/>
              <a:gd name="T87" fmla="*/ 1986 h 2825"/>
              <a:gd name="T88" fmla="*/ 816 w 1561"/>
              <a:gd name="T89" fmla="*/ 2207 h 2825"/>
              <a:gd name="T90" fmla="*/ 956 w 1561"/>
              <a:gd name="T91" fmla="*/ 2391 h 2825"/>
              <a:gd name="T92" fmla="*/ 1093 w 1561"/>
              <a:gd name="T93" fmla="*/ 2531 h 2825"/>
              <a:gd name="T94" fmla="*/ 1205 w 1561"/>
              <a:gd name="T95" fmla="*/ 2616 h 2825"/>
              <a:gd name="T96" fmla="*/ 1278 w 1561"/>
              <a:gd name="T97" fmla="*/ 2649 h 2825"/>
              <a:gd name="T98" fmla="*/ 1327 w 1561"/>
              <a:gd name="T99" fmla="*/ 2651 h 2825"/>
              <a:gd name="T100" fmla="*/ 1354 w 1561"/>
              <a:gd name="T101" fmla="*/ 2630 h 2825"/>
              <a:gd name="T102" fmla="*/ 1384 w 1561"/>
              <a:gd name="T103" fmla="*/ 2548 h 2825"/>
              <a:gd name="T104" fmla="*/ 1391 w 1561"/>
              <a:gd name="T105" fmla="*/ 2368 h 2825"/>
              <a:gd name="T106" fmla="*/ 1360 w 1561"/>
              <a:gd name="T107" fmla="*/ 2101 h 2825"/>
              <a:gd name="T108" fmla="*/ 1281 w 1561"/>
              <a:gd name="T109" fmla="*/ 1763 h 2825"/>
              <a:gd name="T110" fmla="*/ 1156 w 1561"/>
              <a:gd name="T111" fmla="*/ 1390 h 2825"/>
              <a:gd name="T112" fmla="*/ 1020 w 1561"/>
              <a:gd name="T113" fmla="*/ 1091 h 2825"/>
              <a:gd name="T114" fmla="*/ 739 w 1561"/>
              <a:gd name="T115" fmla="*/ 617 h 2825"/>
              <a:gd name="T116" fmla="*/ 601 w 1561"/>
              <a:gd name="T117" fmla="*/ 434 h 2825"/>
              <a:gd name="T118" fmla="*/ 469 w 1561"/>
              <a:gd name="T119" fmla="*/ 293 h 2825"/>
              <a:gd name="T120" fmla="*/ 339 w 1561"/>
              <a:gd name="T121" fmla="*/ 194 h 28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61" h="2825">
                <a:moveTo>
                  <a:pt x="190" y="12"/>
                </a:moveTo>
                <a:lnTo>
                  <a:pt x="208" y="7"/>
                </a:lnTo>
                <a:lnTo>
                  <a:pt x="226" y="3"/>
                </a:lnTo>
                <a:lnTo>
                  <a:pt x="244" y="1"/>
                </a:lnTo>
                <a:lnTo>
                  <a:pt x="263" y="0"/>
                </a:lnTo>
                <a:lnTo>
                  <a:pt x="282" y="0"/>
                </a:lnTo>
                <a:lnTo>
                  <a:pt x="302" y="2"/>
                </a:lnTo>
                <a:lnTo>
                  <a:pt x="320" y="6"/>
                </a:lnTo>
                <a:lnTo>
                  <a:pt x="341" y="10"/>
                </a:lnTo>
                <a:lnTo>
                  <a:pt x="358" y="16"/>
                </a:lnTo>
                <a:lnTo>
                  <a:pt x="376" y="23"/>
                </a:lnTo>
                <a:lnTo>
                  <a:pt x="394" y="31"/>
                </a:lnTo>
                <a:lnTo>
                  <a:pt x="412" y="40"/>
                </a:lnTo>
                <a:lnTo>
                  <a:pt x="430" y="49"/>
                </a:lnTo>
                <a:lnTo>
                  <a:pt x="450" y="61"/>
                </a:lnTo>
                <a:lnTo>
                  <a:pt x="468" y="73"/>
                </a:lnTo>
                <a:lnTo>
                  <a:pt x="488" y="87"/>
                </a:lnTo>
                <a:lnTo>
                  <a:pt x="510" y="102"/>
                </a:lnTo>
                <a:lnTo>
                  <a:pt x="531" y="121"/>
                </a:lnTo>
                <a:lnTo>
                  <a:pt x="554" y="139"/>
                </a:lnTo>
                <a:lnTo>
                  <a:pt x="578" y="160"/>
                </a:lnTo>
                <a:lnTo>
                  <a:pt x="600" y="182"/>
                </a:lnTo>
                <a:lnTo>
                  <a:pt x="624" y="205"/>
                </a:lnTo>
                <a:lnTo>
                  <a:pt x="648" y="230"/>
                </a:lnTo>
                <a:lnTo>
                  <a:pt x="672" y="257"/>
                </a:lnTo>
                <a:lnTo>
                  <a:pt x="696" y="283"/>
                </a:lnTo>
                <a:lnTo>
                  <a:pt x="721" y="312"/>
                </a:lnTo>
                <a:lnTo>
                  <a:pt x="745" y="342"/>
                </a:lnTo>
                <a:lnTo>
                  <a:pt x="770" y="373"/>
                </a:lnTo>
                <a:lnTo>
                  <a:pt x="795" y="405"/>
                </a:lnTo>
                <a:lnTo>
                  <a:pt x="821" y="439"/>
                </a:lnTo>
                <a:lnTo>
                  <a:pt x="845" y="473"/>
                </a:lnTo>
                <a:lnTo>
                  <a:pt x="871" y="509"/>
                </a:lnTo>
                <a:lnTo>
                  <a:pt x="896" y="545"/>
                </a:lnTo>
                <a:lnTo>
                  <a:pt x="922" y="583"/>
                </a:lnTo>
                <a:lnTo>
                  <a:pt x="946" y="623"/>
                </a:lnTo>
                <a:lnTo>
                  <a:pt x="972" y="662"/>
                </a:lnTo>
                <a:lnTo>
                  <a:pt x="997" y="703"/>
                </a:lnTo>
                <a:lnTo>
                  <a:pt x="1023" y="744"/>
                </a:lnTo>
                <a:lnTo>
                  <a:pt x="1047" y="787"/>
                </a:lnTo>
                <a:lnTo>
                  <a:pt x="1073" y="830"/>
                </a:lnTo>
                <a:lnTo>
                  <a:pt x="1122" y="920"/>
                </a:lnTo>
                <a:lnTo>
                  <a:pt x="1172" y="1012"/>
                </a:lnTo>
                <a:lnTo>
                  <a:pt x="1219" y="1108"/>
                </a:lnTo>
                <a:lnTo>
                  <a:pt x="1267" y="1206"/>
                </a:lnTo>
                <a:lnTo>
                  <a:pt x="1269" y="1210"/>
                </a:lnTo>
                <a:lnTo>
                  <a:pt x="1288" y="1258"/>
                </a:lnTo>
                <a:lnTo>
                  <a:pt x="1290" y="1264"/>
                </a:lnTo>
                <a:lnTo>
                  <a:pt x="1316" y="1331"/>
                </a:lnTo>
                <a:lnTo>
                  <a:pt x="1341" y="1397"/>
                </a:lnTo>
                <a:lnTo>
                  <a:pt x="1365" y="1463"/>
                </a:lnTo>
                <a:lnTo>
                  <a:pt x="1387" y="1528"/>
                </a:lnTo>
                <a:lnTo>
                  <a:pt x="1408" y="1593"/>
                </a:lnTo>
                <a:lnTo>
                  <a:pt x="1428" y="1657"/>
                </a:lnTo>
                <a:lnTo>
                  <a:pt x="1447" y="1719"/>
                </a:lnTo>
                <a:lnTo>
                  <a:pt x="1463" y="1782"/>
                </a:lnTo>
                <a:lnTo>
                  <a:pt x="1480" y="1843"/>
                </a:lnTo>
                <a:lnTo>
                  <a:pt x="1494" y="1903"/>
                </a:lnTo>
                <a:lnTo>
                  <a:pt x="1507" y="1962"/>
                </a:lnTo>
                <a:lnTo>
                  <a:pt x="1519" y="2018"/>
                </a:lnTo>
                <a:lnTo>
                  <a:pt x="1529" y="2075"/>
                </a:lnTo>
                <a:lnTo>
                  <a:pt x="1539" y="2129"/>
                </a:lnTo>
                <a:lnTo>
                  <a:pt x="1546" y="2182"/>
                </a:lnTo>
                <a:lnTo>
                  <a:pt x="1552" y="2233"/>
                </a:lnTo>
                <a:lnTo>
                  <a:pt x="1557" y="2288"/>
                </a:lnTo>
                <a:lnTo>
                  <a:pt x="1560" y="2341"/>
                </a:lnTo>
                <a:lnTo>
                  <a:pt x="1561" y="2393"/>
                </a:lnTo>
                <a:lnTo>
                  <a:pt x="1561" y="2441"/>
                </a:lnTo>
                <a:lnTo>
                  <a:pt x="1560" y="2465"/>
                </a:lnTo>
                <a:lnTo>
                  <a:pt x="1558" y="2487"/>
                </a:lnTo>
                <a:lnTo>
                  <a:pt x="1556" y="2510"/>
                </a:lnTo>
                <a:lnTo>
                  <a:pt x="1554" y="2531"/>
                </a:lnTo>
                <a:lnTo>
                  <a:pt x="1551" y="2552"/>
                </a:lnTo>
                <a:lnTo>
                  <a:pt x="1547" y="2572"/>
                </a:lnTo>
                <a:lnTo>
                  <a:pt x="1543" y="2592"/>
                </a:lnTo>
                <a:lnTo>
                  <a:pt x="1539" y="2611"/>
                </a:lnTo>
                <a:lnTo>
                  <a:pt x="1533" y="2629"/>
                </a:lnTo>
                <a:lnTo>
                  <a:pt x="1528" y="2646"/>
                </a:lnTo>
                <a:lnTo>
                  <a:pt x="1521" y="2664"/>
                </a:lnTo>
                <a:lnTo>
                  <a:pt x="1515" y="2679"/>
                </a:lnTo>
                <a:lnTo>
                  <a:pt x="1508" y="2695"/>
                </a:lnTo>
                <a:lnTo>
                  <a:pt x="1500" y="2709"/>
                </a:lnTo>
                <a:lnTo>
                  <a:pt x="1491" y="2723"/>
                </a:lnTo>
                <a:lnTo>
                  <a:pt x="1483" y="2736"/>
                </a:lnTo>
                <a:lnTo>
                  <a:pt x="1474" y="2748"/>
                </a:lnTo>
                <a:lnTo>
                  <a:pt x="1463" y="2760"/>
                </a:lnTo>
                <a:lnTo>
                  <a:pt x="1453" y="2770"/>
                </a:lnTo>
                <a:lnTo>
                  <a:pt x="1443" y="2779"/>
                </a:lnTo>
                <a:lnTo>
                  <a:pt x="1431" y="2788"/>
                </a:lnTo>
                <a:lnTo>
                  <a:pt x="1419" y="2796"/>
                </a:lnTo>
                <a:lnTo>
                  <a:pt x="1407" y="2803"/>
                </a:lnTo>
                <a:lnTo>
                  <a:pt x="1393" y="2809"/>
                </a:lnTo>
                <a:lnTo>
                  <a:pt x="1391" y="2810"/>
                </a:lnTo>
                <a:lnTo>
                  <a:pt x="1390" y="2810"/>
                </a:lnTo>
                <a:lnTo>
                  <a:pt x="1389" y="2810"/>
                </a:lnTo>
                <a:lnTo>
                  <a:pt x="1387" y="2811"/>
                </a:lnTo>
                <a:lnTo>
                  <a:pt x="1385" y="2812"/>
                </a:lnTo>
                <a:lnTo>
                  <a:pt x="1368" y="2817"/>
                </a:lnTo>
                <a:lnTo>
                  <a:pt x="1350" y="2821"/>
                </a:lnTo>
                <a:lnTo>
                  <a:pt x="1332" y="2825"/>
                </a:lnTo>
                <a:lnTo>
                  <a:pt x="1312" y="2825"/>
                </a:lnTo>
                <a:lnTo>
                  <a:pt x="1292" y="2825"/>
                </a:lnTo>
                <a:lnTo>
                  <a:pt x="1273" y="2822"/>
                </a:lnTo>
                <a:lnTo>
                  <a:pt x="1253" y="2819"/>
                </a:lnTo>
                <a:lnTo>
                  <a:pt x="1233" y="2814"/>
                </a:lnTo>
                <a:lnTo>
                  <a:pt x="1214" y="2809"/>
                </a:lnTo>
                <a:lnTo>
                  <a:pt x="1196" y="2802"/>
                </a:lnTo>
                <a:lnTo>
                  <a:pt x="1177" y="2795"/>
                </a:lnTo>
                <a:lnTo>
                  <a:pt x="1159" y="2785"/>
                </a:lnTo>
                <a:lnTo>
                  <a:pt x="1139" y="2775"/>
                </a:lnTo>
                <a:lnTo>
                  <a:pt x="1120" y="2765"/>
                </a:lnTo>
                <a:lnTo>
                  <a:pt x="1101" y="2752"/>
                </a:lnTo>
                <a:lnTo>
                  <a:pt x="1081" y="2740"/>
                </a:lnTo>
                <a:lnTo>
                  <a:pt x="1058" y="2723"/>
                </a:lnTo>
                <a:lnTo>
                  <a:pt x="1035" y="2706"/>
                </a:lnTo>
                <a:lnTo>
                  <a:pt x="1011" y="2686"/>
                </a:lnTo>
                <a:lnTo>
                  <a:pt x="988" y="2666"/>
                </a:lnTo>
                <a:lnTo>
                  <a:pt x="963" y="2644"/>
                </a:lnTo>
                <a:lnTo>
                  <a:pt x="938" y="2620"/>
                </a:lnTo>
                <a:lnTo>
                  <a:pt x="913" y="2596"/>
                </a:lnTo>
                <a:lnTo>
                  <a:pt x="889" y="2570"/>
                </a:lnTo>
                <a:lnTo>
                  <a:pt x="864" y="2542"/>
                </a:lnTo>
                <a:lnTo>
                  <a:pt x="838" y="2513"/>
                </a:lnTo>
                <a:lnTo>
                  <a:pt x="812" y="2483"/>
                </a:lnTo>
                <a:lnTo>
                  <a:pt x="788" y="2452"/>
                </a:lnTo>
                <a:lnTo>
                  <a:pt x="762" y="2420"/>
                </a:lnTo>
                <a:lnTo>
                  <a:pt x="736" y="2387"/>
                </a:lnTo>
                <a:lnTo>
                  <a:pt x="710" y="2352"/>
                </a:lnTo>
                <a:lnTo>
                  <a:pt x="686" y="2316"/>
                </a:lnTo>
                <a:lnTo>
                  <a:pt x="660" y="2280"/>
                </a:lnTo>
                <a:lnTo>
                  <a:pt x="634" y="2242"/>
                </a:lnTo>
                <a:lnTo>
                  <a:pt x="610" y="2204"/>
                </a:lnTo>
                <a:lnTo>
                  <a:pt x="585" y="2164"/>
                </a:lnTo>
                <a:lnTo>
                  <a:pt x="559" y="2122"/>
                </a:lnTo>
                <a:lnTo>
                  <a:pt x="534" y="2081"/>
                </a:lnTo>
                <a:lnTo>
                  <a:pt x="511" y="2039"/>
                </a:lnTo>
                <a:lnTo>
                  <a:pt x="486" y="1995"/>
                </a:lnTo>
                <a:lnTo>
                  <a:pt x="462" y="1950"/>
                </a:lnTo>
                <a:lnTo>
                  <a:pt x="439" y="1906"/>
                </a:lnTo>
                <a:lnTo>
                  <a:pt x="416" y="1860"/>
                </a:lnTo>
                <a:lnTo>
                  <a:pt x="393" y="1812"/>
                </a:lnTo>
                <a:lnTo>
                  <a:pt x="371" y="1765"/>
                </a:lnTo>
                <a:lnTo>
                  <a:pt x="349" y="1717"/>
                </a:lnTo>
                <a:lnTo>
                  <a:pt x="328" y="1668"/>
                </a:lnTo>
                <a:lnTo>
                  <a:pt x="307" y="1618"/>
                </a:lnTo>
                <a:lnTo>
                  <a:pt x="295" y="1593"/>
                </a:lnTo>
                <a:lnTo>
                  <a:pt x="283" y="1566"/>
                </a:lnTo>
                <a:lnTo>
                  <a:pt x="272" y="1540"/>
                </a:lnTo>
                <a:lnTo>
                  <a:pt x="260" y="1514"/>
                </a:lnTo>
                <a:lnTo>
                  <a:pt x="249" y="1489"/>
                </a:lnTo>
                <a:lnTo>
                  <a:pt x="238" y="1463"/>
                </a:lnTo>
                <a:lnTo>
                  <a:pt x="227" y="1437"/>
                </a:lnTo>
                <a:lnTo>
                  <a:pt x="217" y="1411"/>
                </a:lnTo>
                <a:lnTo>
                  <a:pt x="193" y="1350"/>
                </a:lnTo>
                <a:lnTo>
                  <a:pt x="171" y="1290"/>
                </a:lnTo>
                <a:lnTo>
                  <a:pt x="150" y="1230"/>
                </a:lnTo>
                <a:lnTo>
                  <a:pt x="131" y="1170"/>
                </a:lnTo>
                <a:lnTo>
                  <a:pt x="112" y="1112"/>
                </a:lnTo>
                <a:lnTo>
                  <a:pt x="96" y="1055"/>
                </a:lnTo>
                <a:lnTo>
                  <a:pt x="80" y="997"/>
                </a:lnTo>
                <a:lnTo>
                  <a:pt x="66" y="941"/>
                </a:lnTo>
                <a:lnTo>
                  <a:pt x="53" y="887"/>
                </a:lnTo>
                <a:lnTo>
                  <a:pt x="42" y="833"/>
                </a:lnTo>
                <a:lnTo>
                  <a:pt x="32" y="780"/>
                </a:lnTo>
                <a:lnTo>
                  <a:pt x="23" y="729"/>
                </a:lnTo>
                <a:lnTo>
                  <a:pt x="16" y="678"/>
                </a:lnTo>
                <a:lnTo>
                  <a:pt x="10" y="630"/>
                </a:lnTo>
                <a:lnTo>
                  <a:pt x="6" y="583"/>
                </a:lnTo>
                <a:lnTo>
                  <a:pt x="3" y="537"/>
                </a:lnTo>
                <a:lnTo>
                  <a:pt x="1" y="489"/>
                </a:lnTo>
                <a:lnTo>
                  <a:pt x="0" y="441"/>
                </a:lnTo>
                <a:lnTo>
                  <a:pt x="2" y="396"/>
                </a:lnTo>
                <a:lnTo>
                  <a:pt x="5" y="353"/>
                </a:lnTo>
                <a:lnTo>
                  <a:pt x="7" y="332"/>
                </a:lnTo>
                <a:lnTo>
                  <a:pt x="9" y="312"/>
                </a:lnTo>
                <a:lnTo>
                  <a:pt x="12" y="292"/>
                </a:lnTo>
                <a:lnTo>
                  <a:pt x="16" y="273"/>
                </a:lnTo>
                <a:lnTo>
                  <a:pt x="19" y="255"/>
                </a:lnTo>
                <a:lnTo>
                  <a:pt x="24" y="236"/>
                </a:lnTo>
                <a:lnTo>
                  <a:pt x="29" y="219"/>
                </a:lnTo>
                <a:lnTo>
                  <a:pt x="34" y="201"/>
                </a:lnTo>
                <a:lnTo>
                  <a:pt x="40" y="186"/>
                </a:lnTo>
                <a:lnTo>
                  <a:pt x="45" y="169"/>
                </a:lnTo>
                <a:lnTo>
                  <a:pt x="52" y="155"/>
                </a:lnTo>
                <a:lnTo>
                  <a:pt x="58" y="140"/>
                </a:lnTo>
                <a:lnTo>
                  <a:pt x="66" y="126"/>
                </a:lnTo>
                <a:lnTo>
                  <a:pt x="74" y="113"/>
                </a:lnTo>
                <a:lnTo>
                  <a:pt x="81" y="101"/>
                </a:lnTo>
                <a:lnTo>
                  <a:pt x="90" y="89"/>
                </a:lnTo>
                <a:lnTo>
                  <a:pt x="99" y="77"/>
                </a:lnTo>
                <a:lnTo>
                  <a:pt x="108" y="67"/>
                </a:lnTo>
                <a:lnTo>
                  <a:pt x="117" y="58"/>
                </a:lnTo>
                <a:lnTo>
                  <a:pt x="127" y="48"/>
                </a:lnTo>
                <a:lnTo>
                  <a:pt x="138" y="40"/>
                </a:lnTo>
                <a:lnTo>
                  <a:pt x="149" y="33"/>
                </a:lnTo>
                <a:lnTo>
                  <a:pt x="160" y="26"/>
                </a:lnTo>
                <a:lnTo>
                  <a:pt x="172" y="20"/>
                </a:lnTo>
                <a:lnTo>
                  <a:pt x="175" y="19"/>
                </a:lnTo>
                <a:lnTo>
                  <a:pt x="181" y="15"/>
                </a:lnTo>
                <a:lnTo>
                  <a:pt x="186" y="14"/>
                </a:lnTo>
                <a:lnTo>
                  <a:pt x="190" y="12"/>
                </a:lnTo>
                <a:close/>
                <a:moveTo>
                  <a:pt x="293" y="175"/>
                </a:moveTo>
                <a:lnTo>
                  <a:pt x="280" y="172"/>
                </a:lnTo>
                <a:lnTo>
                  <a:pt x="269" y="171"/>
                </a:lnTo>
                <a:lnTo>
                  <a:pt x="257" y="171"/>
                </a:lnTo>
                <a:lnTo>
                  <a:pt x="248" y="173"/>
                </a:lnTo>
                <a:lnTo>
                  <a:pt x="248" y="174"/>
                </a:lnTo>
                <a:lnTo>
                  <a:pt x="243" y="175"/>
                </a:lnTo>
                <a:lnTo>
                  <a:pt x="238" y="179"/>
                </a:lnTo>
                <a:lnTo>
                  <a:pt x="233" y="182"/>
                </a:lnTo>
                <a:lnTo>
                  <a:pt x="227" y="187"/>
                </a:lnTo>
                <a:lnTo>
                  <a:pt x="223" y="192"/>
                </a:lnTo>
                <a:lnTo>
                  <a:pt x="214" y="203"/>
                </a:lnTo>
                <a:lnTo>
                  <a:pt x="207" y="216"/>
                </a:lnTo>
                <a:lnTo>
                  <a:pt x="200" y="232"/>
                </a:lnTo>
                <a:lnTo>
                  <a:pt x="193" y="249"/>
                </a:lnTo>
                <a:lnTo>
                  <a:pt x="187" y="269"/>
                </a:lnTo>
                <a:lnTo>
                  <a:pt x="182" y="291"/>
                </a:lnTo>
                <a:lnTo>
                  <a:pt x="178" y="314"/>
                </a:lnTo>
                <a:lnTo>
                  <a:pt x="175" y="340"/>
                </a:lnTo>
                <a:lnTo>
                  <a:pt x="173" y="367"/>
                </a:lnTo>
                <a:lnTo>
                  <a:pt x="171" y="396"/>
                </a:lnTo>
                <a:lnTo>
                  <a:pt x="171" y="427"/>
                </a:lnTo>
                <a:lnTo>
                  <a:pt x="171" y="459"/>
                </a:lnTo>
                <a:lnTo>
                  <a:pt x="172" y="493"/>
                </a:lnTo>
                <a:lnTo>
                  <a:pt x="173" y="528"/>
                </a:lnTo>
                <a:lnTo>
                  <a:pt x="176" y="570"/>
                </a:lnTo>
                <a:lnTo>
                  <a:pt x="180" y="614"/>
                </a:lnTo>
                <a:lnTo>
                  <a:pt x="186" y="660"/>
                </a:lnTo>
                <a:lnTo>
                  <a:pt x="192" y="706"/>
                </a:lnTo>
                <a:lnTo>
                  <a:pt x="201" y="755"/>
                </a:lnTo>
                <a:lnTo>
                  <a:pt x="210" y="803"/>
                </a:lnTo>
                <a:lnTo>
                  <a:pt x="221" y="854"/>
                </a:lnTo>
                <a:lnTo>
                  <a:pt x="233" y="905"/>
                </a:lnTo>
                <a:lnTo>
                  <a:pt x="246" y="958"/>
                </a:lnTo>
                <a:lnTo>
                  <a:pt x="260" y="1011"/>
                </a:lnTo>
                <a:lnTo>
                  <a:pt x="277" y="1065"/>
                </a:lnTo>
                <a:lnTo>
                  <a:pt x="293" y="1121"/>
                </a:lnTo>
                <a:lnTo>
                  <a:pt x="312" y="1176"/>
                </a:lnTo>
                <a:lnTo>
                  <a:pt x="332" y="1233"/>
                </a:lnTo>
                <a:lnTo>
                  <a:pt x="353" y="1290"/>
                </a:lnTo>
                <a:lnTo>
                  <a:pt x="376" y="1347"/>
                </a:lnTo>
                <a:lnTo>
                  <a:pt x="385" y="1372"/>
                </a:lnTo>
                <a:lnTo>
                  <a:pt x="395" y="1397"/>
                </a:lnTo>
                <a:lnTo>
                  <a:pt x="406" y="1422"/>
                </a:lnTo>
                <a:lnTo>
                  <a:pt x="417" y="1446"/>
                </a:lnTo>
                <a:lnTo>
                  <a:pt x="427" y="1471"/>
                </a:lnTo>
                <a:lnTo>
                  <a:pt x="439" y="1496"/>
                </a:lnTo>
                <a:lnTo>
                  <a:pt x="450" y="1520"/>
                </a:lnTo>
                <a:lnTo>
                  <a:pt x="462" y="1546"/>
                </a:lnTo>
                <a:lnTo>
                  <a:pt x="463" y="1550"/>
                </a:lnTo>
                <a:lnTo>
                  <a:pt x="483" y="1597"/>
                </a:lnTo>
                <a:lnTo>
                  <a:pt x="503" y="1643"/>
                </a:lnTo>
                <a:lnTo>
                  <a:pt x="524" y="1689"/>
                </a:lnTo>
                <a:lnTo>
                  <a:pt x="545" y="1734"/>
                </a:lnTo>
                <a:lnTo>
                  <a:pt x="565" y="1778"/>
                </a:lnTo>
                <a:lnTo>
                  <a:pt x="587" y="1821"/>
                </a:lnTo>
                <a:lnTo>
                  <a:pt x="610" y="1864"/>
                </a:lnTo>
                <a:lnTo>
                  <a:pt x="631" y="1905"/>
                </a:lnTo>
                <a:lnTo>
                  <a:pt x="654" y="1946"/>
                </a:lnTo>
                <a:lnTo>
                  <a:pt x="676" y="1986"/>
                </a:lnTo>
                <a:lnTo>
                  <a:pt x="699" y="2026"/>
                </a:lnTo>
                <a:lnTo>
                  <a:pt x="722" y="2064"/>
                </a:lnTo>
                <a:lnTo>
                  <a:pt x="745" y="2101"/>
                </a:lnTo>
                <a:lnTo>
                  <a:pt x="769" y="2137"/>
                </a:lnTo>
                <a:lnTo>
                  <a:pt x="792" y="2173"/>
                </a:lnTo>
                <a:lnTo>
                  <a:pt x="816" y="2207"/>
                </a:lnTo>
                <a:lnTo>
                  <a:pt x="839" y="2240"/>
                </a:lnTo>
                <a:lnTo>
                  <a:pt x="863" y="2272"/>
                </a:lnTo>
                <a:lnTo>
                  <a:pt x="886" y="2304"/>
                </a:lnTo>
                <a:lnTo>
                  <a:pt x="909" y="2334"/>
                </a:lnTo>
                <a:lnTo>
                  <a:pt x="933" y="2363"/>
                </a:lnTo>
                <a:lnTo>
                  <a:pt x="956" y="2391"/>
                </a:lnTo>
                <a:lnTo>
                  <a:pt x="979" y="2417"/>
                </a:lnTo>
                <a:lnTo>
                  <a:pt x="1002" y="2442"/>
                </a:lnTo>
                <a:lnTo>
                  <a:pt x="1025" y="2467"/>
                </a:lnTo>
                <a:lnTo>
                  <a:pt x="1047" y="2489"/>
                </a:lnTo>
                <a:lnTo>
                  <a:pt x="1070" y="2511"/>
                </a:lnTo>
                <a:lnTo>
                  <a:pt x="1093" y="2531"/>
                </a:lnTo>
                <a:lnTo>
                  <a:pt x="1114" y="2550"/>
                </a:lnTo>
                <a:lnTo>
                  <a:pt x="1136" y="2568"/>
                </a:lnTo>
                <a:lnTo>
                  <a:pt x="1156" y="2583"/>
                </a:lnTo>
                <a:lnTo>
                  <a:pt x="1177" y="2599"/>
                </a:lnTo>
                <a:lnTo>
                  <a:pt x="1191" y="2608"/>
                </a:lnTo>
                <a:lnTo>
                  <a:pt x="1205" y="2616"/>
                </a:lnTo>
                <a:lnTo>
                  <a:pt x="1218" y="2623"/>
                </a:lnTo>
                <a:lnTo>
                  <a:pt x="1231" y="2631"/>
                </a:lnTo>
                <a:lnTo>
                  <a:pt x="1243" y="2637"/>
                </a:lnTo>
                <a:lnTo>
                  <a:pt x="1255" y="2642"/>
                </a:lnTo>
                <a:lnTo>
                  <a:pt x="1267" y="2646"/>
                </a:lnTo>
                <a:lnTo>
                  <a:pt x="1278" y="2649"/>
                </a:lnTo>
                <a:lnTo>
                  <a:pt x="1292" y="2652"/>
                </a:lnTo>
                <a:lnTo>
                  <a:pt x="1306" y="2654"/>
                </a:lnTo>
                <a:lnTo>
                  <a:pt x="1312" y="2654"/>
                </a:lnTo>
                <a:lnTo>
                  <a:pt x="1317" y="2653"/>
                </a:lnTo>
                <a:lnTo>
                  <a:pt x="1322" y="2652"/>
                </a:lnTo>
                <a:lnTo>
                  <a:pt x="1327" y="2651"/>
                </a:lnTo>
                <a:lnTo>
                  <a:pt x="1328" y="2650"/>
                </a:lnTo>
                <a:lnTo>
                  <a:pt x="1334" y="2648"/>
                </a:lnTo>
                <a:lnTo>
                  <a:pt x="1340" y="2644"/>
                </a:lnTo>
                <a:lnTo>
                  <a:pt x="1345" y="2640"/>
                </a:lnTo>
                <a:lnTo>
                  <a:pt x="1349" y="2635"/>
                </a:lnTo>
                <a:lnTo>
                  <a:pt x="1354" y="2630"/>
                </a:lnTo>
                <a:lnTo>
                  <a:pt x="1358" y="2623"/>
                </a:lnTo>
                <a:lnTo>
                  <a:pt x="1362" y="2616"/>
                </a:lnTo>
                <a:lnTo>
                  <a:pt x="1367" y="2608"/>
                </a:lnTo>
                <a:lnTo>
                  <a:pt x="1374" y="2591"/>
                </a:lnTo>
                <a:lnTo>
                  <a:pt x="1379" y="2571"/>
                </a:lnTo>
                <a:lnTo>
                  <a:pt x="1384" y="2548"/>
                </a:lnTo>
                <a:lnTo>
                  <a:pt x="1388" y="2523"/>
                </a:lnTo>
                <a:lnTo>
                  <a:pt x="1390" y="2497"/>
                </a:lnTo>
                <a:lnTo>
                  <a:pt x="1392" y="2468"/>
                </a:lnTo>
                <a:lnTo>
                  <a:pt x="1393" y="2437"/>
                </a:lnTo>
                <a:lnTo>
                  <a:pt x="1393" y="2403"/>
                </a:lnTo>
                <a:lnTo>
                  <a:pt x="1391" y="2368"/>
                </a:lnTo>
                <a:lnTo>
                  <a:pt x="1389" y="2331"/>
                </a:lnTo>
                <a:lnTo>
                  <a:pt x="1386" y="2292"/>
                </a:lnTo>
                <a:lnTo>
                  <a:pt x="1382" y="2250"/>
                </a:lnTo>
                <a:lnTo>
                  <a:pt x="1377" y="2203"/>
                </a:lnTo>
                <a:lnTo>
                  <a:pt x="1370" y="2152"/>
                </a:lnTo>
                <a:lnTo>
                  <a:pt x="1360" y="2101"/>
                </a:lnTo>
                <a:lnTo>
                  <a:pt x="1351" y="2047"/>
                </a:lnTo>
                <a:lnTo>
                  <a:pt x="1340" y="1993"/>
                </a:lnTo>
                <a:lnTo>
                  <a:pt x="1326" y="1937"/>
                </a:lnTo>
                <a:lnTo>
                  <a:pt x="1313" y="1880"/>
                </a:lnTo>
                <a:lnTo>
                  <a:pt x="1298" y="1821"/>
                </a:lnTo>
                <a:lnTo>
                  <a:pt x="1281" y="1763"/>
                </a:lnTo>
                <a:lnTo>
                  <a:pt x="1264" y="1702"/>
                </a:lnTo>
                <a:lnTo>
                  <a:pt x="1244" y="1641"/>
                </a:lnTo>
                <a:lnTo>
                  <a:pt x="1224" y="1579"/>
                </a:lnTo>
                <a:lnTo>
                  <a:pt x="1203" y="1516"/>
                </a:lnTo>
                <a:lnTo>
                  <a:pt x="1180" y="1453"/>
                </a:lnTo>
                <a:lnTo>
                  <a:pt x="1156" y="1390"/>
                </a:lnTo>
                <a:lnTo>
                  <a:pt x="1132" y="1326"/>
                </a:lnTo>
                <a:lnTo>
                  <a:pt x="1130" y="1322"/>
                </a:lnTo>
                <a:lnTo>
                  <a:pt x="1111" y="1274"/>
                </a:lnTo>
                <a:lnTo>
                  <a:pt x="1066" y="1181"/>
                </a:lnTo>
                <a:lnTo>
                  <a:pt x="1020" y="1091"/>
                </a:lnTo>
                <a:lnTo>
                  <a:pt x="974" y="1004"/>
                </a:lnTo>
                <a:lnTo>
                  <a:pt x="928" y="920"/>
                </a:lnTo>
                <a:lnTo>
                  <a:pt x="880" y="838"/>
                </a:lnTo>
                <a:lnTo>
                  <a:pt x="833" y="761"/>
                </a:lnTo>
                <a:lnTo>
                  <a:pt x="786" y="687"/>
                </a:lnTo>
                <a:lnTo>
                  <a:pt x="739" y="617"/>
                </a:lnTo>
                <a:lnTo>
                  <a:pt x="716" y="584"/>
                </a:lnTo>
                <a:lnTo>
                  <a:pt x="693" y="551"/>
                </a:lnTo>
                <a:lnTo>
                  <a:pt x="669" y="521"/>
                </a:lnTo>
                <a:lnTo>
                  <a:pt x="647" y="491"/>
                </a:lnTo>
                <a:lnTo>
                  <a:pt x="624" y="462"/>
                </a:lnTo>
                <a:lnTo>
                  <a:pt x="601" y="434"/>
                </a:lnTo>
                <a:lnTo>
                  <a:pt x="579" y="407"/>
                </a:lnTo>
                <a:lnTo>
                  <a:pt x="556" y="381"/>
                </a:lnTo>
                <a:lnTo>
                  <a:pt x="534" y="358"/>
                </a:lnTo>
                <a:lnTo>
                  <a:pt x="513" y="335"/>
                </a:lnTo>
                <a:lnTo>
                  <a:pt x="491" y="313"/>
                </a:lnTo>
                <a:lnTo>
                  <a:pt x="469" y="293"/>
                </a:lnTo>
                <a:lnTo>
                  <a:pt x="449" y="274"/>
                </a:lnTo>
                <a:lnTo>
                  <a:pt x="428" y="257"/>
                </a:lnTo>
                <a:lnTo>
                  <a:pt x="409" y="240"/>
                </a:lnTo>
                <a:lnTo>
                  <a:pt x="388" y="226"/>
                </a:lnTo>
                <a:lnTo>
                  <a:pt x="362" y="208"/>
                </a:lnTo>
                <a:lnTo>
                  <a:pt x="339" y="194"/>
                </a:lnTo>
                <a:lnTo>
                  <a:pt x="326" y="189"/>
                </a:lnTo>
                <a:lnTo>
                  <a:pt x="315" y="183"/>
                </a:lnTo>
                <a:lnTo>
                  <a:pt x="305" y="179"/>
                </a:lnTo>
                <a:lnTo>
                  <a:pt x="293" y="1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67" name="Freeform 43"/>
          <p:cNvSpPr>
            <a:spLocks noChangeArrowheads="1"/>
          </p:cNvSpPr>
          <p:nvPr/>
        </p:nvSpPr>
        <p:spPr bwMode="auto">
          <a:xfrm>
            <a:off x="6237288" y="1073150"/>
            <a:ext cx="625475" cy="1463675"/>
          </a:xfrm>
          <a:custGeom>
            <a:avLst/>
            <a:gdLst>
              <a:gd name="T0" fmla="*/ 172 w 1392"/>
              <a:gd name="T1" fmla="*/ 0 h 2653"/>
              <a:gd name="T2" fmla="*/ 243 w 1392"/>
              <a:gd name="T3" fmla="*/ 11 h 2653"/>
              <a:gd name="T4" fmla="*/ 324 w 1392"/>
              <a:gd name="T5" fmla="*/ 50 h 2653"/>
              <a:gd name="T6" fmla="*/ 411 w 1392"/>
              <a:gd name="T7" fmla="*/ 117 h 2653"/>
              <a:gd name="T8" fmla="*/ 505 w 1392"/>
              <a:gd name="T9" fmla="*/ 207 h 2653"/>
              <a:gd name="T10" fmla="*/ 603 w 1392"/>
              <a:gd name="T11" fmla="*/ 320 h 2653"/>
              <a:gd name="T12" fmla="*/ 704 w 1392"/>
              <a:gd name="T13" fmla="*/ 453 h 2653"/>
              <a:gd name="T14" fmla="*/ 805 w 1392"/>
              <a:gd name="T15" fmla="*/ 606 h 2653"/>
              <a:gd name="T16" fmla="*/ 907 w 1392"/>
              <a:gd name="T17" fmla="*/ 775 h 2653"/>
              <a:gd name="T18" fmla="*/ 1008 w 1392"/>
              <a:gd name="T19" fmla="*/ 959 h 2653"/>
              <a:gd name="T20" fmla="*/ 1104 w 1392"/>
              <a:gd name="T21" fmla="*/ 1156 h 2653"/>
              <a:gd name="T22" fmla="*/ 1183 w 1392"/>
              <a:gd name="T23" fmla="*/ 1358 h 2653"/>
              <a:gd name="T24" fmla="*/ 1249 w 1392"/>
              <a:gd name="T25" fmla="*/ 1555 h 2653"/>
              <a:gd name="T26" fmla="*/ 1303 w 1392"/>
              <a:gd name="T27" fmla="*/ 1744 h 2653"/>
              <a:gd name="T28" fmla="*/ 1344 w 1392"/>
              <a:gd name="T29" fmla="*/ 1922 h 2653"/>
              <a:gd name="T30" fmla="*/ 1373 w 1392"/>
              <a:gd name="T31" fmla="*/ 2088 h 2653"/>
              <a:gd name="T32" fmla="*/ 1389 w 1392"/>
              <a:gd name="T33" fmla="*/ 2238 h 2653"/>
              <a:gd name="T34" fmla="*/ 1391 w 1392"/>
              <a:gd name="T35" fmla="*/ 2368 h 2653"/>
              <a:gd name="T36" fmla="*/ 1379 w 1392"/>
              <a:gd name="T37" fmla="*/ 2478 h 2653"/>
              <a:gd name="T38" fmla="*/ 1353 w 1392"/>
              <a:gd name="T39" fmla="*/ 2563 h 2653"/>
              <a:gd name="T40" fmla="*/ 1310 w 1392"/>
              <a:gd name="T41" fmla="*/ 2622 h 2653"/>
              <a:gd name="T42" fmla="*/ 1254 w 1392"/>
              <a:gd name="T43" fmla="*/ 2651 h 2653"/>
              <a:gd name="T44" fmla="*/ 1184 w 1392"/>
              <a:gd name="T45" fmla="*/ 2649 h 2653"/>
              <a:gd name="T46" fmla="*/ 1103 w 1392"/>
              <a:gd name="T47" fmla="*/ 2619 h 2653"/>
              <a:gd name="T48" fmla="*/ 1014 w 1392"/>
              <a:gd name="T49" fmla="*/ 2561 h 2653"/>
              <a:gd name="T50" fmla="*/ 918 w 1392"/>
              <a:gd name="T51" fmla="*/ 2479 h 2653"/>
              <a:gd name="T52" fmla="*/ 819 w 1392"/>
              <a:gd name="T53" fmla="*/ 2374 h 2653"/>
              <a:gd name="T54" fmla="*/ 716 w 1392"/>
              <a:gd name="T55" fmla="*/ 2247 h 2653"/>
              <a:gd name="T56" fmla="*/ 614 w 1392"/>
              <a:gd name="T57" fmla="*/ 2100 h 2653"/>
              <a:gd name="T58" fmla="*/ 514 w 1392"/>
              <a:gd name="T59" fmla="*/ 1937 h 2653"/>
              <a:gd name="T60" fmla="*/ 417 w 1392"/>
              <a:gd name="T61" fmla="*/ 1757 h 2653"/>
              <a:gd name="T62" fmla="*/ 328 w 1392"/>
              <a:gd name="T63" fmla="*/ 1563 h 2653"/>
              <a:gd name="T64" fmla="*/ 239 w 1392"/>
              <a:gd name="T65" fmla="*/ 1361 h 2653"/>
              <a:gd name="T66" fmla="*/ 162 w 1392"/>
              <a:gd name="T67" fmla="*/ 1163 h 2653"/>
              <a:gd name="T68" fmla="*/ 100 w 1392"/>
              <a:gd name="T69" fmla="*/ 972 h 2653"/>
              <a:gd name="T70" fmla="*/ 53 w 1392"/>
              <a:gd name="T71" fmla="*/ 789 h 2653"/>
              <a:gd name="T72" fmla="*/ 21 w 1392"/>
              <a:gd name="T73" fmla="*/ 619 h 2653"/>
              <a:gd name="T74" fmla="*/ 4 w 1392"/>
              <a:gd name="T75" fmla="*/ 463 h 2653"/>
              <a:gd name="T76" fmla="*/ 1 w 1392"/>
              <a:gd name="T77" fmla="*/ 326 h 2653"/>
              <a:gd name="T78" fmla="*/ 13 w 1392"/>
              <a:gd name="T79" fmla="*/ 210 h 2653"/>
              <a:gd name="T80" fmla="*/ 37 w 1392"/>
              <a:gd name="T81" fmla="*/ 116 h 2653"/>
              <a:gd name="T82" fmla="*/ 76 w 1392"/>
              <a:gd name="T83" fmla="*/ 48 h 2653"/>
              <a:gd name="T84" fmla="*/ 130 w 1392"/>
              <a:gd name="T85" fmla="*/ 9 h 2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92" h="2653">
                <a:moveTo>
                  <a:pt x="130" y="9"/>
                </a:moveTo>
                <a:lnTo>
                  <a:pt x="151" y="3"/>
                </a:lnTo>
                <a:lnTo>
                  <a:pt x="172" y="0"/>
                </a:lnTo>
                <a:lnTo>
                  <a:pt x="195" y="1"/>
                </a:lnTo>
                <a:lnTo>
                  <a:pt x="219" y="4"/>
                </a:lnTo>
                <a:lnTo>
                  <a:pt x="243" y="11"/>
                </a:lnTo>
                <a:lnTo>
                  <a:pt x="269" y="21"/>
                </a:lnTo>
                <a:lnTo>
                  <a:pt x="296" y="35"/>
                </a:lnTo>
                <a:lnTo>
                  <a:pt x="324" y="50"/>
                </a:lnTo>
                <a:lnTo>
                  <a:pt x="353" y="70"/>
                </a:lnTo>
                <a:lnTo>
                  <a:pt x="381" y="91"/>
                </a:lnTo>
                <a:lnTo>
                  <a:pt x="411" y="117"/>
                </a:lnTo>
                <a:lnTo>
                  <a:pt x="442" y="144"/>
                </a:lnTo>
                <a:lnTo>
                  <a:pt x="473" y="174"/>
                </a:lnTo>
                <a:lnTo>
                  <a:pt x="505" y="207"/>
                </a:lnTo>
                <a:lnTo>
                  <a:pt x="537" y="242"/>
                </a:lnTo>
                <a:lnTo>
                  <a:pt x="570" y="280"/>
                </a:lnTo>
                <a:lnTo>
                  <a:pt x="603" y="320"/>
                </a:lnTo>
                <a:lnTo>
                  <a:pt x="636" y="362"/>
                </a:lnTo>
                <a:lnTo>
                  <a:pt x="670" y="407"/>
                </a:lnTo>
                <a:lnTo>
                  <a:pt x="704" y="453"/>
                </a:lnTo>
                <a:lnTo>
                  <a:pt x="737" y="503"/>
                </a:lnTo>
                <a:lnTo>
                  <a:pt x="771" y="553"/>
                </a:lnTo>
                <a:lnTo>
                  <a:pt x="805" y="606"/>
                </a:lnTo>
                <a:lnTo>
                  <a:pt x="840" y="660"/>
                </a:lnTo>
                <a:lnTo>
                  <a:pt x="873" y="717"/>
                </a:lnTo>
                <a:lnTo>
                  <a:pt x="907" y="775"/>
                </a:lnTo>
                <a:lnTo>
                  <a:pt x="941" y="835"/>
                </a:lnTo>
                <a:lnTo>
                  <a:pt x="975" y="896"/>
                </a:lnTo>
                <a:lnTo>
                  <a:pt x="1008" y="959"/>
                </a:lnTo>
                <a:lnTo>
                  <a:pt x="1041" y="1023"/>
                </a:lnTo>
                <a:lnTo>
                  <a:pt x="1072" y="1089"/>
                </a:lnTo>
                <a:lnTo>
                  <a:pt x="1104" y="1156"/>
                </a:lnTo>
                <a:lnTo>
                  <a:pt x="1132" y="1224"/>
                </a:lnTo>
                <a:lnTo>
                  <a:pt x="1158" y="1291"/>
                </a:lnTo>
                <a:lnTo>
                  <a:pt x="1183" y="1358"/>
                </a:lnTo>
                <a:lnTo>
                  <a:pt x="1206" y="1424"/>
                </a:lnTo>
                <a:lnTo>
                  <a:pt x="1228" y="1490"/>
                </a:lnTo>
                <a:lnTo>
                  <a:pt x="1249" y="1555"/>
                </a:lnTo>
                <a:lnTo>
                  <a:pt x="1268" y="1619"/>
                </a:lnTo>
                <a:lnTo>
                  <a:pt x="1287" y="1682"/>
                </a:lnTo>
                <a:lnTo>
                  <a:pt x="1303" y="1744"/>
                </a:lnTo>
                <a:lnTo>
                  <a:pt x="1319" y="1805"/>
                </a:lnTo>
                <a:lnTo>
                  <a:pt x="1332" y="1864"/>
                </a:lnTo>
                <a:lnTo>
                  <a:pt x="1344" y="1922"/>
                </a:lnTo>
                <a:lnTo>
                  <a:pt x="1356" y="1979"/>
                </a:lnTo>
                <a:lnTo>
                  <a:pt x="1365" y="2034"/>
                </a:lnTo>
                <a:lnTo>
                  <a:pt x="1373" y="2088"/>
                </a:lnTo>
                <a:lnTo>
                  <a:pt x="1380" y="2140"/>
                </a:lnTo>
                <a:lnTo>
                  <a:pt x="1386" y="2189"/>
                </a:lnTo>
                <a:lnTo>
                  <a:pt x="1389" y="2238"/>
                </a:lnTo>
                <a:lnTo>
                  <a:pt x="1392" y="2283"/>
                </a:lnTo>
                <a:lnTo>
                  <a:pt x="1392" y="2327"/>
                </a:lnTo>
                <a:lnTo>
                  <a:pt x="1391" y="2368"/>
                </a:lnTo>
                <a:lnTo>
                  <a:pt x="1389" y="2408"/>
                </a:lnTo>
                <a:lnTo>
                  <a:pt x="1385" y="2444"/>
                </a:lnTo>
                <a:lnTo>
                  <a:pt x="1379" y="2478"/>
                </a:lnTo>
                <a:lnTo>
                  <a:pt x="1372" y="2509"/>
                </a:lnTo>
                <a:lnTo>
                  <a:pt x="1363" y="2537"/>
                </a:lnTo>
                <a:lnTo>
                  <a:pt x="1353" y="2563"/>
                </a:lnTo>
                <a:lnTo>
                  <a:pt x="1340" y="2586"/>
                </a:lnTo>
                <a:lnTo>
                  <a:pt x="1326" y="2606"/>
                </a:lnTo>
                <a:lnTo>
                  <a:pt x="1310" y="2622"/>
                </a:lnTo>
                <a:lnTo>
                  <a:pt x="1293" y="2634"/>
                </a:lnTo>
                <a:lnTo>
                  <a:pt x="1274" y="2645"/>
                </a:lnTo>
                <a:lnTo>
                  <a:pt x="1254" y="2651"/>
                </a:lnTo>
                <a:lnTo>
                  <a:pt x="1232" y="2653"/>
                </a:lnTo>
                <a:lnTo>
                  <a:pt x="1208" y="2653"/>
                </a:lnTo>
                <a:lnTo>
                  <a:pt x="1184" y="2649"/>
                </a:lnTo>
                <a:lnTo>
                  <a:pt x="1158" y="2643"/>
                </a:lnTo>
                <a:lnTo>
                  <a:pt x="1131" y="2632"/>
                </a:lnTo>
                <a:lnTo>
                  <a:pt x="1103" y="2619"/>
                </a:lnTo>
                <a:lnTo>
                  <a:pt x="1075" y="2602"/>
                </a:lnTo>
                <a:lnTo>
                  <a:pt x="1045" y="2584"/>
                </a:lnTo>
                <a:lnTo>
                  <a:pt x="1014" y="2561"/>
                </a:lnTo>
                <a:lnTo>
                  <a:pt x="983" y="2536"/>
                </a:lnTo>
                <a:lnTo>
                  <a:pt x="951" y="2509"/>
                </a:lnTo>
                <a:lnTo>
                  <a:pt x="918" y="2479"/>
                </a:lnTo>
                <a:lnTo>
                  <a:pt x="886" y="2446"/>
                </a:lnTo>
                <a:lnTo>
                  <a:pt x="852" y="2411"/>
                </a:lnTo>
                <a:lnTo>
                  <a:pt x="819" y="2374"/>
                </a:lnTo>
                <a:lnTo>
                  <a:pt x="785" y="2333"/>
                </a:lnTo>
                <a:lnTo>
                  <a:pt x="750" y="2291"/>
                </a:lnTo>
                <a:lnTo>
                  <a:pt x="716" y="2247"/>
                </a:lnTo>
                <a:lnTo>
                  <a:pt x="682" y="2199"/>
                </a:lnTo>
                <a:lnTo>
                  <a:pt x="648" y="2151"/>
                </a:lnTo>
                <a:lnTo>
                  <a:pt x="614" y="2100"/>
                </a:lnTo>
                <a:lnTo>
                  <a:pt x="580" y="2048"/>
                </a:lnTo>
                <a:lnTo>
                  <a:pt x="547" y="1993"/>
                </a:lnTo>
                <a:lnTo>
                  <a:pt x="514" y="1937"/>
                </a:lnTo>
                <a:lnTo>
                  <a:pt x="481" y="1878"/>
                </a:lnTo>
                <a:lnTo>
                  <a:pt x="449" y="1818"/>
                </a:lnTo>
                <a:lnTo>
                  <a:pt x="417" y="1757"/>
                </a:lnTo>
                <a:lnTo>
                  <a:pt x="388" y="1694"/>
                </a:lnTo>
                <a:lnTo>
                  <a:pt x="357" y="1629"/>
                </a:lnTo>
                <a:lnTo>
                  <a:pt x="328" y="1563"/>
                </a:lnTo>
                <a:lnTo>
                  <a:pt x="300" y="1496"/>
                </a:lnTo>
                <a:lnTo>
                  <a:pt x="269" y="1429"/>
                </a:lnTo>
                <a:lnTo>
                  <a:pt x="239" y="1361"/>
                </a:lnTo>
                <a:lnTo>
                  <a:pt x="212" y="1295"/>
                </a:lnTo>
                <a:lnTo>
                  <a:pt x="187" y="1228"/>
                </a:lnTo>
                <a:lnTo>
                  <a:pt x="162" y="1163"/>
                </a:lnTo>
                <a:lnTo>
                  <a:pt x="139" y="1098"/>
                </a:lnTo>
                <a:lnTo>
                  <a:pt x="119" y="1035"/>
                </a:lnTo>
                <a:lnTo>
                  <a:pt x="100" y="972"/>
                </a:lnTo>
                <a:lnTo>
                  <a:pt x="83" y="910"/>
                </a:lnTo>
                <a:lnTo>
                  <a:pt x="67" y="849"/>
                </a:lnTo>
                <a:lnTo>
                  <a:pt x="53" y="789"/>
                </a:lnTo>
                <a:lnTo>
                  <a:pt x="41" y="730"/>
                </a:lnTo>
                <a:lnTo>
                  <a:pt x="30" y="674"/>
                </a:lnTo>
                <a:lnTo>
                  <a:pt x="21" y="619"/>
                </a:lnTo>
                <a:lnTo>
                  <a:pt x="14" y="565"/>
                </a:lnTo>
                <a:lnTo>
                  <a:pt x="8" y="514"/>
                </a:lnTo>
                <a:lnTo>
                  <a:pt x="4" y="463"/>
                </a:lnTo>
                <a:lnTo>
                  <a:pt x="1" y="416"/>
                </a:lnTo>
                <a:lnTo>
                  <a:pt x="0" y="370"/>
                </a:lnTo>
                <a:lnTo>
                  <a:pt x="1" y="326"/>
                </a:lnTo>
                <a:lnTo>
                  <a:pt x="3" y="285"/>
                </a:lnTo>
                <a:lnTo>
                  <a:pt x="6" y="246"/>
                </a:lnTo>
                <a:lnTo>
                  <a:pt x="13" y="210"/>
                </a:lnTo>
                <a:lnTo>
                  <a:pt x="19" y="176"/>
                </a:lnTo>
                <a:lnTo>
                  <a:pt x="28" y="144"/>
                </a:lnTo>
                <a:lnTo>
                  <a:pt x="37" y="116"/>
                </a:lnTo>
                <a:lnTo>
                  <a:pt x="50" y="90"/>
                </a:lnTo>
                <a:lnTo>
                  <a:pt x="62" y="68"/>
                </a:lnTo>
                <a:lnTo>
                  <a:pt x="76" y="48"/>
                </a:lnTo>
                <a:lnTo>
                  <a:pt x="93" y="32"/>
                </a:lnTo>
                <a:lnTo>
                  <a:pt x="110" y="18"/>
                </a:lnTo>
                <a:lnTo>
                  <a:pt x="130" y="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78" name="Freeform 54"/>
          <p:cNvSpPr>
            <a:spLocks noChangeArrowheads="1"/>
          </p:cNvSpPr>
          <p:nvPr/>
        </p:nvSpPr>
        <p:spPr bwMode="auto">
          <a:xfrm>
            <a:off x="3054350" y="833438"/>
            <a:ext cx="1238250" cy="781050"/>
          </a:xfrm>
          <a:custGeom>
            <a:avLst/>
            <a:gdLst>
              <a:gd name="T0" fmla="*/ 92 w 2756"/>
              <a:gd name="T1" fmla="*/ 820 h 1413"/>
              <a:gd name="T2" fmla="*/ 258 w 2756"/>
              <a:gd name="T3" fmla="*/ 678 h 1413"/>
              <a:gd name="T4" fmla="*/ 443 w 2756"/>
              <a:gd name="T5" fmla="*/ 542 h 1413"/>
              <a:gd name="T6" fmla="*/ 660 w 2756"/>
              <a:gd name="T7" fmla="*/ 408 h 1413"/>
              <a:gd name="T8" fmla="*/ 947 w 2756"/>
              <a:gd name="T9" fmla="*/ 265 h 1413"/>
              <a:gd name="T10" fmla="*/ 1255 w 2756"/>
              <a:gd name="T11" fmla="*/ 146 h 1413"/>
              <a:gd name="T12" fmla="*/ 1579 w 2756"/>
              <a:gd name="T13" fmla="*/ 60 h 1413"/>
              <a:gd name="T14" fmla="*/ 1918 w 2756"/>
              <a:gd name="T15" fmla="*/ 10 h 1413"/>
              <a:gd name="T16" fmla="*/ 2265 w 2756"/>
              <a:gd name="T17" fmla="*/ 2 h 1413"/>
              <a:gd name="T18" fmla="*/ 2617 w 2756"/>
              <a:gd name="T19" fmla="*/ 40 h 1413"/>
              <a:gd name="T20" fmla="*/ 2719 w 2756"/>
              <a:gd name="T21" fmla="*/ 67 h 1413"/>
              <a:gd name="T22" fmla="*/ 2746 w 2756"/>
              <a:gd name="T23" fmla="*/ 98 h 1413"/>
              <a:gd name="T24" fmla="*/ 2756 w 2756"/>
              <a:gd name="T25" fmla="*/ 138 h 1413"/>
              <a:gd name="T26" fmla="*/ 2741 w 2756"/>
              <a:gd name="T27" fmla="*/ 186 h 1413"/>
              <a:gd name="T28" fmla="*/ 2696 w 2756"/>
              <a:gd name="T29" fmla="*/ 219 h 1413"/>
              <a:gd name="T30" fmla="*/ 2418 w 2756"/>
              <a:gd name="T31" fmla="*/ 341 h 1413"/>
              <a:gd name="T32" fmla="*/ 1836 w 2756"/>
              <a:gd name="T33" fmla="*/ 633 h 1413"/>
              <a:gd name="T34" fmla="*/ 1204 w 2756"/>
              <a:gd name="T35" fmla="*/ 974 h 1413"/>
              <a:gd name="T36" fmla="*/ 730 w 2756"/>
              <a:gd name="T37" fmla="*/ 1234 h 1413"/>
              <a:gd name="T38" fmla="*/ 469 w 2756"/>
              <a:gd name="T39" fmla="*/ 1378 h 1413"/>
              <a:gd name="T40" fmla="*/ 382 w 2756"/>
              <a:gd name="T41" fmla="*/ 1413 h 1413"/>
              <a:gd name="T42" fmla="*/ 313 w 2756"/>
              <a:gd name="T43" fmla="*/ 1407 h 1413"/>
              <a:gd name="T44" fmla="*/ 250 w 2756"/>
              <a:gd name="T45" fmla="*/ 1384 h 1413"/>
              <a:gd name="T46" fmla="*/ 207 w 2756"/>
              <a:gd name="T47" fmla="*/ 1347 h 1413"/>
              <a:gd name="T48" fmla="*/ 179 w 2756"/>
              <a:gd name="T49" fmla="*/ 1300 h 1413"/>
              <a:gd name="T50" fmla="*/ 155 w 2756"/>
              <a:gd name="T51" fmla="*/ 1196 h 1413"/>
              <a:gd name="T52" fmla="*/ 139 w 2756"/>
              <a:gd name="T53" fmla="*/ 1084 h 1413"/>
              <a:gd name="T54" fmla="*/ 116 w 2756"/>
              <a:gd name="T55" fmla="*/ 1041 h 1413"/>
              <a:gd name="T56" fmla="*/ 76 w 2756"/>
              <a:gd name="T57" fmla="*/ 1031 h 1413"/>
              <a:gd name="T58" fmla="*/ 37 w 2756"/>
              <a:gd name="T59" fmla="*/ 1016 h 1413"/>
              <a:gd name="T60" fmla="*/ 10 w 2756"/>
              <a:gd name="T61" fmla="*/ 986 h 1413"/>
              <a:gd name="T62" fmla="*/ 0 w 2756"/>
              <a:gd name="T63" fmla="*/ 945 h 1413"/>
              <a:gd name="T64" fmla="*/ 10 w 2756"/>
              <a:gd name="T65" fmla="*/ 904 h 1413"/>
              <a:gd name="T66" fmla="*/ 397 w 2756"/>
              <a:gd name="T67" fmla="*/ 786 h 1413"/>
              <a:gd name="T68" fmla="*/ 257 w 2756"/>
              <a:gd name="T69" fmla="*/ 920 h 1413"/>
              <a:gd name="T70" fmla="*/ 291 w 2756"/>
              <a:gd name="T71" fmla="*/ 980 h 1413"/>
              <a:gd name="T72" fmla="*/ 315 w 2756"/>
              <a:gd name="T73" fmla="*/ 1096 h 1413"/>
              <a:gd name="T74" fmla="*/ 331 w 2756"/>
              <a:gd name="T75" fmla="*/ 1198 h 1413"/>
              <a:gd name="T76" fmla="*/ 348 w 2756"/>
              <a:gd name="T77" fmla="*/ 1229 h 1413"/>
              <a:gd name="T78" fmla="*/ 453 w 2756"/>
              <a:gd name="T79" fmla="*/ 1191 h 1413"/>
              <a:gd name="T80" fmla="*/ 710 w 2756"/>
              <a:gd name="T81" fmla="*/ 1050 h 1413"/>
              <a:gd name="T82" fmla="*/ 1158 w 2756"/>
              <a:gd name="T83" fmla="*/ 803 h 1413"/>
              <a:gd name="T84" fmla="*/ 1680 w 2756"/>
              <a:gd name="T85" fmla="*/ 521 h 1413"/>
              <a:gd name="T86" fmla="*/ 2180 w 2756"/>
              <a:gd name="T87" fmla="*/ 266 h 1413"/>
              <a:gd name="T88" fmla="*/ 2189 w 2756"/>
              <a:gd name="T89" fmla="*/ 171 h 1413"/>
              <a:gd name="T90" fmla="*/ 1909 w 2756"/>
              <a:gd name="T91" fmla="*/ 183 h 1413"/>
              <a:gd name="T92" fmla="*/ 1634 w 2756"/>
              <a:gd name="T93" fmla="*/ 224 h 1413"/>
              <a:gd name="T94" fmla="*/ 1368 w 2756"/>
              <a:gd name="T95" fmla="*/ 291 h 1413"/>
              <a:gd name="T96" fmla="*/ 1114 w 2756"/>
              <a:gd name="T97" fmla="*/ 379 h 1413"/>
              <a:gd name="T98" fmla="*/ 874 w 2756"/>
              <a:gd name="T99" fmla="*/ 487 h 1413"/>
              <a:gd name="T100" fmla="*/ 653 w 2756"/>
              <a:gd name="T101" fmla="*/ 610 h 1413"/>
              <a:gd name="T102" fmla="*/ 467 w 2756"/>
              <a:gd name="T103" fmla="*/ 734 h 1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756" h="1413">
                <a:moveTo>
                  <a:pt x="25" y="884"/>
                </a:moveTo>
                <a:lnTo>
                  <a:pt x="26" y="883"/>
                </a:lnTo>
                <a:lnTo>
                  <a:pt x="31" y="879"/>
                </a:lnTo>
                <a:lnTo>
                  <a:pt x="61" y="850"/>
                </a:lnTo>
                <a:lnTo>
                  <a:pt x="92" y="820"/>
                </a:lnTo>
                <a:lnTo>
                  <a:pt x="123" y="792"/>
                </a:lnTo>
                <a:lnTo>
                  <a:pt x="156" y="763"/>
                </a:lnTo>
                <a:lnTo>
                  <a:pt x="189" y="735"/>
                </a:lnTo>
                <a:lnTo>
                  <a:pt x="223" y="706"/>
                </a:lnTo>
                <a:lnTo>
                  <a:pt x="258" y="678"/>
                </a:lnTo>
                <a:lnTo>
                  <a:pt x="293" y="650"/>
                </a:lnTo>
                <a:lnTo>
                  <a:pt x="329" y="622"/>
                </a:lnTo>
                <a:lnTo>
                  <a:pt x="367" y="596"/>
                </a:lnTo>
                <a:lnTo>
                  <a:pt x="405" y="569"/>
                </a:lnTo>
                <a:lnTo>
                  <a:pt x="443" y="542"/>
                </a:lnTo>
                <a:lnTo>
                  <a:pt x="483" y="515"/>
                </a:lnTo>
                <a:lnTo>
                  <a:pt x="523" y="489"/>
                </a:lnTo>
                <a:lnTo>
                  <a:pt x="565" y="465"/>
                </a:lnTo>
                <a:lnTo>
                  <a:pt x="606" y="439"/>
                </a:lnTo>
                <a:lnTo>
                  <a:pt x="660" y="408"/>
                </a:lnTo>
                <a:lnTo>
                  <a:pt x="716" y="377"/>
                </a:lnTo>
                <a:lnTo>
                  <a:pt x="773" y="347"/>
                </a:lnTo>
                <a:lnTo>
                  <a:pt x="829" y="319"/>
                </a:lnTo>
                <a:lnTo>
                  <a:pt x="888" y="292"/>
                </a:lnTo>
                <a:lnTo>
                  <a:pt x="947" y="265"/>
                </a:lnTo>
                <a:lnTo>
                  <a:pt x="1006" y="239"/>
                </a:lnTo>
                <a:lnTo>
                  <a:pt x="1067" y="214"/>
                </a:lnTo>
                <a:lnTo>
                  <a:pt x="1129" y="191"/>
                </a:lnTo>
                <a:lnTo>
                  <a:pt x="1192" y="168"/>
                </a:lnTo>
                <a:lnTo>
                  <a:pt x="1255" y="146"/>
                </a:lnTo>
                <a:lnTo>
                  <a:pt x="1319" y="127"/>
                </a:lnTo>
                <a:lnTo>
                  <a:pt x="1382" y="108"/>
                </a:lnTo>
                <a:lnTo>
                  <a:pt x="1447" y="91"/>
                </a:lnTo>
                <a:lnTo>
                  <a:pt x="1513" y="75"/>
                </a:lnTo>
                <a:lnTo>
                  <a:pt x="1579" y="60"/>
                </a:lnTo>
                <a:lnTo>
                  <a:pt x="1646" y="47"/>
                </a:lnTo>
                <a:lnTo>
                  <a:pt x="1713" y="36"/>
                </a:lnTo>
                <a:lnTo>
                  <a:pt x="1781" y="26"/>
                </a:lnTo>
                <a:lnTo>
                  <a:pt x="1849" y="16"/>
                </a:lnTo>
                <a:lnTo>
                  <a:pt x="1918" y="10"/>
                </a:lnTo>
                <a:lnTo>
                  <a:pt x="1987" y="5"/>
                </a:lnTo>
                <a:lnTo>
                  <a:pt x="2056" y="1"/>
                </a:lnTo>
                <a:lnTo>
                  <a:pt x="2125" y="0"/>
                </a:lnTo>
                <a:lnTo>
                  <a:pt x="2195" y="0"/>
                </a:lnTo>
                <a:lnTo>
                  <a:pt x="2265" y="2"/>
                </a:lnTo>
                <a:lnTo>
                  <a:pt x="2335" y="5"/>
                </a:lnTo>
                <a:lnTo>
                  <a:pt x="2405" y="11"/>
                </a:lnTo>
                <a:lnTo>
                  <a:pt x="2476" y="18"/>
                </a:lnTo>
                <a:lnTo>
                  <a:pt x="2546" y="28"/>
                </a:lnTo>
                <a:lnTo>
                  <a:pt x="2617" y="40"/>
                </a:lnTo>
                <a:lnTo>
                  <a:pt x="2688" y="53"/>
                </a:lnTo>
                <a:lnTo>
                  <a:pt x="2697" y="55"/>
                </a:lnTo>
                <a:lnTo>
                  <a:pt x="2705" y="59"/>
                </a:lnTo>
                <a:lnTo>
                  <a:pt x="2712" y="63"/>
                </a:lnTo>
                <a:lnTo>
                  <a:pt x="2719" y="67"/>
                </a:lnTo>
                <a:lnTo>
                  <a:pt x="2726" y="72"/>
                </a:lnTo>
                <a:lnTo>
                  <a:pt x="2732" y="77"/>
                </a:lnTo>
                <a:lnTo>
                  <a:pt x="2737" y="83"/>
                </a:lnTo>
                <a:lnTo>
                  <a:pt x="2742" y="91"/>
                </a:lnTo>
                <a:lnTo>
                  <a:pt x="2746" y="98"/>
                </a:lnTo>
                <a:lnTo>
                  <a:pt x="2749" y="105"/>
                </a:lnTo>
                <a:lnTo>
                  <a:pt x="2752" y="113"/>
                </a:lnTo>
                <a:lnTo>
                  <a:pt x="2754" y="120"/>
                </a:lnTo>
                <a:lnTo>
                  <a:pt x="2755" y="129"/>
                </a:lnTo>
                <a:lnTo>
                  <a:pt x="2756" y="138"/>
                </a:lnTo>
                <a:lnTo>
                  <a:pt x="2755" y="146"/>
                </a:lnTo>
                <a:lnTo>
                  <a:pt x="2754" y="154"/>
                </a:lnTo>
                <a:lnTo>
                  <a:pt x="2751" y="166"/>
                </a:lnTo>
                <a:lnTo>
                  <a:pt x="2746" y="177"/>
                </a:lnTo>
                <a:lnTo>
                  <a:pt x="2741" y="186"/>
                </a:lnTo>
                <a:lnTo>
                  <a:pt x="2734" y="196"/>
                </a:lnTo>
                <a:lnTo>
                  <a:pt x="2726" y="203"/>
                </a:lnTo>
                <a:lnTo>
                  <a:pt x="2716" y="210"/>
                </a:lnTo>
                <a:lnTo>
                  <a:pt x="2706" y="215"/>
                </a:lnTo>
                <a:lnTo>
                  <a:pt x="2696" y="219"/>
                </a:lnTo>
                <a:lnTo>
                  <a:pt x="2654" y="236"/>
                </a:lnTo>
                <a:lnTo>
                  <a:pt x="2611" y="253"/>
                </a:lnTo>
                <a:lnTo>
                  <a:pt x="2565" y="273"/>
                </a:lnTo>
                <a:lnTo>
                  <a:pt x="2517" y="295"/>
                </a:lnTo>
                <a:lnTo>
                  <a:pt x="2418" y="341"/>
                </a:lnTo>
                <a:lnTo>
                  <a:pt x="2310" y="392"/>
                </a:lnTo>
                <a:lnTo>
                  <a:pt x="2197" y="447"/>
                </a:lnTo>
                <a:lnTo>
                  <a:pt x="2080" y="506"/>
                </a:lnTo>
                <a:lnTo>
                  <a:pt x="1959" y="569"/>
                </a:lnTo>
                <a:lnTo>
                  <a:pt x="1836" y="633"/>
                </a:lnTo>
                <a:lnTo>
                  <a:pt x="1709" y="700"/>
                </a:lnTo>
                <a:lnTo>
                  <a:pt x="1582" y="768"/>
                </a:lnTo>
                <a:lnTo>
                  <a:pt x="1455" y="837"/>
                </a:lnTo>
                <a:lnTo>
                  <a:pt x="1329" y="905"/>
                </a:lnTo>
                <a:lnTo>
                  <a:pt x="1204" y="974"/>
                </a:lnTo>
                <a:lnTo>
                  <a:pt x="1082" y="1041"/>
                </a:lnTo>
                <a:lnTo>
                  <a:pt x="963" y="1106"/>
                </a:lnTo>
                <a:lnTo>
                  <a:pt x="849" y="1169"/>
                </a:lnTo>
                <a:lnTo>
                  <a:pt x="789" y="1202"/>
                </a:lnTo>
                <a:lnTo>
                  <a:pt x="730" y="1234"/>
                </a:lnTo>
                <a:lnTo>
                  <a:pt x="674" y="1266"/>
                </a:lnTo>
                <a:lnTo>
                  <a:pt x="620" y="1296"/>
                </a:lnTo>
                <a:lnTo>
                  <a:pt x="568" y="1324"/>
                </a:lnTo>
                <a:lnTo>
                  <a:pt x="517" y="1351"/>
                </a:lnTo>
                <a:lnTo>
                  <a:pt x="469" y="1378"/>
                </a:lnTo>
                <a:lnTo>
                  <a:pt x="422" y="1403"/>
                </a:lnTo>
                <a:lnTo>
                  <a:pt x="413" y="1407"/>
                </a:lnTo>
                <a:lnTo>
                  <a:pt x="403" y="1411"/>
                </a:lnTo>
                <a:lnTo>
                  <a:pt x="393" y="1413"/>
                </a:lnTo>
                <a:lnTo>
                  <a:pt x="382" y="1413"/>
                </a:lnTo>
                <a:lnTo>
                  <a:pt x="380" y="1413"/>
                </a:lnTo>
                <a:lnTo>
                  <a:pt x="362" y="1413"/>
                </a:lnTo>
                <a:lnTo>
                  <a:pt x="344" y="1411"/>
                </a:lnTo>
                <a:lnTo>
                  <a:pt x="328" y="1410"/>
                </a:lnTo>
                <a:lnTo>
                  <a:pt x="313" y="1407"/>
                </a:lnTo>
                <a:lnTo>
                  <a:pt x="299" y="1404"/>
                </a:lnTo>
                <a:lnTo>
                  <a:pt x="285" y="1400"/>
                </a:lnTo>
                <a:lnTo>
                  <a:pt x="272" y="1395"/>
                </a:lnTo>
                <a:lnTo>
                  <a:pt x="261" y="1389"/>
                </a:lnTo>
                <a:lnTo>
                  <a:pt x="250" y="1384"/>
                </a:lnTo>
                <a:lnTo>
                  <a:pt x="240" y="1378"/>
                </a:lnTo>
                <a:lnTo>
                  <a:pt x="231" y="1371"/>
                </a:lnTo>
                <a:lnTo>
                  <a:pt x="223" y="1364"/>
                </a:lnTo>
                <a:lnTo>
                  <a:pt x="214" y="1355"/>
                </a:lnTo>
                <a:lnTo>
                  <a:pt x="207" y="1347"/>
                </a:lnTo>
                <a:lnTo>
                  <a:pt x="201" y="1338"/>
                </a:lnTo>
                <a:lnTo>
                  <a:pt x="195" y="1329"/>
                </a:lnTo>
                <a:lnTo>
                  <a:pt x="189" y="1319"/>
                </a:lnTo>
                <a:lnTo>
                  <a:pt x="183" y="1310"/>
                </a:lnTo>
                <a:lnTo>
                  <a:pt x="179" y="1300"/>
                </a:lnTo>
                <a:lnTo>
                  <a:pt x="175" y="1288"/>
                </a:lnTo>
                <a:lnTo>
                  <a:pt x="168" y="1267"/>
                </a:lnTo>
                <a:lnTo>
                  <a:pt x="163" y="1244"/>
                </a:lnTo>
                <a:lnTo>
                  <a:pt x="159" y="1220"/>
                </a:lnTo>
                <a:lnTo>
                  <a:pt x="155" y="1196"/>
                </a:lnTo>
                <a:lnTo>
                  <a:pt x="152" y="1171"/>
                </a:lnTo>
                <a:lnTo>
                  <a:pt x="150" y="1145"/>
                </a:lnTo>
                <a:lnTo>
                  <a:pt x="146" y="1124"/>
                </a:lnTo>
                <a:lnTo>
                  <a:pt x="143" y="1104"/>
                </a:lnTo>
                <a:lnTo>
                  <a:pt x="139" y="1084"/>
                </a:lnTo>
                <a:lnTo>
                  <a:pt x="134" y="1067"/>
                </a:lnTo>
                <a:lnTo>
                  <a:pt x="130" y="1058"/>
                </a:lnTo>
                <a:lnTo>
                  <a:pt x="126" y="1052"/>
                </a:lnTo>
                <a:lnTo>
                  <a:pt x="122" y="1046"/>
                </a:lnTo>
                <a:lnTo>
                  <a:pt x="116" y="1041"/>
                </a:lnTo>
                <a:lnTo>
                  <a:pt x="109" y="1037"/>
                </a:lnTo>
                <a:lnTo>
                  <a:pt x="102" y="1034"/>
                </a:lnTo>
                <a:lnTo>
                  <a:pt x="95" y="1032"/>
                </a:lnTo>
                <a:lnTo>
                  <a:pt x="86" y="1031"/>
                </a:lnTo>
                <a:lnTo>
                  <a:pt x="76" y="1031"/>
                </a:lnTo>
                <a:lnTo>
                  <a:pt x="68" y="1029"/>
                </a:lnTo>
                <a:lnTo>
                  <a:pt x="60" y="1027"/>
                </a:lnTo>
                <a:lnTo>
                  <a:pt x="53" y="1024"/>
                </a:lnTo>
                <a:lnTo>
                  <a:pt x="44" y="1020"/>
                </a:lnTo>
                <a:lnTo>
                  <a:pt x="37" y="1016"/>
                </a:lnTo>
                <a:lnTo>
                  <a:pt x="31" y="1011"/>
                </a:lnTo>
                <a:lnTo>
                  <a:pt x="25" y="1006"/>
                </a:lnTo>
                <a:lnTo>
                  <a:pt x="20" y="1000"/>
                </a:lnTo>
                <a:lnTo>
                  <a:pt x="15" y="994"/>
                </a:lnTo>
                <a:lnTo>
                  <a:pt x="10" y="986"/>
                </a:lnTo>
                <a:lnTo>
                  <a:pt x="6" y="978"/>
                </a:lnTo>
                <a:lnTo>
                  <a:pt x="4" y="971"/>
                </a:lnTo>
                <a:lnTo>
                  <a:pt x="2" y="963"/>
                </a:lnTo>
                <a:lnTo>
                  <a:pt x="0" y="953"/>
                </a:lnTo>
                <a:lnTo>
                  <a:pt x="0" y="945"/>
                </a:lnTo>
                <a:lnTo>
                  <a:pt x="0" y="936"/>
                </a:lnTo>
                <a:lnTo>
                  <a:pt x="2" y="928"/>
                </a:lnTo>
                <a:lnTo>
                  <a:pt x="4" y="919"/>
                </a:lnTo>
                <a:lnTo>
                  <a:pt x="6" y="911"/>
                </a:lnTo>
                <a:lnTo>
                  <a:pt x="10" y="904"/>
                </a:lnTo>
                <a:lnTo>
                  <a:pt x="15" y="897"/>
                </a:lnTo>
                <a:lnTo>
                  <a:pt x="20" y="890"/>
                </a:lnTo>
                <a:lnTo>
                  <a:pt x="25" y="884"/>
                </a:lnTo>
                <a:close/>
                <a:moveTo>
                  <a:pt x="397" y="786"/>
                </a:moveTo>
                <a:lnTo>
                  <a:pt x="358" y="817"/>
                </a:lnTo>
                <a:lnTo>
                  <a:pt x="319" y="847"/>
                </a:lnTo>
                <a:lnTo>
                  <a:pt x="282" y="879"/>
                </a:lnTo>
                <a:lnTo>
                  <a:pt x="247" y="910"/>
                </a:lnTo>
                <a:lnTo>
                  <a:pt x="257" y="920"/>
                </a:lnTo>
                <a:lnTo>
                  <a:pt x="265" y="931"/>
                </a:lnTo>
                <a:lnTo>
                  <a:pt x="273" y="942"/>
                </a:lnTo>
                <a:lnTo>
                  <a:pt x="279" y="954"/>
                </a:lnTo>
                <a:lnTo>
                  <a:pt x="285" y="967"/>
                </a:lnTo>
                <a:lnTo>
                  <a:pt x="291" y="980"/>
                </a:lnTo>
                <a:lnTo>
                  <a:pt x="296" y="994"/>
                </a:lnTo>
                <a:lnTo>
                  <a:pt x="300" y="1007"/>
                </a:lnTo>
                <a:lnTo>
                  <a:pt x="306" y="1036"/>
                </a:lnTo>
                <a:lnTo>
                  <a:pt x="311" y="1066"/>
                </a:lnTo>
                <a:lnTo>
                  <a:pt x="315" y="1096"/>
                </a:lnTo>
                <a:lnTo>
                  <a:pt x="318" y="1127"/>
                </a:lnTo>
                <a:lnTo>
                  <a:pt x="320" y="1146"/>
                </a:lnTo>
                <a:lnTo>
                  <a:pt x="324" y="1164"/>
                </a:lnTo>
                <a:lnTo>
                  <a:pt x="327" y="1181"/>
                </a:lnTo>
                <a:lnTo>
                  <a:pt x="331" y="1198"/>
                </a:lnTo>
                <a:lnTo>
                  <a:pt x="334" y="1205"/>
                </a:lnTo>
                <a:lnTo>
                  <a:pt x="337" y="1212"/>
                </a:lnTo>
                <a:lnTo>
                  <a:pt x="340" y="1218"/>
                </a:lnTo>
                <a:lnTo>
                  <a:pt x="344" y="1223"/>
                </a:lnTo>
                <a:lnTo>
                  <a:pt x="348" y="1229"/>
                </a:lnTo>
                <a:lnTo>
                  <a:pt x="353" y="1233"/>
                </a:lnTo>
                <a:lnTo>
                  <a:pt x="359" y="1237"/>
                </a:lnTo>
                <a:lnTo>
                  <a:pt x="366" y="1239"/>
                </a:lnTo>
                <a:lnTo>
                  <a:pt x="408" y="1216"/>
                </a:lnTo>
                <a:lnTo>
                  <a:pt x="453" y="1191"/>
                </a:lnTo>
                <a:lnTo>
                  <a:pt x="501" y="1166"/>
                </a:lnTo>
                <a:lnTo>
                  <a:pt x="550" y="1138"/>
                </a:lnTo>
                <a:lnTo>
                  <a:pt x="602" y="1110"/>
                </a:lnTo>
                <a:lnTo>
                  <a:pt x="655" y="1080"/>
                </a:lnTo>
                <a:lnTo>
                  <a:pt x="710" y="1050"/>
                </a:lnTo>
                <a:lnTo>
                  <a:pt x="766" y="1019"/>
                </a:lnTo>
                <a:lnTo>
                  <a:pt x="860" y="967"/>
                </a:lnTo>
                <a:lnTo>
                  <a:pt x="957" y="914"/>
                </a:lnTo>
                <a:lnTo>
                  <a:pt x="1056" y="859"/>
                </a:lnTo>
                <a:lnTo>
                  <a:pt x="1158" y="803"/>
                </a:lnTo>
                <a:lnTo>
                  <a:pt x="1261" y="747"/>
                </a:lnTo>
                <a:lnTo>
                  <a:pt x="1365" y="690"/>
                </a:lnTo>
                <a:lnTo>
                  <a:pt x="1470" y="634"/>
                </a:lnTo>
                <a:lnTo>
                  <a:pt x="1575" y="577"/>
                </a:lnTo>
                <a:lnTo>
                  <a:pt x="1680" y="521"/>
                </a:lnTo>
                <a:lnTo>
                  <a:pt x="1783" y="467"/>
                </a:lnTo>
                <a:lnTo>
                  <a:pt x="1885" y="414"/>
                </a:lnTo>
                <a:lnTo>
                  <a:pt x="1986" y="363"/>
                </a:lnTo>
                <a:lnTo>
                  <a:pt x="2084" y="313"/>
                </a:lnTo>
                <a:lnTo>
                  <a:pt x="2180" y="266"/>
                </a:lnTo>
                <a:lnTo>
                  <a:pt x="2271" y="220"/>
                </a:lnTo>
                <a:lnTo>
                  <a:pt x="2360" y="179"/>
                </a:lnTo>
                <a:lnTo>
                  <a:pt x="2303" y="175"/>
                </a:lnTo>
                <a:lnTo>
                  <a:pt x="2246" y="172"/>
                </a:lnTo>
                <a:lnTo>
                  <a:pt x="2189" y="171"/>
                </a:lnTo>
                <a:lnTo>
                  <a:pt x="2132" y="171"/>
                </a:lnTo>
                <a:lnTo>
                  <a:pt x="2077" y="172"/>
                </a:lnTo>
                <a:lnTo>
                  <a:pt x="2020" y="175"/>
                </a:lnTo>
                <a:lnTo>
                  <a:pt x="1964" y="178"/>
                </a:lnTo>
                <a:lnTo>
                  <a:pt x="1909" y="183"/>
                </a:lnTo>
                <a:lnTo>
                  <a:pt x="1853" y="189"/>
                </a:lnTo>
                <a:lnTo>
                  <a:pt x="1798" y="196"/>
                </a:lnTo>
                <a:lnTo>
                  <a:pt x="1743" y="204"/>
                </a:lnTo>
                <a:lnTo>
                  <a:pt x="1688" y="213"/>
                </a:lnTo>
                <a:lnTo>
                  <a:pt x="1634" y="224"/>
                </a:lnTo>
                <a:lnTo>
                  <a:pt x="1580" y="235"/>
                </a:lnTo>
                <a:lnTo>
                  <a:pt x="1527" y="247"/>
                </a:lnTo>
                <a:lnTo>
                  <a:pt x="1473" y="261"/>
                </a:lnTo>
                <a:lnTo>
                  <a:pt x="1421" y="275"/>
                </a:lnTo>
                <a:lnTo>
                  <a:pt x="1368" y="291"/>
                </a:lnTo>
                <a:lnTo>
                  <a:pt x="1316" y="306"/>
                </a:lnTo>
                <a:lnTo>
                  <a:pt x="1265" y="323"/>
                </a:lnTo>
                <a:lnTo>
                  <a:pt x="1213" y="341"/>
                </a:lnTo>
                <a:lnTo>
                  <a:pt x="1164" y="360"/>
                </a:lnTo>
                <a:lnTo>
                  <a:pt x="1114" y="379"/>
                </a:lnTo>
                <a:lnTo>
                  <a:pt x="1064" y="400"/>
                </a:lnTo>
                <a:lnTo>
                  <a:pt x="1016" y="420"/>
                </a:lnTo>
                <a:lnTo>
                  <a:pt x="967" y="442"/>
                </a:lnTo>
                <a:lnTo>
                  <a:pt x="920" y="465"/>
                </a:lnTo>
                <a:lnTo>
                  <a:pt x="874" y="487"/>
                </a:lnTo>
                <a:lnTo>
                  <a:pt x="827" y="512"/>
                </a:lnTo>
                <a:lnTo>
                  <a:pt x="781" y="536"/>
                </a:lnTo>
                <a:lnTo>
                  <a:pt x="737" y="561"/>
                </a:lnTo>
                <a:lnTo>
                  <a:pt x="692" y="586"/>
                </a:lnTo>
                <a:lnTo>
                  <a:pt x="653" y="610"/>
                </a:lnTo>
                <a:lnTo>
                  <a:pt x="615" y="634"/>
                </a:lnTo>
                <a:lnTo>
                  <a:pt x="577" y="659"/>
                </a:lnTo>
                <a:lnTo>
                  <a:pt x="540" y="683"/>
                </a:lnTo>
                <a:lnTo>
                  <a:pt x="503" y="708"/>
                </a:lnTo>
                <a:lnTo>
                  <a:pt x="467" y="734"/>
                </a:lnTo>
                <a:lnTo>
                  <a:pt x="431" y="761"/>
                </a:lnTo>
                <a:lnTo>
                  <a:pt x="397" y="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079" name="Freeform 55"/>
          <p:cNvSpPr>
            <a:spLocks noChangeArrowheads="1"/>
          </p:cNvSpPr>
          <p:nvPr/>
        </p:nvSpPr>
        <p:spPr bwMode="auto">
          <a:xfrm>
            <a:off x="3098800" y="877888"/>
            <a:ext cx="1158875" cy="692150"/>
          </a:xfrm>
          <a:custGeom>
            <a:avLst/>
            <a:gdLst>
              <a:gd name="T0" fmla="*/ 52 w 2585"/>
              <a:gd name="T1" fmla="*/ 809 h 1243"/>
              <a:gd name="T2" fmla="*/ 167 w 2585"/>
              <a:gd name="T3" fmla="*/ 708 h 1243"/>
              <a:gd name="T4" fmla="*/ 290 w 2585"/>
              <a:gd name="T5" fmla="*/ 610 h 1243"/>
              <a:gd name="T6" fmla="*/ 423 w 2585"/>
              <a:gd name="T7" fmla="*/ 516 h 1243"/>
              <a:gd name="T8" fmla="*/ 565 w 2585"/>
              <a:gd name="T9" fmla="*/ 427 h 1243"/>
              <a:gd name="T10" fmla="*/ 713 w 2585"/>
              <a:gd name="T11" fmla="*/ 345 h 1243"/>
              <a:gd name="T12" fmla="*/ 870 w 2585"/>
              <a:gd name="T13" fmla="*/ 268 h 1243"/>
              <a:gd name="T14" fmla="*/ 1034 w 2585"/>
              <a:gd name="T15" fmla="*/ 200 h 1243"/>
              <a:gd name="T16" fmla="*/ 1203 w 2585"/>
              <a:gd name="T17" fmla="*/ 141 h 1243"/>
              <a:gd name="T18" fmla="*/ 1377 w 2585"/>
              <a:gd name="T19" fmla="*/ 90 h 1243"/>
              <a:gd name="T20" fmla="*/ 1555 w 2585"/>
              <a:gd name="T21" fmla="*/ 50 h 1243"/>
              <a:gd name="T22" fmla="*/ 1737 w 2585"/>
              <a:gd name="T23" fmla="*/ 21 h 1243"/>
              <a:gd name="T24" fmla="*/ 1923 w 2585"/>
              <a:gd name="T25" fmla="*/ 4 h 1243"/>
              <a:gd name="T26" fmla="*/ 2110 w 2585"/>
              <a:gd name="T27" fmla="*/ 0 h 1243"/>
              <a:gd name="T28" fmla="*/ 2299 w 2585"/>
              <a:gd name="T29" fmla="*/ 10 h 1243"/>
              <a:gd name="T30" fmla="*/ 2489 w 2585"/>
              <a:gd name="T31" fmla="*/ 34 h 1243"/>
              <a:gd name="T32" fmla="*/ 2531 w 2585"/>
              <a:gd name="T33" fmla="*/ 74 h 1243"/>
              <a:gd name="T34" fmla="*/ 2414 w 2585"/>
              <a:gd name="T35" fmla="*/ 124 h 1243"/>
              <a:gd name="T36" fmla="*/ 2285 w 2585"/>
              <a:gd name="T37" fmla="*/ 183 h 1243"/>
              <a:gd name="T38" fmla="*/ 2145 w 2585"/>
              <a:gd name="T39" fmla="*/ 250 h 1243"/>
              <a:gd name="T40" fmla="*/ 1921 w 2585"/>
              <a:gd name="T41" fmla="*/ 362 h 1243"/>
              <a:gd name="T42" fmla="*/ 1603 w 2585"/>
              <a:gd name="T43" fmla="*/ 528 h 1243"/>
              <a:gd name="T44" fmla="*/ 1278 w 2585"/>
              <a:gd name="T45" fmla="*/ 703 h 1243"/>
              <a:gd name="T46" fmla="*/ 961 w 2585"/>
              <a:gd name="T47" fmla="*/ 878 h 1243"/>
              <a:gd name="T48" fmla="*/ 665 w 2585"/>
              <a:gd name="T49" fmla="*/ 1040 h 1243"/>
              <a:gd name="T50" fmla="*/ 406 w 2585"/>
              <a:gd name="T51" fmla="*/ 1183 h 1243"/>
              <a:gd name="T52" fmla="*/ 274 w 2585"/>
              <a:gd name="T53" fmla="*/ 1242 h 1243"/>
              <a:gd name="T54" fmla="*/ 237 w 2585"/>
              <a:gd name="T55" fmla="*/ 1233 h 1243"/>
              <a:gd name="T56" fmla="*/ 208 w 2585"/>
              <a:gd name="T57" fmla="*/ 1218 h 1243"/>
              <a:gd name="T58" fmla="*/ 186 w 2585"/>
              <a:gd name="T59" fmla="*/ 1195 h 1243"/>
              <a:gd name="T60" fmla="*/ 172 w 2585"/>
              <a:gd name="T61" fmla="*/ 1168 h 1243"/>
              <a:gd name="T62" fmla="*/ 161 w 2585"/>
              <a:gd name="T63" fmla="*/ 1138 h 1243"/>
              <a:gd name="T64" fmla="*/ 152 w 2585"/>
              <a:gd name="T65" fmla="*/ 1087 h 1243"/>
              <a:gd name="T66" fmla="*/ 144 w 2585"/>
              <a:gd name="T67" fmla="*/ 1016 h 1243"/>
              <a:gd name="T68" fmla="*/ 135 w 2585"/>
              <a:gd name="T69" fmla="*/ 964 h 1243"/>
              <a:gd name="T70" fmla="*/ 124 w 2585"/>
              <a:gd name="T71" fmla="*/ 934 h 1243"/>
              <a:gd name="T72" fmla="*/ 109 w 2585"/>
              <a:gd name="T73" fmla="*/ 906 h 1243"/>
              <a:gd name="T74" fmla="*/ 88 w 2585"/>
              <a:gd name="T75" fmla="*/ 885 h 1243"/>
              <a:gd name="T76" fmla="*/ 59 w 2585"/>
              <a:gd name="T77" fmla="*/ 869 h 1243"/>
              <a:gd name="T78" fmla="*/ 22 w 2585"/>
              <a:gd name="T79" fmla="*/ 861 h 1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85" h="1243">
                <a:moveTo>
                  <a:pt x="0" y="860"/>
                </a:moveTo>
                <a:lnTo>
                  <a:pt x="52" y="809"/>
                </a:lnTo>
                <a:lnTo>
                  <a:pt x="108" y="758"/>
                </a:lnTo>
                <a:lnTo>
                  <a:pt x="167" y="708"/>
                </a:lnTo>
                <a:lnTo>
                  <a:pt x="227" y="658"/>
                </a:lnTo>
                <a:lnTo>
                  <a:pt x="290" y="610"/>
                </a:lnTo>
                <a:lnTo>
                  <a:pt x="355" y="562"/>
                </a:lnTo>
                <a:lnTo>
                  <a:pt x="423" y="516"/>
                </a:lnTo>
                <a:lnTo>
                  <a:pt x="493" y="470"/>
                </a:lnTo>
                <a:lnTo>
                  <a:pt x="565" y="427"/>
                </a:lnTo>
                <a:lnTo>
                  <a:pt x="638" y="385"/>
                </a:lnTo>
                <a:lnTo>
                  <a:pt x="713" y="345"/>
                </a:lnTo>
                <a:lnTo>
                  <a:pt x="792" y="306"/>
                </a:lnTo>
                <a:lnTo>
                  <a:pt x="870" y="268"/>
                </a:lnTo>
                <a:lnTo>
                  <a:pt x="951" y="233"/>
                </a:lnTo>
                <a:lnTo>
                  <a:pt x="1034" y="200"/>
                </a:lnTo>
                <a:lnTo>
                  <a:pt x="1117" y="169"/>
                </a:lnTo>
                <a:lnTo>
                  <a:pt x="1203" y="141"/>
                </a:lnTo>
                <a:lnTo>
                  <a:pt x="1289" y="114"/>
                </a:lnTo>
                <a:lnTo>
                  <a:pt x="1377" y="90"/>
                </a:lnTo>
                <a:lnTo>
                  <a:pt x="1465" y="68"/>
                </a:lnTo>
                <a:lnTo>
                  <a:pt x="1555" y="50"/>
                </a:lnTo>
                <a:lnTo>
                  <a:pt x="1646" y="34"/>
                </a:lnTo>
                <a:lnTo>
                  <a:pt x="1737" y="21"/>
                </a:lnTo>
                <a:lnTo>
                  <a:pt x="1829" y="11"/>
                </a:lnTo>
                <a:lnTo>
                  <a:pt x="1923" y="4"/>
                </a:lnTo>
                <a:lnTo>
                  <a:pt x="2015" y="0"/>
                </a:lnTo>
                <a:lnTo>
                  <a:pt x="2110" y="0"/>
                </a:lnTo>
                <a:lnTo>
                  <a:pt x="2204" y="3"/>
                </a:lnTo>
                <a:lnTo>
                  <a:pt x="2299" y="10"/>
                </a:lnTo>
                <a:lnTo>
                  <a:pt x="2394" y="20"/>
                </a:lnTo>
                <a:lnTo>
                  <a:pt x="2489" y="34"/>
                </a:lnTo>
                <a:lnTo>
                  <a:pt x="2585" y="52"/>
                </a:lnTo>
                <a:lnTo>
                  <a:pt x="2531" y="74"/>
                </a:lnTo>
                <a:lnTo>
                  <a:pt x="2475" y="97"/>
                </a:lnTo>
                <a:lnTo>
                  <a:pt x="2414" y="124"/>
                </a:lnTo>
                <a:lnTo>
                  <a:pt x="2351" y="152"/>
                </a:lnTo>
                <a:lnTo>
                  <a:pt x="2285" y="183"/>
                </a:lnTo>
                <a:lnTo>
                  <a:pt x="2216" y="216"/>
                </a:lnTo>
                <a:lnTo>
                  <a:pt x="2145" y="250"/>
                </a:lnTo>
                <a:lnTo>
                  <a:pt x="2072" y="286"/>
                </a:lnTo>
                <a:lnTo>
                  <a:pt x="1921" y="362"/>
                </a:lnTo>
                <a:lnTo>
                  <a:pt x="1764" y="444"/>
                </a:lnTo>
                <a:lnTo>
                  <a:pt x="1603" y="528"/>
                </a:lnTo>
                <a:lnTo>
                  <a:pt x="1441" y="616"/>
                </a:lnTo>
                <a:lnTo>
                  <a:pt x="1278" y="703"/>
                </a:lnTo>
                <a:lnTo>
                  <a:pt x="1117" y="791"/>
                </a:lnTo>
                <a:lnTo>
                  <a:pt x="961" y="878"/>
                </a:lnTo>
                <a:lnTo>
                  <a:pt x="809" y="961"/>
                </a:lnTo>
                <a:lnTo>
                  <a:pt x="665" y="1040"/>
                </a:lnTo>
                <a:lnTo>
                  <a:pt x="530" y="1115"/>
                </a:lnTo>
                <a:lnTo>
                  <a:pt x="406" y="1183"/>
                </a:lnTo>
                <a:lnTo>
                  <a:pt x="296" y="1243"/>
                </a:lnTo>
                <a:lnTo>
                  <a:pt x="274" y="1242"/>
                </a:lnTo>
                <a:lnTo>
                  <a:pt x="254" y="1238"/>
                </a:lnTo>
                <a:lnTo>
                  <a:pt x="237" y="1233"/>
                </a:lnTo>
                <a:lnTo>
                  <a:pt x="221" y="1226"/>
                </a:lnTo>
                <a:lnTo>
                  <a:pt x="208" y="1218"/>
                </a:lnTo>
                <a:lnTo>
                  <a:pt x="196" y="1207"/>
                </a:lnTo>
                <a:lnTo>
                  <a:pt x="186" y="1195"/>
                </a:lnTo>
                <a:lnTo>
                  <a:pt x="178" y="1183"/>
                </a:lnTo>
                <a:lnTo>
                  <a:pt x="172" y="1168"/>
                </a:lnTo>
                <a:lnTo>
                  <a:pt x="165" y="1154"/>
                </a:lnTo>
                <a:lnTo>
                  <a:pt x="161" y="1138"/>
                </a:lnTo>
                <a:lnTo>
                  <a:pt x="157" y="1122"/>
                </a:lnTo>
                <a:lnTo>
                  <a:pt x="152" y="1087"/>
                </a:lnTo>
                <a:lnTo>
                  <a:pt x="148" y="1051"/>
                </a:lnTo>
                <a:lnTo>
                  <a:pt x="144" y="1016"/>
                </a:lnTo>
                <a:lnTo>
                  <a:pt x="138" y="981"/>
                </a:lnTo>
                <a:lnTo>
                  <a:pt x="135" y="964"/>
                </a:lnTo>
                <a:lnTo>
                  <a:pt x="129" y="949"/>
                </a:lnTo>
                <a:lnTo>
                  <a:pt x="124" y="934"/>
                </a:lnTo>
                <a:lnTo>
                  <a:pt x="117" y="920"/>
                </a:lnTo>
                <a:lnTo>
                  <a:pt x="109" y="906"/>
                </a:lnTo>
                <a:lnTo>
                  <a:pt x="100" y="895"/>
                </a:lnTo>
                <a:lnTo>
                  <a:pt x="88" y="885"/>
                </a:lnTo>
                <a:lnTo>
                  <a:pt x="75" y="877"/>
                </a:lnTo>
                <a:lnTo>
                  <a:pt x="59" y="869"/>
                </a:lnTo>
                <a:lnTo>
                  <a:pt x="42" y="864"/>
                </a:lnTo>
                <a:lnTo>
                  <a:pt x="22" y="861"/>
                </a:lnTo>
                <a:lnTo>
                  <a:pt x="0" y="8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100" name="Freeform 76"/>
          <p:cNvSpPr>
            <a:spLocks noChangeArrowheads="1"/>
          </p:cNvSpPr>
          <p:nvPr/>
        </p:nvSpPr>
        <p:spPr bwMode="auto">
          <a:xfrm>
            <a:off x="2178050" y="773113"/>
            <a:ext cx="1627188" cy="1223962"/>
          </a:xfrm>
          <a:custGeom>
            <a:avLst/>
            <a:gdLst>
              <a:gd name="T0" fmla="*/ 57 w 3604"/>
              <a:gd name="T1" fmla="*/ 2029 h 2212"/>
              <a:gd name="T2" fmla="*/ 218 w 3604"/>
              <a:gd name="T3" fmla="*/ 1859 h 2212"/>
              <a:gd name="T4" fmla="*/ 407 w 3604"/>
              <a:gd name="T5" fmla="*/ 1682 h 2212"/>
              <a:gd name="T6" fmla="*/ 619 w 3604"/>
              <a:gd name="T7" fmla="*/ 1502 h 2212"/>
              <a:gd name="T8" fmla="*/ 868 w 3604"/>
              <a:gd name="T9" fmla="*/ 1311 h 2212"/>
              <a:gd name="T10" fmla="*/ 1191 w 3604"/>
              <a:gd name="T11" fmla="*/ 1085 h 2212"/>
              <a:gd name="T12" fmla="*/ 1534 w 3604"/>
              <a:gd name="T13" fmla="*/ 865 h 2212"/>
              <a:gd name="T14" fmla="*/ 1890 w 3604"/>
              <a:gd name="T15" fmla="*/ 658 h 2212"/>
              <a:gd name="T16" fmla="*/ 2250 w 3604"/>
              <a:gd name="T17" fmla="*/ 469 h 2212"/>
              <a:gd name="T18" fmla="*/ 2606 w 3604"/>
              <a:gd name="T19" fmla="*/ 302 h 2212"/>
              <a:gd name="T20" fmla="*/ 2950 w 3604"/>
              <a:gd name="T21" fmla="*/ 163 h 2212"/>
              <a:gd name="T22" fmla="*/ 3276 w 3604"/>
              <a:gd name="T23" fmla="*/ 57 h 2212"/>
              <a:gd name="T24" fmla="*/ 3511 w 3604"/>
              <a:gd name="T25" fmla="*/ 0 h 2212"/>
              <a:gd name="T26" fmla="*/ 3544 w 3604"/>
              <a:gd name="T27" fmla="*/ 4 h 2212"/>
              <a:gd name="T28" fmla="*/ 3572 w 3604"/>
              <a:gd name="T29" fmla="*/ 20 h 2212"/>
              <a:gd name="T30" fmla="*/ 3594 w 3604"/>
              <a:gd name="T31" fmla="*/ 46 h 2212"/>
              <a:gd name="T32" fmla="*/ 3603 w 3604"/>
              <a:gd name="T33" fmla="*/ 77 h 2212"/>
              <a:gd name="T34" fmla="*/ 3601 w 3604"/>
              <a:gd name="T35" fmla="*/ 110 h 2212"/>
              <a:gd name="T36" fmla="*/ 3578 w 3604"/>
              <a:gd name="T37" fmla="*/ 149 h 2212"/>
              <a:gd name="T38" fmla="*/ 3559 w 3604"/>
              <a:gd name="T39" fmla="*/ 162 h 2212"/>
              <a:gd name="T40" fmla="*/ 3343 w 3604"/>
              <a:gd name="T41" fmla="*/ 310 h 2212"/>
              <a:gd name="T42" fmla="*/ 3127 w 3604"/>
              <a:gd name="T43" fmla="*/ 468 h 2212"/>
              <a:gd name="T44" fmla="*/ 2700 w 3604"/>
              <a:gd name="T45" fmla="*/ 818 h 2212"/>
              <a:gd name="T46" fmla="*/ 2279 w 3604"/>
              <a:gd name="T47" fmla="*/ 1190 h 2212"/>
              <a:gd name="T48" fmla="*/ 1869 w 3604"/>
              <a:gd name="T49" fmla="*/ 1567 h 2212"/>
              <a:gd name="T50" fmla="*/ 1811 w 3604"/>
              <a:gd name="T51" fmla="*/ 1613 h 2212"/>
              <a:gd name="T52" fmla="*/ 1697 w 3604"/>
              <a:gd name="T53" fmla="*/ 1648 h 2212"/>
              <a:gd name="T54" fmla="*/ 1507 w 3604"/>
              <a:gd name="T55" fmla="*/ 1712 h 2212"/>
              <a:gd name="T56" fmla="*/ 1278 w 3604"/>
              <a:gd name="T57" fmla="*/ 1795 h 2212"/>
              <a:gd name="T58" fmla="*/ 1024 w 3604"/>
              <a:gd name="T59" fmla="*/ 1887 h 2212"/>
              <a:gd name="T60" fmla="*/ 764 w 3604"/>
              <a:gd name="T61" fmla="*/ 1982 h 2212"/>
              <a:gd name="T62" fmla="*/ 516 w 3604"/>
              <a:gd name="T63" fmla="*/ 2071 h 2212"/>
              <a:gd name="T64" fmla="*/ 301 w 3604"/>
              <a:gd name="T65" fmla="*/ 2146 h 2212"/>
              <a:gd name="T66" fmla="*/ 139 w 3604"/>
              <a:gd name="T67" fmla="*/ 2200 h 2212"/>
              <a:gd name="T68" fmla="*/ 84 w 3604"/>
              <a:gd name="T69" fmla="*/ 2212 h 2212"/>
              <a:gd name="T70" fmla="*/ 52 w 3604"/>
              <a:gd name="T71" fmla="*/ 2205 h 2212"/>
              <a:gd name="T72" fmla="*/ 25 w 3604"/>
              <a:gd name="T73" fmla="*/ 2187 h 2212"/>
              <a:gd name="T74" fmla="*/ 7 w 3604"/>
              <a:gd name="T75" fmla="*/ 2159 h 2212"/>
              <a:gd name="T76" fmla="*/ 0 w 3604"/>
              <a:gd name="T77" fmla="*/ 2119 h 2212"/>
              <a:gd name="T78" fmla="*/ 14 w 3604"/>
              <a:gd name="T79" fmla="*/ 2081 h 2212"/>
              <a:gd name="T80" fmla="*/ 448 w 3604"/>
              <a:gd name="T81" fmla="*/ 1874 h 2212"/>
              <a:gd name="T82" fmla="*/ 439 w 3604"/>
              <a:gd name="T83" fmla="*/ 1918 h 2212"/>
              <a:gd name="T84" fmla="*/ 697 w 3604"/>
              <a:gd name="T85" fmla="*/ 1825 h 2212"/>
              <a:gd name="T86" fmla="*/ 964 w 3604"/>
              <a:gd name="T87" fmla="*/ 1727 h 2212"/>
              <a:gd name="T88" fmla="*/ 1213 w 3604"/>
              <a:gd name="T89" fmla="*/ 1636 h 2212"/>
              <a:gd name="T90" fmla="*/ 1440 w 3604"/>
              <a:gd name="T91" fmla="*/ 1555 h 2212"/>
              <a:gd name="T92" fmla="*/ 1630 w 3604"/>
              <a:gd name="T93" fmla="*/ 1490 h 2212"/>
              <a:gd name="T94" fmla="*/ 1753 w 3604"/>
              <a:gd name="T95" fmla="*/ 1440 h 2212"/>
              <a:gd name="T96" fmla="*/ 2071 w 3604"/>
              <a:gd name="T97" fmla="*/ 1149 h 2212"/>
              <a:gd name="T98" fmla="*/ 2394 w 3604"/>
              <a:gd name="T99" fmla="*/ 856 h 2212"/>
              <a:gd name="T100" fmla="*/ 2725 w 3604"/>
              <a:gd name="T101" fmla="*/ 572 h 2212"/>
              <a:gd name="T102" fmla="*/ 3059 w 3604"/>
              <a:gd name="T103" fmla="*/ 306 h 2212"/>
              <a:gd name="T104" fmla="*/ 2793 w 3604"/>
              <a:gd name="T105" fmla="*/ 408 h 2212"/>
              <a:gd name="T106" fmla="*/ 2518 w 3604"/>
              <a:gd name="T107" fmla="*/ 529 h 2212"/>
              <a:gd name="T108" fmla="*/ 2238 w 3604"/>
              <a:gd name="T109" fmla="*/ 666 h 2212"/>
              <a:gd name="T110" fmla="*/ 1955 w 3604"/>
              <a:gd name="T111" fmla="*/ 818 h 2212"/>
              <a:gd name="T112" fmla="*/ 1676 w 3604"/>
              <a:gd name="T113" fmla="*/ 980 h 2212"/>
              <a:gd name="T114" fmla="*/ 1403 w 3604"/>
              <a:gd name="T115" fmla="*/ 1150 h 2212"/>
              <a:gd name="T116" fmla="*/ 1142 w 3604"/>
              <a:gd name="T117" fmla="*/ 1326 h 2212"/>
              <a:gd name="T118" fmla="*/ 893 w 3604"/>
              <a:gd name="T119" fmla="*/ 1505 h 2212"/>
              <a:gd name="T120" fmla="*/ 671 w 3604"/>
              <a:gd name="T121" fmla="*/ 1681 h 2212"/>
              <a:gd name="T122" fmla="*/ 472 w 3604"/>
              <a:gd name="T123" fmla="*/ 1853 h 2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04" h="2212">
                <a:moveTo>
                  <a:pt x="20" y="2072"/>
                </a:moveTo>
                <a:lnTo>
                  <a:pt x="21" y="2070"/>
                </a:lnTo>
                <a:lnTo>
                  <a:pt x="22" y="2070"/>
                </a:lnTo>
                <a:lnTo>
                  <a:pt x="57" y="2029"/>
                </a:lnTo>
                <a:lnTo>
                  <a:pt x="94" y="1987"/>
                </a:lnTo>
                <a:lnTo>
                  <a:pt x="133" y="1944"/>
                </a:lnTo>
                <a:lnTo>
                  <a:pt x="174" y="1901"/>
                </a:lnTo>
                <a:lnTo>
                  <a:pt x="218" y="1859"/>
                </a:lnTo>
                <a:lnTo>
                  <a:pt x="262" y="1815"/>
                </a:lnTo>
                <a:lnTo>
                  <a:pt x="309" y="1770"/>
                </a:lnTo>
                <a:lnTo>
                  <a:pt x="358" y="1726"/>
                </a:lnTo>
                <a:lnTo>
                  <a:pt x="407" y="1682"/>
                </a:lnTo>
                <a:lnTo>
                  <a:pt x="459" y="1636"/>
                </a:lnTo>
                <a:lnTo>
                  <a:pt x="511" y="1592"/>
                </a:lnTo>
                <a:lnTo>
                  <a:pt x="565" y="1548"/>
                </a:lnTo>
                <a:lnTo>
                  <a:pt x="619" y="1502"/>
                </a:lnTo>
                <a:lnTo>
                  <a:pt x="676" y="1458"/>
                </a:lnTo>
                <a:lnTo>
                  <a:pt x="733" y="1414"/>
                </a:lnTo>
                <a:lnTo>
                  <a:pt x="791" y="1369"/>
                </a:lnTo>
                <a:lnTo>
                  <a:pt x="868" y="1311"/>
                </a:lnTo>
                <a:lnTo>
                  <a:pt x="946" y="1255"/>
                </a:lnTo>
                <a:lnTo>
                  <a:pt x="1026" y="1197"/>
                </a:lnTo>
                <a:lnTo>
                  <a:pt x="1108" y="1140"/>
                </a:lnTo>
                <a:lnTo>
                  <a:pt x="1191" y="1085"/>
                </a:lnTo>
                <a:lnTo>
                  <a:pt x="1276" y="1029"/>
                </a:lnTo>
                <a:lnTo>
                  <a:pt x="1361" y="973"/>
                </a:lnTo>
                <a:lnTo>
                  <a:pt x="1448" y="919"/>
                </a:lnTo>
                <a:lnTo>
                  <a:pt x="1534" y="865"/>
                </a:lnTo>
                <a:lnTo>
                  <a:pt x="1623" y="812"/>
                </a:lnTo>
                <a:lnTo>
                  <a:pt x="1711" y="760"/>
                </a:lnTo>
                <a:lnTo>
                  <a:pt x="1801" y="708"/>
                </a:lnTo>
                <a:lnTo>
                  <a:pt x="1890" y="658"/>
                </a:lnTo>
                <a:lnTo>
                  <a:pt x="1980" y="608"/>
                </a:lnTo>
                <a:lnTo>
                  <a:pt x="2070" y="561"/>
                </a:lnTo>
                <a:lnTo>
                  <a:pt x="2160" y="515"/>
                </a:lnTo>
                <a:lnTo>
                  <a:pt x="2250" y="469"/>
                </a:lnTo>
                <a:lnTo>
                  <a:pt x="2339" y="425"/>
                </a:lnTo>
                <a:lnTo>
                  <a:pt x="2429" y="383"/>
                </a:lnTo>
                <a:lnTo>
                  <a:pt x="2518" y="341"/>
                </a:lnTo>
                <a:lnTo>
                  <a:pt x="2606" y="302"/>
                </a:lnTo>
                <a:lnTo>
                  <a:pt x="2693" y="265"/>
                </a:lnTo>
                <a:lnTo>
                  <a:pt x="2780" y="229"/>
                </a:lnTo>
                <a:lnTo>
                  <a:pt x="2866" y="195"/>
                </a:lnTo>
                <a:lnTo>
                  <a:pt x="2950" y="163"/>
                </a:lnTo>
                <a:lnTo>
                  <a:pt x="3034" y="133"/>
                </a:lnTo>
                <a:lnTo>
                  <a:pt x="3116" y="105"/>
                </a:lnTo>
                <a:lnTo>
                  <a:pt x="3196" y="81"/>
                </a:lnTo>
                <a:lnTo>
                  <a:pt x="3276" y="57"/>
                </a:lnTo>
                <a:lnTo>
                  <a:pt x="3353" y="36"/>
                </a:lnTo>
                <a:lnTo>
                  <a:pt x="3428" y="18"/>
                </a:lnTo>
                <a:lnTo>
                  <a:pt x="3502" y="2"/>
                </a:lnTo>
                <a:lnTo>
                  <a:pt x="3511" y="0"/>
                </a:lnTo>
                <a:lnTo>
                  <a:pt x="3519" y="0"/>
                </a:lnTo>
                <a:lnTo>
                  <a:pt x="3528" y="0"/>
                </a:lnTo>
                <a:lnTo>
                  <a:pt x="3536" y="2"/>
                </a:lnTo>
                <a:lnTo>
                  <a:pt x="3544" y="4"/>
                </a:lnTo>
                <a:lnTo>
                  <a:pt x="3552" y="7"/>
                </a:lnTo>
                <a:lnTo>
                  <a:pt x="3559" y="11"/>
                </a:lnTo>
                <a:lnTo>
                  <a:pt x="3566" y="15"/>
                </a:lnTo>
                <a:lnTo>
                  <a:pt x="3572" y="20"/>
                </a:lnTo>
                <a:lnTo>
                  <a:pt x="3579" y="25"/>
                </a:lnTo>
                <a:lnTo>
                  <a:pt x="3585" y="31"/>
                </a:lnTo>
                <a:lnTo>
                  <a:pt x="3590" y="38"/>
                </a:lnTo>
                <a:lnTo>
                  <a:pt x="3594" y="46"/>
                </a:lnTo>
                <a:lnTo>
                  <a:pt x="3598" y="53"/>
                </a:lnTo>
                <a:lnTo>
                  <a:pt x="3600" y="61"/>
                </a:lnTo>
                <a:lnTo>
                  <a:pt x="3603" y="69"/>
                </a:lnTo>
                <a:lnTo>
                  <a:pt x="3603" y="77"/>
                </a:lnTo>
                <a:lnTo>
                  <a:pt x="3604" y="83"/>
                </a:lnTo>
                <a:lnTo>
                  <a:pt x="3604" y="90"/>
                </a:lnTo>
                <a:lnTo>
                  <a:pt x="3603" y="97"/>
                </a:lnTo>
                <a:lnTo>
                  <a:pt x="3601" y="110"/>
                </a:lnTo>
                <a:lnTo>
                  <a:pt x="3596" y="122"/>
                </a:lnTo>
                <a:lnTo>
                  <a:pt x="3590" y="134"/>
                </a:lnTo>
                <a:lnTo>
                  <a:pt x="3582" y="145"/>
                </a:lnTo>
                <a:lnTo>
                  <a:pt x="3578" y="149"/>
                </a:lnTo>
                <a:lnTo>
                  <a:pt x="3572" y="154"/>
                </a:lnTo>
                <a:lnTo>
                  <a:pt x="3567" y="157"/>
                </a:lnTo>
                <a:lnTo>
                  <a:pt x="3561" y="161"/>
                </a:lnTo>
                <a:lnTo>
                  <a:pt x="3559" y="162"/>
                </a:lnTo>
                <a:lnTo>
                  <a:pt x="3504" y="198"/>
                </a:lnTo>
                <a:lnTo>
                  <a:pt x="3451" y="234"/>
                </a:lnTo>
                <a:lnTo>
                  <a:pt x="3397" y="271"/>
                </a:lnTo>
                <a:lnTo>
                  <a:pt x="3343" y="310"/>
                </a:lnTo>
                <a:lnTo>
                  <a:pt x="3289" y="348"/>
                </a:lnTo>
                <a:lnTo>
                  <a:pt x="3236" y="388"/>
                </a:lnTo>
                <a:lnTo>
                  <a:pt x="3182" y="428"/>
                </a:lnTo>
                <a:lnTo>
                  <a:pt x="3127" y="468"/>
                </a:lnTo>
                <a:lnTo>
                  <a:pt x="3020" y="553"/>
                </a:lnTo>
                <a:lnTo>
                  <a:pt x="2913" y="638"/>
                </a:lnTo>
                <a:lnTo>
                  <a:pt x="2806" y="727"/>
                </a:lnTo>
                <a:lnTo>
                  <a:pt x="2700" y="818"/>
                </a:lnTo>
                <a:lnTo>
                  <a:pt x="2594" y="909"/>
                </a:lnTo>
                <a:lnTo>
                  <a:pt x="2488" y="1002"/>
                </a:lnTo>
                <a:lnTo>
                  <a:pt x="2383" y="1096"/>
                </a:lnTo>
                <a:lnTo>
                  <a:pt x="2279" y="1190"/>
                </a:lnTo>
                <a:lnTo>
                  <a:pt x="2175" y="1285"/>
                </a:lnTo>
                <a:lnTo>
                  <a:pt x="2073" y="1379"/>
                </a:lnTo>
                <a:lnTo>
                  <a:pt x="1970" y="1473"/>
                </a:lnTo>
                <a:lnTo>
                  <a:pt x="1869" y="1567"/>
                </a:lnTo>
                <a:lnTo>
                  <a:pt x="1839" y="1594"/>
                </a:lnTo>
                <a:lnTo>
                  <a:pt x="1830" y="1602"/>
                </a:lnTo>
                <a:lnTo>
                  <a:pt x="1820" y="1607"/>
                </a:lnTo>
                <a:lnTo>
                  <a:pt x="1811" y="1613"/>
                </a:lnTo>
                <a:lnTo>
                  <a:pt x="1801" y="1616"/>
                </a:lnTo>
                <a:lnTo>
                  <a:pt x="1770" y="1624"/>
                </a:lnTo>
                <a:lnTo>
                  <a:pt x="1735" y="1635"/>
                </a:lnTo>
                <a:lnTo>
                  <a:pt x="1697" y="1648"/>
                </a:lnTo>
                <a:lnTo>
                  <a:pt x="1654" y="1662"/>
                </a:lnTo>
                <a:lnTo>
                  <a:pt x="1608" y="1677"/>
                </a:lnTo>
                <a:lnTo>
                  <a:pt x="1559" y="1695"/>
                </a:lnTo>
                <a:lnTo>
                  <a:pt x="1507" y="1712"/>
                </a:lnTo>
                <a:lnTo>
                  <a:pt x="1453" y="1732"/>
                </a:lnTo>
                <a:lnTo>
                  <a:pt x="1396" y="1753"/>
                </a:lnTo>
                <a:lnTo>
                  <a:pt x="1337" y="1773"/>
                </a:lnTo>
                <a:lnTo>
                  <a:pt x="1278" y="1795"/>
                </a:lnTo>
                <a:lnTo>
                  <a:pt x="1216" y="1818"/>
                </a:lnTo>
                <a:lnTo>
                  <a:pt x="1152" y="1840"/>
                </a:lnTo>
                <a:lnTo>
                  <a:pt x="1089" y="1863"/>
                </a:lnTo>
                <a:lnTo>
                  <a:pt x="1024" y="1887"/>
                </a:lnTo>
                <a:lnTo>
                  <a:pt x="959" y="1910"/>
                </a:lnTo>
                <a:lnTo>
                  <a:pt x="894" y="1934"/>
                </a:lnTo>
                <a:lnTo>
                  <a:pt x="828" y="1958"/>
                </a:lnTo>
                <a:lnTo>
                  <a:pt x="764" y="1982"/>
                </a:lnTo>
                <a:lnTo>
                  <a:pt x="700" y="2005"/>
                </a:lnTo>
                <a:lnTo>
                  <a:pt x="637" y="2028"/>
                </a:lnTo>
                <a:lnTo>
                  <a:pt x="575" y="2050"/>
                </a:lnTo>
                <a:lnTo>
                  <a:pt x="516" y="2071"/>
                </a:lnTo>
                <a:lnTo>
                  <a:pt x="459" y="2092"/>
                </a:lnTo>
                <a:lnTo>
                  <a:pt x="403" y="2111"/>
                </a:lnTo>
                <a:lnTo>
                  <a:pt x="351" y="2130"/>
                </a:lnTo>
                <a:lnTo>
                  <a:pt x="301" y="2146"/>
                </a:lnTo>
                <a:lnTo>
                  <a:pt x="256" y="2162"/>
                </a:lnTo>
                <a:lnTo>
                  <a:pt x="213" y="2176"/>
                </a:lnTo>
                <a:lnTo>
                  <a:pt x="174" y="2190"/>
                </a:lnTo>
                <a:lnTo>
                  <a:pt x="139" y="2200"/>
                </a:lnTo>
                <a:lnTo>
                  <a:pt x="110" y="2209"/>
                </a:lnTo>
                <a:lnTo>
                  <a:pt x="100" y="2211"/>
                </a:lnTo>
                <a:lnTo>
                  <a:pt x="92" y="2212"/>
                </a:lnTo>
                <a:lnTo>
                  <a:pt x="84" y="2212"/>
                </a:lnTo>
                <a:lnTo>
                  <a:pt x="76" y="2211"/>
                </a:lnTo>
                <a:lnTo>
                  <a:pt x="67" y="2210"/>
                </a:lnTo>
                <a:lnTo>
                  <a:pt x="59" y="2208"/>
                </a:lnTo>
                <a:lnTo>
                  <a:pt x="52" y="2205"/>
                </a:lnTo>
                <a:lnTo>
                  <a:pt x="45" y="2201"/>
                </a:lnTo>
                <a:lnTo>
                  <a:pt x="37" y="2197"/>
                </a:lnTo>
                <a:lnTo>
                  <a:pt x="30" y="2192"/>
                </a:lnTo>
                <a:lnTo>
                  <a:pt x="25" y="2187"/>
                </a:lnTo>
                <a:lnTo>
                  <a:pt x="19" y="2181"/>
                </a:lnTo>
                <a:lnTo>
                  <a:pt x="14" y="2173"/>
                </a:lnTo>
                <a:lnTo>
                  <a:pt x="10" y="2166"/>
                </a:lnTo>
                <a:lnTo>
                  <a:pt x="7" y="2159"/>
                </a:lnTo>
                <a:lnTo>
                  <a:pt x="3" y="2150"/>
                </a:lnTo>
                <a:lnTo>
                  <a:pt x="1" y="2139"/>
                </a:lnTo>
                <a:lnTo>
                  <a:pt x="0" y="2129"/>
                </a:lnTo>
                <a:lnTo>
                  <a:pt x="0" y="2119"/>
                </a:lnTo>
                <a:lnTo>
                  <a:pt x="2" y="2108"/>
                </a:lnTo>
                <a:lnTo>
                  <a:pt x="6" y="2099"/>
                </a:lnTo>
                <a:lnTo>
                  <a:pt x="9" y="2090"/>
                </a:lnTo>
                <a:lnTo>
                  <a:pt x="14" y="2081"/>
                </a:lnTo>
                <a:lnTo>
                  <a:pt x="20" y="2072"/>
                </a:lnTo>
                <a:close/>
                <a:moveTo>
                  <a:pt x="472" y="1853"/>
                </a:moveTo>
                <a:lnTo>
                  <a:pt x="448" y="1874"/>
                </a:lnTo>
                <a:lnTo>
                  <a:pt x="425" y="1896"/>
                </a:lnTo>
                <a:lnTo>
                  <a:pt x="402" y="1917"/>
                </a:lnTo>
                <a:lnTo>
                  <a:pt x="380" y="1938"/>
                </a:lnTo>
                <a:lnTo>
                  <a:pt x="439" y="1918"/>
                </a:lnTo>
                <a:lnTo>
                  <a:pt x="501" y="1895"/>
                </a:lnTo>
                <a:lnTo>
                  <a:pt x="564" y="1872"/>
                </a:lnTo>
                <a:lnTo>
                  <a:pt x="630" y="1849"/>
                </a:lnTo>
                <a:lnTo>
                  <a:pt x="697" y="1825"/>
                </a:lnTo>
                <a:lnTo>
                  <a:pt x="764" y="1800"/>
                </a:lnTo>
                <a:lnTo>
                  <a:pt x="833" y="1774"/>
                </a:lnTo>
                <a:lnTo>
                  <a:pt x="902" y="1750"/>
                </a:lnTo>
                <a:lnTo>
                  <a:pt x="964" y="1727"/>
                </a:lnTo>
                <a:lnTo>
                  <a:pt x="1028" y="1703"/>
                </a:lnTo>
                <a:lnTo>
                  <a:pt x="1090" y="1681"/>
                </a:lnTo>
                <a:lnTo>
                  <a:pt x="1152" y="1658"/>
                </a:lnTo>
                <a:lnTo>
                  <a:pt x="1213" y="1636"/>
                </a:lnTo>
                <a:lnTo>
                  <a:pt x="1272" y="1615"/>
                </a:lnTo>
                <a:lnTo>
                  <a:pt x="1330" y="1594"/>
                </a:lnTo>
                <a:lnTo>
                  <a:pt x="1387" y="1574"/>
                </a:lnTo>
                <a:lnTo>
                  <a:pt x="1440" y="1555"/>
                </a:lnTo>
                <a:lnTo>
                  <a:pt x="1492" y="1537"/>
                </a:lnTo>
                <a:lnTo>
                  <a:pt x="1541" y="1520"/>
                </a:lnTo>
                <a:lnTo>
                  <a:pt x="1588" y="1504"/>
                </a:lnTo>
                <a:lnTo>
                  <a:pt x="1630" y="1490"/>
                </a:lnTo>
                <a:lnTo>
                  <a:pt x="1670" y="1476"/>
                </a:lnTo>
                <a:lnTo>
                  <a:pt x="1706" y="1465"/>
                </a:lnTo>
                <a:lnTo>
                  <a:pt x="1738" y="1455"/>
                </a:lnTo>
                <a:lnTo>
                  <a:pt x="1753" y="1440"/>
                </a:lnTo>
                <a:lnTo>
                  <a:pt x="1832" y="1368"/>
                </a:lnTo>
                <a:lnTo>
                  <a:pt x="1911" y="1295"/>
                </a:lnTo>
                <a:lnTo>
                  <a:pt x="1990" y="1222"/>
                </a:lnTo>
                <a:lnTo>
                  <a:pt x="2071" y="1149"/>
                </a:lnTo>
                <a:lnTo>
                  <a:pt x="2151" y="1075"/>
                </a:lnTo>
                <a:lnTo>
                  <a:pt x="2231" y="1002"/>
                </a:lnTo>
                <a:lnTo>
                  <a:pt x="2313" y="929"/>
                </a:lnTo>
                <a:lnTo>
                  <a:pt x="2394" y="856"/>
                </a:lnTo>
                <a:lnTo>
                  <a:pt x="2476" y="785"/>
                </a:lnTo>
                <a:lnTo>
                  <a:pt x="2559" y="713"/>
                </a:lnTo>
                <a:lnTo>
                  <a:pt x="2641" y="642"/>
                </a:lnTo>
                <a:lnTo>
                  <a:pt x="2725" y="572"/>
                </a:lnTo>
                <a:lnTo>
                  <a:pt x="2808" y="504"/>
                </a:lnTo>
                <a:lnTo>
                  <a:pt x="2892" y="436"/>
                </a:lnTo>
                <a:lnTo>
                  <a:pt x="2975" y="370"/>
                </a:lnTo>
                <a:lnTo>
                  <a:pt x="3059" y="306"/>
                </a:lnTo>
                <a:lnTo>
                  <a:pt x="2994" y="330"/>
                </a:lnTo>
                <a:lnTo>
                  <a:pt x="2928" y="355"/>
                </a:lnTo>
                <a:lnTo>
                  <a:pt x="2861" y="381"/>
                </a:lnTo>
                <a:lnTo>
                  <a:pt x="2793" y="408"/>
                </a:lnTo>
                <a:lnTo>
                  <a:pt x="2725" y="437"/>
                </a:lnTo>
                <a:lnTo>
                  <a:pt x="2657" y="466"/>
                </a:lnTo>
                <a:lnTo>
                  <a:pt x="2588" y="497"/>
                </a:lnTo>
                <a:lnTo>
                  <a:pt x="2518" y="529"/>
                </a:lnTo>
                <a:lnTo>
                  <a:pt x="2449" y="562"/>
                </a:lnTo>
                <a:lnTo>
                  <a:pt x="2379" y="596"/>
                </a:lnTo>
                <a:lnTo>
                  <a:pt x="2308" y="631"/>
                </a:lnTo>
                <a:lnTo>
                  <a:pt x="2238" y="666"/>
                </a:lnTo>
                <a:lnTo>
                  <a:pt x="2166" y="703"/>
                </a:lnTo>
                <a:lnTo>
                  <a:pt x="2096" y="740"/>
                </a:lnTo>
                <a:lnTo>
                  <a:pt x="2026" y="779"/>
                </a:lnTo>
                <a:lnTo>
                  <a:pt x="1955" y="818"/>
                </a:lnTo>
                <a:lnTo>
                  <a:pt x="1885" y="857"/>
                </a:lnTo>
                <a:lnTo>
                  <a:pt x="1815" y="897"/>
                </a:lnTo>
                <a:lnTo>
                  <a:pt x="1745" y="938"/>
                </a:lnTo>
                <a:lnTo>
                  <a:pt x="1676" y="980"/>
                </a:lnTo>
                <a:lnTo>
                  <a:pt x="1607" y="1021"/>
                </a:lnTo>
                <a:lnTo>
                  <a:pt x="1539" y="1064"/>
                </a:lnTo>
                <a:lnTo>
                  <a:pt x="1471" y="1106"/>
                </a:lnTo>
                <a:lnTo>
                  <a:pt x="1403" y="1150"/>
                </a:lnTo>
                <a:lnTo>
                  <a:pt x="1336" y="1193"/>
                </a:lnTo>
                <a:lnTo>
                  <a:pt x="1270" y="1237"/>
                </a:lnTo>
                <a:lnTo>
                  <a:pt x="1205" y="1282"/>
                </a:lnTo>
                <a:lnTo>
                  <a:pt x="1142" y="1326"/>
                </a:lnTo>
                <a:lnTo>
                  <a:pt x="1078" y="1370"/>
                </a:lnTo>
                <a:lnTo>
                  <a:pt x="1016" y="1416"/>
                </a:lnTo>
                <a:lnTo>
                  <a:pt x="954" y="1461"/>
                </a:lnTo>
                <a:lnTo>
                  <a:pt x="893" y="1505"/>
                </a:lnTo>
                <a:lnTo>
                  <a:pt x="836" y="1550"/>
                </a:lnTo>
                <a:lnTo>
                  <a:pt x="780" y="1594"/>
                </a:lnTo>
                <a:lnTo>
                  <a:pt x="724" y="1637"/>
                </a:lnTo>
                <a:lnTo>
                  <a:pt x="671" y="1681"/>
                </a:lnTo>
                <a:lnTo>
                  <a:pt x="618" y="1724"/>
                </a:lnTo>
                <a:lnTo>
                  <a:pt x="568" y="1767"/>
                </a:lnTo>
                <a:lnTo>
                  <a:pt x="519" y="1810"/>
                </a:lnTo>
                <a:lnTo>
                  <a:pt x="472" y="18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101" name="Freeform 77"/>
          <p:cNvSpPr>
            <a:spLocks noChangeArrowheads="1"/>
          </p:cNvSpPr>
          <p:nvPr/>
        </p:nvSpPr>
        <p:spPr bwMode="auto">
          <a:xfrm>
            <a:off x="2219325" y="817563"/>
            <a:ext cx="1539875" cy="1136650"/>
          </a:xfrm>
          <a:custGeom>
            <a:avLst/>
            <a:gdLst>
              <a:gd name="T0" fmla="*/ 63 w 3433"/>
              <a:gd name="T1" fmla="*/ 1968 h 2041"/>
              <a:gd name="T2" fmla="*/ 206 w 3433"/>
              <a:gd name="T3" fmla="*/ 1818 h 2041"/>
              <a:gd name="T4" fmla="*/ 372 w 3433"/>
              <a:gd name="T5" fmla="*/ 1665 h 2041"/>
              <a:gd name="T6" fmla="*/ 556 w 3433"/>
              <a:gd name="T7" fmla="*/ 1508 h 2041"/>
              <a:gd name="T8" fmla="*/ 758 w 3433"/>
              <a:gd name="T9" fmla="*/ 1350 h 2041"/>
              <a:gd name="T10" fmla="*/ 974 w 3433"/>
              <a:gd name="T11" fmla="*/ 1193 h 2041"/>
              <a:gd name="T12" fmla="*/ 1201 w 3433"/>
              <a:gd name="T13" fmla="*/ 1038 h 2041"/>
              <a:gd name="T14" fmla="*/ 1437 w 3433"/>
              <a:gd name="T15" fmla="*/ 886 h 2041"/>
              <a:gd name="T16" fmla="*/ 1679 w 3433"/>
              <a:gd name="T17" fmla="*/ 741 h 2041"/>
              <a:gd name="T18" fmla="*/ 1925 w 3433"/>
              <a:gd name="T19" fmla="*/ 603 h 2041"/>
              <a:gd name="T20" fmla="*/ 2172 w 3433"/>
              <a:gd name="T21" fmla="*/ 474 h 2041"/>
              <a:gd name="T22" fmla="*/ 2417 w 3433"/>
              <a:gd name="T23" fmla="*/ 355 h 2041"/>
              <a:gd name="T24" fmla="*/ 2658 w 3433"/>
              <a:gd name="T25" fmla="*/ 249 h 2041"/>
              <a:gd name="T26" fmla="*/ 2893 w 3433"/>
              <a:gd name="T27" fmla="*/ 158 h 2041"/>
              <a:gd name="T28" fmla="*/ 3119 w 3433"/>
              <a:gd name="T29" fmla="*/ 81 h 2041"/>
              <a:gd name="T30" fmla="*/ 3332 w 3433"/>
              <a:gd name="T31" fmla="*/ 23 h 2041"/>
              <a:gd name="T32" fmla="*/ 3377 w 3433"/>
              <a:gd name="T33" fmla="*/ 37 h 2041"/>
              <a:gd name="T34" fmla="*/ 3266 w 3433"/>
              <a:gd name="T35" fmla="*/ 112 h 2041"/>
              <a:gd name="T36" fmla="*/ 3155 w 3433"/>
              <a:gd name="T37" fmla="*/ 192 h 2041"/>
              <a:gd name="T38" fmla="*/ 3044 w 3433"/>
              <a:gd name="T39" fmla="*/ 274 h 2041"/>
              <a:gd name="T40" fmla="*/ 2933 w 3433"/>
              <a:gd name="T41" fmla="*/ 359 h 2041"/>
              <a:gd name="T42" fmla="*/ 2823 w 3433"/>
              <a:gd name="T43" fmla="*/ 446 h 2041"/>
              <a:gd name="T44" fmla="*/ 2657 w 3433"/>
              <a:gd name="T45" fmla="*/ 582 h 2041"/>
              <a:gd name="T46" fmla="*/ 2439 w 3433"/>
              <a:gd name="T47" fmla="*/ 770 h 2041"/>
              <a:gd name="T48" fmla="*/ 2223 w 3433"/>
              <a:gd name="T49" fmla="*/ 962 h 2041"/>
              <a:gd name="T50" fmla="*/ 2009 w 3433"/>
              <a:gd name="T51" fmla="*/ 1155 h 2041"/>
              <a:gd name="T52" fmla="*/ 1799 w 3433"/>
              <a:gd name="T53" fmla="*/ 1349 h 2041"/>
              <a:gd name="T54" fmla="*/ 1630 w 3433"/>
              <a:gd name="T55" fmla="*/ 1466 h 2041"/>
              <a:gd name="T56" fmla="*/ 1454 w 3433"/>
              <a:gd name="T57" fmla="*/ 1524 h 2041"/>
              <a:gd name="T58" fmla="*/ 1230 w 3433"/>
              <a:gd name="T59" fmla="*/ 1604 h 2041"/>
              <a:gd name="T60" fmla="*/ 978 w 3433"/>
              <a:gd name="T61" fmla="*/ 1696 h 2041"/>
              <a:gd name="T62" fmla="*/ 717 w 3433"/>
              <a:gd name="T63" fmla="*/ 1790 h 2041"/>
              <a:gd name="T64" fmla="*/ 464 w 3433"/>
              <a:gd name="T65" fmla="*/ 1882 h 2041"/>
              <a:gd name="T66" fmla="*/ 241 w 3433"/>
              <a:gd name="T67" fmla="*/ 1962 h 2041"/>
              <a:gd name="T68" fmla="*/ 65 w 3433"/>
              <a:gd name="T69" fmla="*/ 2021 h 20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433" h="2041">
                <a:moveTo>
                  <a:pt x="0" y="2041"/>
                </a:moveTo>
                <a:lnTo>
                  <a:pt x="63" y="1968"/>
                </a:lnTo>
                <a:lnTo>
                  <a:pt x="132" y="1893"/>
                </a:lnTo>
                <a:lnTo>
                  <a:pt x="206" y="1818"/>
                </a:lnTo>
                <a:lnTo>
                  <a:pt x="286" y="1742"/>
                </a:lnTo>
                <a:lnTo>
                  <a:pt x="372" y="1665"/>
                </a:lnTo>
                <a:lnTo>
                  <a:pt x="462" y="1586"/>
                </a:lnTo>
                <a:lnTo>
                  <a:pt x="556" y="1508"/>
                </a:lnTo>
                <a:lnTo>
                  <a:pt x="656" y="1429"/>
                </a:lnTo>
                <a:lnTo>
                  <a:pt x="758" y="1350"/>
                </a:lnTo>
                <a:lnTo>
                  <a:pt x="864" y="1271"/>
                </a:lnTo>
                <a:lnTo>
                  <a:pt x="974" y="1193"/>
                </a:lnTo>
                <a:lnTo>
                  <a:pt x="1087" y="1115"/>
                </a:lnTo>
                <a:lnTo>
                  <a:pt x="1201" y="1038"/>
                </a:lnTo>
                <a:lnTo>
                  <a:pt x="1318" y="962"/>
                </a:lnTo>
                <a:lnTo>
                  <a:pt x="1437" y="886"/>
                </a:lnTo>
                <a:lnTo>
                  <a:pt x="1557" y="813"/>
                </a:lnTo>
                <a:lnTo>
                  <a:pt x="1679" y="741"/>
                </a:lnTo>
                <a:lnTo>
                  <a:pt x="1801" y="671"/>
                </a:lnTo>
                <a:lnTo>
                  <a:pt x="1925" y="603"/>
                </a:lnTo>
                <a:lnTo>
                  <a:pt x="2049" y="537"/>
                </a:lnTo>
                <a:lnTo>
                  <a:pt x="2172" y="474"/>
                </a:lnTo>
                <a:lnTo>
                  <a:pt x="2295" y="413"/>
                </a:lnTo>
                <a:lnTo>
                  <a:pt x="2417" y="355"/>
                </a:lnTo>
                <a:lnTo>
                  <a:pt x="2539" y="301"/>
                </a:lnTo>
                <a:lnTo>
                  <a:pt x="2658" y="249"/>
                </a:lnTo>
                <a:lnTo>
                  <a:pt x="2777" y="202"/>
                </a:lnTo>
                <a:lnTo>
                  <a:pt x="2893" y="158"/>
                </a:lnTo>
                <a:lnTo>
                  <a:pt x="3007" y="117"/>
                </a:lnTo>
                <a:lnTo>
                  <a:pt x="3119" y="81"/>
                </a:lnTo>
                <a:lnTo>
                  <a:pt x="3227" y="49"/>
                </a:lnTo>
                <a:lnTo>
                  <a:pt x="3332" y="23"/>
                </a:lnTo>
                <a:lnTo>
                  <a:pt x="3433" y="0"/>
                </a:lnTo>
                <a:lnTo>
                  <a:pt x="3377" y="37"/>
                </a:lnTo>
                <a:lnTo>
                  <a:pt x="3322" y="74"/>
                </a:lnTo>
                <a:lnTo>
                  <a:pt x="3266" y="112"/>
                </a:lnTo>
                <a:lnTo>
                  <a:pt x="3210" y="151"/>
                </a:lnTo>
                <a:lnTo>
                  <a:pt x="3155" y="192"/>
                </a:lnTo>
                <a:lnTo>
                  <a:pt x="3099" y="232"/>
                </a:lnTo>
                <a:lnTo>
                  <a:pt x="3044" y="274"/>
                </a:lnTo>
                <a:lnTo>
                  <a:pt x="2989" y="315"/>
                </a:lnTo>
                <a:lnTo>
                  <a:pt x="2933" y="359"/>
                </a:lnTo>
                <a:lnTo>
                  <a:pt x="2878" y="402"/>
                </a:lnTo>
                <a:lnTo>
                  <a:pt x="2823" y="446"/>
                </a:lnTo>
                <a:lnTo>
                  <a:pt x="2767" y="492"/>
                </a:lnTo>
                <a:lnTo>
                  <a:pt x="2657" y="582"/>
                </a:lnTo>
                <a:lnTo>
                  <a:pt x="2548" y="675"/>
                </a:lnTo>
                <a:lnTo>
                  <a:pt x="2439" y="770"/>
                </a:lnTo>
                <a:lnTo>
                  <a:pt x="2331" y="865"/>
                </a:lnTo>
                <a:lnTo>
                  <a:pt x="2223" y="962"/>
                </a:lnTo>
                <a:lnTo>
                  <a:pt x="2115" y="1059"/>
                </a:lnTo>
                <a:lnTo>
                  <a:pt x="2009" y="1155"/>
                </a:lnTo>
                <a:lnTo>
                  <a:pt x="1903" y="1252"/>
                </a:lnTo>
                <a:lnTo>
                  <a:pt x="1799" y="1349"/>
                </a:lnTo>
                <a:lnTo>
                  <a:pt x="1695" y="1445"/>
                </a:lnTo>
                <a:lnTo>
                  <a:pt x="1630" y="1466"/>
                </a:lnTo>
                <a:lnTo>
                  <a:pt x="1549" y="1491"/>
                </a:lnTo>
                <a:lnTo>
                  <a:pt x="1454" y="1524"/>
                </a:lnTo>
                <a:lnTo>
                  <a:pt x="1347" y="1563"/>
                </a:lnTo>
                <a:lnTo>
                  <a:pt x="1230" y="1604"/>
                </a:lnTo>
                <a:lnTo>
                  <a:pt x="1106" y="1649"/>
                </a:lnTo>
                <a:lnTo>
                  <a:pt x="978" y="1696"/>
                </a:lnTo>
                <a:lnTo>
                  <a:pt x="848" y="1743"/>
                </a:lnTo>
                <a:lnTo>
                  <a:pt x="717" y="1790"/>
                </a:lnTo>
                <a:lnTo>
                  <a:pt x="588" y="1838"/>
                </a:lnTo>
                <a:lnTo>
                  <a:pt x="464" y="1882"/>
                </a:lnTo>
                <a:lnTo>
                  <a:pt x="348" y="1923"/>
                </a:lnTo>
                <a:lnTo>
                  <a:pt x="241" y="1962"/>
                </a:lnTo>
                <a:lnTo>
                  <a:pt x="145" y="1995"/>
                </a:lnTo>
                <a:lnTo>
                  <a:pt x="65" y="2021"/>
                </a:lnTo>
                <a:lnTo>
                  <a:pt x="0" y="204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131" name="Rectangle 107"/>
          <p:cNvSpPr>
            <a:spLocks noChangeArrowheads="1"/>
          </p:cNvSpPr>
          <p:nvPr/>
        </p:nvSpPr>
        <p:spPr bwMode="auto">
          <a:xfrm>
            <a:off x="0" y="0"/>
            <a:ext cx="9144000" cy="976313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132" name="Rectangle 108"/>
          <p:cNvSpPr>
            <a:spLocks noChangeArrowheads="1"/>
          </p:cNvSpPr>
          <p:nvPr/>
        </p:nvSpPr>
        <p:spPr bwMode="auto">
          <a:xfrm>
            <a:off x="4425950" y="6524625"/>
            <a:ext cx="339725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 eaLnBrk="0" latinLnBrk="1" hangingPunct="0">
              <a:defRPr/>
            </a:pPr>
            <a:fld id="{574022D5-C89B-4476-A9EB-D3F1D51FA6D3}" type="slidenum">
              <a:rPr lang="en-GB" sz="1000">
                <a:latin typeface="Arial" pitchFamily="34" charset="0"/>
                <a:cs typeface="Arial" pitchFamily="34" charset="0"/>
              </a:rPr>
              <a:pPr algn="ctr" eaLnBrk="0" latinLnBrk="1" hangingPunct="0">
                <a:defRPr/>
              </a:pPr>
              <a:t>‹Nº›</a:t>
            </a:fld>
            <a:endParaRPr lang="en-GB" sz="1000" b="1" i="1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39" name="Group 2"/>
          <p:cNvGrpSpPr>
            <a:grpSpLocks/>
          </p:cNvGrpSpPr>
          <p:nvPr/>
        </p:nvGrpSpPr>
        <p:grpSpPr bwMode="auto">
          <a:xfrm>
            <a:off x="0" y="1144588"/>
            <a:ext cx="9144000" cy="5380037"/>
            <a:chOff x="0" y="1144474"/>
            <a:chExt cx="9144000" cy="5380151"/>
          </a:xfrm>
        </p:grpSpPr>
        <p:sp>
          <p:nvSpPr>
            <p:cNvPr id="1129" name="Freeform 105"/>
            <p:cNvSpPr>
              <a:spLocks noChangeArrowheads="1"/>
            </p:cNvSpPr>
            <p:nvPr/>
          </p:nvSpPr>
          <p:spPr bwMode="auto">
            <a:xfrm>
              <a:off x="2600325" y="3052689"/>
              <a:ext cx="3808413" cy="3327471"/>
            </a:xfrm>
            <a:custGeom>
              <a:avLst/>
              <a:gdLst>
                <a:gd name="T0" fmla="*/ 4660 w 8456"/>
                <a:gd name="T1" fmla="*/ 22 h 6004"/>
                <a:gd name="T2" fmla="*/ 5284 w 8456"/>
                <a:gd name="T3" fmla="*/ 134 h 6004"/>
                <a:gd name="T4" fmla="*/ 5874 w 8456"/>
                <a:gd name="T5" fmla="*/ 333 h 6004"/>
                <a:gd name="T6" fmla="*/ 6420 w 8456"/>
                <a:gd name="T7" fmla="*/ 615 h 6004"/>
                <a:gd name="T8" fmla="*/ 6917 w 8456"/>
                <a:gd name="T9" fmla="*/ 968 h 6004"/>
                <a:gd name="T10" fmla="*/ 7357 w 8456"/>
                <a:gd name="T11" fmla="*/ 1390 h 6004"/>
                <a:gd name="T12" fmla="*/ 7734 w 8456"/>
                <a:gd name="T13" fmla="*/ 1870 h 6004"/>
                <a:gd name="T14" fmla="*/ 8039 w 8456"/>
                <a:gd name="T15" fmla="*/ 2402 h 6004"/>
                <a:gd name="T16" fmla="*/ 8266 w 8456"/>
                <a:gd name="T17" fmla="*/ 2980 h 6004"/>
                <a:gd name="T18" fmla="*/ 8407 w 8456"/>
                <a:gd name="T19" fmla="*/ 3595 h 6004"/>
                <a:gd name="T20" fmla="*/ 8456 w 8456"/>
                <a:gd name="T21" fmla="*/ 4240 h 6004"/>
                <a:gd name="T22" fmla="*/ 8452 w 8456"/>
                <a:gd name="T23" fmla="*/ 4417 h 6004"/>
                <a:gd name="T24" fmla="*/ 8442 w 8456"/>
                <a:gd name="T25" fmla="*/ 4591 h 6004"/>
                <a:gd name="T26" fmla="*/ 8424 w 8456"/>
                <a:gd name="T27" fmla="*/ 4763 h 6004"/>
                <a:gd name="T28" fmla="*/ 8399 w 8456"/>
                <a:gd name="T29" fmla="*/ 4933 h 6004"/>
                <a:gd name="T30" fmla="*/ 8369 w 8456"/>
                <a:gd name="T31" fmla="*/ 5101 h 6004"/>
                <a:gd name="T32" fmla="*/ 8330 w 8456"/>
                <a:gd name="T33" fmla="*/ 5267 h 6004"/>
                <a:gd name="T34" fmla="*/ 8286 w 8456"/>
                <a:gd name="T35" fmla="*/ 5430 h 6004"/>
                <a:gd name="T36" fmla="*/ 8237 w 8456"/>
                <a:gd name="T37" fmla="*/ 5591 h 6004"/>
                <a:gd name="T38" fmla="*/ 8180 w 8456"/>
                <a:gd name="T39" fmla="*/ 5748 h 6004"/>
                <a:gd name="T40" fmla="*/ 8117 w 8456"/>
                <a:gd name="T41" fmla="*/ 5903 h 6004"/>
                <a:gd name="T42" fmla="*/ 383 w 8456"/>
                <a:gd name="T43" fmla="*/ 6004 h 6004"/>
                <a:gd name="T44" fmla="*/ 317 w 8456"/>
                <a:gd name="T45" fmla="*/ 5851 h 6004"/>
                <a:gd name="T46" fmla="*/ 256 w 8456"/>
                <a:gd name="T47" fmla="*/ 5696 h 6004"/>
                <a:gd name="T48" fmla="*/ 202 w 8456"/>
                <a:gd name="T49" fmla="*/ 5537 h 6004"/>
                <a:gd name="T50" fmla="*/ 153 w 8456"/>
                <a:gd name="T51" fmla="*/ 5376 h 6004"/>
                <a:gd name="T52" fmla="*/ 112 w 8456"/>
                <a:gd name="T53" fmla="*/ 5212 h 6004"/>
                <a:gd name="T54" fmla="*/ 76 w 8456"/>
                <a:gd name="T55" fmla="*/ 5045 h 6004"/>
                <a:gd name="T56" fmla="*/ 47 w 8456"/>
                <a:gd name="T57" fmla="*/ 4876 h 6004"/>
                <a:gd name="T58" fmla="*/ 26 w 8456"/>
                <a:gd name="T59" fmla="*/ 4706 h 6004"/>
                <a:gd name="T60" fmla="*/ 10 w 8456"/>
                <a:gd name="T61" fmla="*/ 4533 h 6004"/>
                <a:gd name="T62" fmla="*/ 2 w 8456"/>
                <a:gd name="T63" fmla="*/ 4358 h 6004"/>
                <a:gd name="T64" fmla="*/ 6 w 8456"/>
                <a:gd name="T65" fmla="*/ 4022 h 6004"/>
                <a:gd name="T66" fmla="*/ 86 w 8456"/>
                <a:gd name="T67" fmla="*/ 3386 h 6004"/>
                <a:gd name="T68" fmla="*/ 256 w 8456"/>
                <a:gd name="T69" fmla="*/ 2783 h 6004"/>
                <a:gd name="T70" fmla="*/ 511 w 8456"/>
                <a:gd name="T71" fmla="*/ 2220 h 6004"/>
                <a:gd name="T72" fmla="*/ 840 w 8456"/>
                <a:gd name="T73" fmla="*/ 1703 h 6004"/>
                <a:gd name="T74" fmla="*/ 1239 w 8456"/>
                <a:gd name="T75" fmla="*/ 1243 h 6004"/>
                <a:gd name="T76" fmla="*/ 1698 w 8456"/>
                <a:gd name="T77" fmla="*/ 843 h 6004"/>
                <a:gd name="T78" fmla="*/ 2212 w 8456"/>
                <a:gd name="T79" fmla="*/ 513 h 6004"/>
                <a:gd name="T80" fmla="*/ 2775 w 8456"/>
                <a:gd name="T81" fmla="*/ 258 h 6004"/>
                <a:gd name="T82" fmla="*/ 3376 w 8456"/>
                <a:gd name="T83" fmla="*/ 87 h 6004"/>
                <a:gd name="T84" fmla="*/ 4011 w 8456"/>
                <a:gd name="T85" fmla="*/ 7 h 6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6" h="6004">
                  <a:moveTo>
                    <a:pt x="4228" y="0"/>
                  </a:moveTo>
                  <a:lnTo>
                    <a:pt x="4445" y="7"/>
                  </a:lnTo>
                  <a:lnTo>
                    <a:pt x="4660" y="22"/>
                  </a:lnTo>
                  <a:lnTo>
                    <a:pt x="4872" y="50"/>
                  </a:lnTo>
                  <a:lnTo>
                    <a:pt x="5080" y="87"/>
                  </a:lnTo>
                  <a:lnTo>
                    <a:pt x="5284" y="134"/>
                  </a:lnTo>
                  <a:lnTo>
                    <a:pt x="5485" y="191"/>
                  </a:lnTo>
                  <a:lnTo>
                    <a:pt x="5681" y="258"/>
                  </a:lnTo>
                  <a:lnTo>
                    <a:pt x="5874" y="333"/>
                  </a:lnTo>
                  <a:lnTo>
                    <a:pt x="6060" y="419"/>
                  </a:lnTo>
                  <a:lnTo>
                    <a:pt x="6243" y="513"/>
                  </a:lnTo>
                  <a:lnTo>
                    <a:pt x="6420" y="615"/>
                  </a:lnTo>
                  <a:lnTo>
                    <a:pt x="6592" y="725"/>
                  </a:lnTo>
                  <a:lnTo>
                    <a:pt x="6758" y="843"/>
                  </a:lnTo>
                  <a:lnTo>
                    <a:pt x="6917" y="968"/>
                  </a:lnTo>
                  <a:lnTo>
                    <a:pt x="7071" y="1102"/>
                  </a:lnTo>
                  <a:lnTo>
                    <a:pt x="7217" y="1243"/>
                  </a:lnTo>
                  <a:lnTo>
                    <a:pt x="7357" y="1390"/>
                  </a:lnTo>
                  <a:lnTo>
                    <a:pt x="7490" y="1544"/>
                  </a:lnTo>
                  <a:lnTo>
                    <a:pt x="7616" y="1703"/>
                  </a:lnTo>
                  <a:lnTo>
                    <a:pt x="7734" y="1870"/>
                  </a:lnTo>
                  <a:lnTo>
                    <a:pt x="7843" y="2042"/>
                  </a:lnTo>
                  <a:lnTo>
                    <a:pt x="7945" y="2220"/>
                  </a:lnTo>
                  <a:lnTo>
                    <a:pt x="8039" y="2402"/>
                  </a:lnTo>
                  <a:lnTo>
                    <a:pt x="8123" y="2590"/>
                  </a:lnTo>
                  <a:lnTo>
                    <a:pt x="8200" y="2783"/>
                  </a:lnTo>
                  <a:lnTo>
                    <a:pt x="8266" y="2980"/>
                  </a:lnTo>
                  <a:lnTo>
                    <a:pt x="8322" y="3181"/>
                  </a:lnTo>
                  <a:lnTo>
                    <a:pt x="8370" y="3386"/>
                  </a:lnTo>
                  <a:lnTo>
                    <a:pt x="8407" y="3595"/>
                  </a:lnTo>
                  <a:lnTo>
                    <a:pt x="8433" y="3806"/>
                  </a:lnTo>
                  <a:lnTo>
                    <a:pt x="8450" y="4022"/>
                  </a:lnTo>
                  <a:lnTo>
                    <a:pt x="8456" y="4240"/>
                  </a:lnTo>
                  <a:lnTo>
                    <a:pt x="8455" y="4299"/>
                  </a:lnTo>
                  <a:lnTo>
                    <a:pt x="8454" y="4358"/>
                  </a:lnTo>
                  <a:lnTo>
                    <a:pt x="8452" y="4417"/>
                  </a:lnTo>
                  <a:lnTo>
                    <a:pt x="8449" y="4474"/>
                  </a:lnTo>
                  <a:lnTo>
                    <a:pt x="8446" y="4533"/>
                  </a:lnTo>
                  <a:lnTo>
                    <a:pt x="8442" y="4591"/>
                  </a:lnTo>
                  <a:lnTo>
                    <a:pt x="8437" y="4648"/>
                  </a:lnTo>
                  <a:lnTo>
                    <a:pt x="8430" y="4706"/>
                  </a:lnTo>
                  <a:lnTo>
                    <a:pt x="8424" y="4763"/>
                  </a:lnTo>
                  <a:lnTo>
                    <a:pt x="8416" y="4820"/>
                  </a:lnTo>
                  <a:lnTo>
                    <a:pt x="8408" y="4876"/>
                  </a:lnTo>
                  <a:lnTo>
                    <a:pt x="8399" y="4933"/>
                  </a:lnTo>
                  <a:lnTo>
                    <a:pt x="8389" y="4990"/>
                  </a:lnTo>
                  <a:lnTo>
                    <a:pt x="8379" y="5045"/>
                  </a:lnTo>
                  <a:lnTo>
                    <a:pt x="8369" y="5101"/>
                  </a:lnTo>
                  <a:lnTo>
                    <a:pt x="8356" y="5157"/>
                  </a:lnTo>
                  <a:lnTo>
                    <a:pt x="8344" y="5212"/>
                  </a:lnTo>
                  <a:lnTo>
                    <a:pt x="8330" y="5267"/>
                  </a:lnTo>
                  <a:lnTo>
                    <a:pt x="8316" y="5322"/>
                  </a:lnTo>
                  <a:lnTo>
                    <a:pt x="8302" y="5376"/>
                  </a:lnTo>
                  <a:lnTo>
                    <a:pt x="8286" y="5430"/>
                  </a:lnTo>
                  <a:lnTo>
                    <a:pt x="8271" y="5483"/>
                  </a:lnTo>
                  <a:lnTo>
                    <a:pt x="8253" y="5537"/>
                  </a:lnTo>
                  <a:lnTo>
                    <a:pt x="8237" y="5591"/>
                  </a:lnTo>
                  <a:lnTo>
                    <a:pt x="8218" y="5643"/>
                  </a:lnTo>
                  <a:lnTo>
                    <a:pt x="8200" y="5696"/>
                  </a:lnTo>
                  <a:lnTo>
                    <a:pt x="8180" y="5748"/>
                  </a:lnTo>
                  <a:lnTo>
                    <a:pt x="8160" y="5800"/>
                  </a:lnTo>
                  <a:lnTo>
                    <a:pt x="8139" y="5851"/>
                  </a:lnTo>
                  <a:lnTo>
                    <a:pt x="8117" y="5903"/>
                  </a:lnTo>
                  <a:lnTo>
                    <a:pt x="8096" y="5953"/>
                  </a:lnTo>
                  <a:lnTo>
                    <a:pt x="8073" y="6004"/>
                  </a:lnTo>
                  <a:lnTo>
                    <a:pt x="383" y="6004"/>
                  </a:lnTo>
                  <a:lnTo>
                    <a:pt x="360" y="5953"/>
                  </a:lnTo>
                  <a:lnTo>
                    <a:pt x="338" y="5903"/>
                  </a:lnTo>
                  <a:lnTo>
                    <a:pt x="317" y="5851"/>
                  </a:lnTo>
                  <a:lnTo>
                    <a:pt x="296" y="5800"/>
                  </a:lnTo>
                  <a:lnTo>
                    <a:pt x="276" y="5748"/>
                  </a:lnTo>
                  <a:lnTo>
                    <a:pt x="256" y="5696"/>
                  </a:lnTo>
                  <a:lnTo>
                    <a:pt x="238" y="5643"/>
                  </a:lnTo>
                  <a:lnTo>
                    <a:pt x="219" y="5591"/>
                  </a:lnTo>
                  <a:lnTo>
                    <a:pt x="202" y="5537"/>
                  </a:lnTo>
                  <a:lnTo>
                    <a:pt x="185" y="5483"/>
                  </a:lnTo>
                  <a:lnTo>
                    <a:pt x="169" y="5430"/>
                  </a:lnTo>
                  <a:lnTo>
                    <a:pt x="153" y="5376"/>
                  </a:lnTo>
                  <a:lnTo>
                    <a:pt x="139" y="5322"/>
                  </a:lnTo>
                  <a:lnTo>
                    <a:pt x="126" y="5267"/>
                  </a:lnTo>
                  <a:lnTo>
                    <a:pt x="112" y="5212"/>
                  </a:lnTo>
                  <a:lnTo>
                    <a:pt x="100" y="5157"/>
                  </a:lnTo>
                  <a:lnTo>
                    <a:pt x="87" y="5101"/>
                  </a:lnTo>
                  <a:lnTo>
                    <a:pt x="76" y="5045"/>
                  </a:lnTo>
                  <a:lnTo>
                    <a:pt x="66" y="4990"/>
                  </a:lnTo>
                  <a:lnTo>
                    <a:pt x="56" y="4933"/>
                  </a:lnTo>
                  <a:lnTo>
                    <a:pt x="47" y="4876"/>
                  </a:lnTo>
                  <a:lnTo>
                    <a:pt x="39" y="4820"/>
                  </a:lnTo>
                  <a:lnTo>
                    <a:pt x="32" y="4763"/>
                  </a:lnTo>
                  <a:lnTo>
                    <a:pt x="26" y="4706"/>
                  </a:lnTo>
                  <a:lnTo>
                    <a:pt x="19" y="4648"/>
                  </a:lnTo>
                  <a:lnTo>
                    <a:pt x="14" y="4591"/>
                  </a:lnTo>
                  <a:lnTo>
                    <a:pt x="10" y="4533"/>
                  </a:lnTo>
                  <a:lnTo>
                    <a:pt x="6" y="4474"/>
                  </a:lnTo>
                  <a:lnTo>
                    <a:pt x="4" y="4417"/>
                  </a:lnTo>
                  <a:lnTo>
                    <a:pt x="2" y="4358"/>
                  </a:lnTo>
                  <a:lnTo>
                    <a:pt x="1" y="4299"/>
                  </a:lnTo>
                  <a:lnTo>
                    <a:pt x="0" y="4240"/>
                  </a:lnTo>
                  <a:lnTo>
                    <a:pt x="6" y="4022"/>
                  </a:lnTo>
                  <a:lnTo>
                    <a:pt x="21" y="3806"/>
                  </a:lnTo>
                  <a:lnTo>
                    <a:pt x="48" y="3595"/>
                  </a:lnTo>
                  <a:lnTo>
                    <a:pt x="86" y="3386"/>
                  </a:lnTo>
                  <a:lnTo>
                    <a:pt x="133" y="3181"/>
                  </a:lnTo>
                  <a:lnTo>
                    <a:pt x="190" y="2980"/>
                  </a:lnTo>
                  <a:lnTo>
                    <a:pt x="256" y="2783"/>
                  </a:lnTo>
                  <a:lnTo>
                    <a:pt x="333" y="2590"/>
                  </a:lnTo>
                  <a:lnTo>
                    <a:pt x="417" y="2402"/>
                  </a:lnTo>
                  <a:lnTo>
                    <a:pt x="511" y="2220"/>
                  </a:lnTo>
                  <a:lnTo>
                    <a:pt x="612" y="2042"/>
                  </a:lnTo>
                  <a:lnTo>
                    <a:pt x="722" y="1870"/>
                  </a:lnTo>
                  <a:lnTo>
                    <a:pt x="840" y="1703"/>
                  </a:lnTo>
                  <a:lnTo>
                    <a:pt x="966" y="1544"/>
                  </a:lnTo>
                  <a:lnTo>
                    <a:pt x="1099" y="1390"/>
                  </a:lnTo>
                  <a:lnTo>
                    <a:pt x="1239" y="1243"/>
                  </a:lnTo>
                  <a:lnTo>
                    <a:pt x="1385" y="1102"/>
                  </a:lnTo>
                  <a:lnTo>
                    <a:pt x="1539" y="968"/>
                  </a:lnTo>
                  <a:lnTo>
                    <a:pt x="1698" y="843"/>
                  </a:lnTo>
                  <a:lnTo>
                    <a:pt x="1864" y="725"/>
                  </a:lnTo>
                  <a:lnTo>
                    <a:pt x="2036" y="615"/>
                  </a:lnTo>
                  <a:lnTo>
                    <a:pt x="2212" y="513"/>
                  </a:lnTo>
                  <a:lnTo>
                    <a:pt x="2395" y="419"/>
                  </a:lnTo>
                  <a:lnTo>
                    <a:pt x="2582" y="333"/>
                  </a:lnTo>
                  <a:lnTo>
                    <a:pt x="2775" y="258"/>
                  </a:lnTo>
                  <a:lnTo>
                    <a:pt x="2970" y="191"/>
                  </a:lnTo>
                  <a:lnTo>
                    <a:pt x="3171" y="134"/>
                  </a:lnTo>
                  <a:lnTo>
                    <a:pt x="3376" y="87"/>
                  </a:lnTo>
                  <a:lnTo>
                    <a:pt x="3584" y="50"/>
                  </a:lnTo>
                  <a:lnTo>
                    <a:pt x="3795" y="22"/>
                  </a:lnTo>
                  <a:lnTo>
                    <a:pt x="4011" y="7"/>
                  </a:lnTo>
                  <a:lnTo>
                    <a:pt x="422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30" name="Freeform 106"/>
            <p:cNvSpPr>
              <a:spLocks noChangeArrowheads="1"/>
            </p:cNvSpPr>
            <p:nvPr/>
          </p:nvSpPr>
          <p:spPr bwMode="auto">
            <a:xfrm>
              <a:off x="2860675" y="3462273"/>
              <a:ext cx="3297238" cy="2919474"/>
            </a:xfrm>
            <a:custGeom>
              <a:avLst/>
              <a:gdLst>
                <a:gd name="T0" fmla="*/ 3664 w 7328"/>
                <a:gd name="T1" fmla="*/ 0 h 5258"/>
                <a:gd name="T2" fmla="*/ 4525 w 7328"/>
                <a:gd name="T3" fmla="*/ 2675 h 5258"/>
                <a:gd name="T4" fmla="*/ 7328 w 7328"/>
                <a:gd name="T5" fmla="*/ 2669 h 5258"/>
                <a:gd name="T6" fmla="*/ 5058 w 7328"/>
                <a:gd name="T7" fmla="*/ 4317 h 5258"/>
                <a:gd name="T8" fmla="*/ 5365 w 7328"/>
                <a:gd name="T9" fmla="*/ 5258 h 5258"/>
                <a:gd name="T10" fmla="*/ 1963 w 7328"/>
                <a:gd name="T11" fmla="*/ 5258 h 5258"/>
                <a:gd name="T12" fmla="*/ 2270 w 7328"/>
                <a:gd name="T13" fmla="*/ 4317 h 5258"/>
                <a:gd name="T14" fmla="*/ 0 w 7328"/>
                <a:gd name="T15" fmla="*/ 2669 h 5258"/>
                <a:gd name="T16" fmla="*/ 2803 w 7328"/>
                <a:gd name="T17" fmla="*/ 2675 h 5258"/>
                <a:gd name="T18" fmla="*/ 3664 w 7328"/>
                <a:gd name="T19" fmla="*/ 0 h 5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28" h="5258">
                  <a:moveTo>
                    <a:pt x="3664" y="0"/>
                  </a:moveTo>
                  <a:lnTo>
                    <a:pt x="4525" y="2675"/>
                  </a:lnTo>
                  <a:lnTo>
                    <a:pt x="7328" y="2669"/>
                  </a:lnTo>
                  <a:lnTo>
                    <a:pt x="5058" y="4317"/>
                  </a:lnTo>
                  <a:lnTo>
                    <a:pt x="5365" y="5258"/>
                  </a:lnTo>
                  <a:lnTo>
                    <a:pt x="1963" y="5258"/>
                  </a:lnTo>
                  <a:lnTo>
                    <a:pt x="2270" y="4317"/>
                  </a:lnTo>
                  <a:lnTo>
                    <a:pt x="0" y="2669"/>
                  </a:lnTo>
                  <a:lnTo>
                    <a:pt x="2803" y="2675"/>
                  </a:lnTo>
                  <a:lnTo>
                    <a:pt x="36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0" name="Freeform 56"/>
            <p:cNvSpPr>
              <a:spLocks noChangeArrowheads="1"/>
            </p:cNvSpPr>
            <p:nvPr/>
          </p:nvSpPr>
          <p:spPr bwMode="auto">
            <a:xfrm>
              <a:off x="1774825" y="6337296"/>
              <a:ext cx="79375" cy="44451"/>
            </a:xfrm>
            <a:custGeom>
              <a:avLst/>
              <a:gdLst>
                <a:gd name="T0" fmla="*/ 0 w 180"/>
                <a:gd name="T1" fmla="*/ 86 h 86"/>
                <a:gd name="T2" fmla="*/ 22 w 180"/>
                <a:gd name="T3" fmla="*/ 45 h 86"/>
                <a:gd name="T4" fmla="*/ 26 w 180"/>
                <a:gd name="T5" fmla="*/ 38 h 86"/>
                <a:gd name="T6" fmla="*/ 31 w 180"/>
                <a:gd name="T7" fmla="*/ 30 h 86"/>
                <a:gd name="T8" fmla="*/ 37 w 180"/>
                <a:gd name="T9" fmla="*/ 25 h 86"/>
                <a:gd name="T10" fmla="*/ 43 w 180"/>
                <a:gd name="T11" fmla="*/ 19 h 86"/>
                <a:gd name="T12" fmla="*/ 51 w 180"/>
                <a:gd name="T13" fmla="*/ 15 h 86"/>
                <a:gd name="T14" fmla="*/ 58 w 180"/>
                <a:gd name="T15" fmla="*/ 11 h 86"/>
                <a:gd name="T16" fmla="*/ 65 w 180"/>
                <a:gd name="T17" fmla="*/ 7 h 86"/>
                <a:gd name="T18" fmla="*/ 72 w 180"/>
                <a:gd name="T19" fmla="*/ 5 h 86"/>
                <a:gd name="T20" fmla="*/ 80 w 180"/>
                <a:gd name="T21" fmla="*/ 3 h 86"/>
                <a:gd name="T22" fmla="*/ 89 w 180"/>
                <a:gd name="T23" fmla="*/ 1 h 86"/>
                <a:gd name="T24" fmla="*/ 97 w 180"/>
                <a:gd name="T25" fmla="*/ 0 h 86"/>
                <a:gd name="T26" fmla="*/ 105 w 180"/>
                <a:gd name="T27" fmla="*/ 1 h 86"/>
                <a:gd name="T28" fmla="*/ 113 w 180"/>
                <a:gd name="T29" fmla="*/ 3 h 86"/>
                <a:gd name="T30" fmla="*/ 121 w 180"/>
                <a:gd name="T31" fmla="*/ 5 h 86"/>
                <a:gd name="T32" fmla="*/ 129 w 180"/>
                <a:gd name="T33" fmla="*/ 8 h 86"/>
                <a:gd name="T34" fmla="*/ 137 w 180"/>
                <a:gd name="T35" fmla="*/ 11 h 86"/>
                <a:gd name="T36" fmla="*/ 146 w 180"/>
                <a:gd name="T37" fmla="*/ 18 h 86"/>
                <a:gd name="T38" fmla="*/ 156 w 180"/>
                <a:gd name="T39" fmla="*/ 25 h 86"/>
                <a:gd name="T40" fmla="*/ 163 w 180"/>
                <a:gd name="T41" fmla="*/ 33 h 86"/>
                <a:gd name="T42" fmla="*/ 169 w 180"/>
                <a:gd name="T43" fmla="*/ 43 h 86"/>
                <a:gd name="T44" fmla="*/ 174 w 180"/>
                <a:gd name="T45" fmla="*/ 53 h 86"/>
                <a:gd name="T46" fmla="*/ 177 w 180"/>
                <a:gd name="T47" fmla="*/ 64 h 86"/>
                <a:gd name="T48" fmla="*/ 179 w 180"/>
                <a:gd name="T49" fmla="*/ 75 h 86"/>
                <a:gd name="T50" fmla="*/ 180 w 180"/>
                <a:gd name="T51" fmla="*/ 86 h 86"/>
                <a:gd name="T52" fmla="*/ 0 w 180"/>
                <a:gd name="T5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0" h="86">
                  <a:moveTo>
                    <a:pt x="0" y="86"/>
                  </a:moveTo>
                  <a:lnTo>
                    <a:pt x="22" y="45"/>
                  </a:lnTo>
                  <a:lnTo>
                    <a:pt x="26" y="38"/>
                  </a:lnTo>
                  <a:lnTo>
                    <a:pt x="31" y="30"/>
                  </a:lnTo>
                  <a:lnTo>
                    <a:pt x="37" y="25"/>
                  </a:lnTo>
                  <a:lnTo>
                    <a:pt x="43" y="19"/>
                  </a:lnTo>
                  <a:lnTo>
                    <a:pt x="51" y="15"/>
                  </a:lnTo>
                  <a:lnTo>
                    <a:pt x="58" y="11"/>
                  </a:lnTo>
                  <a:lnTo>
                    <a:pt x="65" y="7"/>
                  </a:lnTo>
                  <a:lnTo>
                    <a:pt x="72" y="5"/>
                  </a:lnTo>
                  <a:lnTo>
                    <a:pt x="80" y="3"/>
                  </a:lnTo>
                  <a:lnTo>
                    <a:pt x="89" y="1"/>
                  </a:lnTo>
                  <a:lnTo>
                    <a:pt x="97" y="0"/>
                  </a:lnTo>
                  <a:lnTo>
                    <a:pt x="105" y="1"/>
                  </a:lnTo>
                  <a:lnTo>
                    <a:pt x="113" y="3"/>
                  </a:lnTo>
                  <a:lnTo>
                    <a:pt x="121" y="5"/>
                  </a:lnTo>
                  <a:lnTo>
                    <a:pt x="129" y="8"/>
                  </a:lnTo>
                  <a:lnTo>
                    <a:pt x="137" y="11"/>
                  </a:lnTo>
                  <a:lnTo>
                    <a:pt x="146" y="18"/>
                  </a:lnTo>
                  <a:lnTo>
                    <a:pt x="156" y="25"/>
                  </a:lnTo>
                  <a:lnTo>
                    <a:pt x="163" y="33"/>
                  </a:lnTo>
                  <a:lnTo>
                    <a:pt x="169" y="43"/>
                  </a:lnTo>
                  <a:lnTo>
                    <a:pt x="174" y="53"/>
                  </a:lnTo>
                  <a:lnTo>
                    <a:pt x="177" y="64"/>
                  </a:lnTo>
                  <a:lnTo>
                    <a:pt x="179" y="75"/>
                  </a:lnTo>
                  <a:lnTo>
                    <a:pt x="18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1" name="Freeform 57"/>
            <p:cNvSpPr>
              <a:spLocks noChangeArrowheads="1"/>
            </p:cNvSpPr>
            <p:nvPr/>
          </p:nvSpPr>
          <p:spPr bwMode="auto">
            <a:xfrm>
              <a:off x="1198563" y="5626081"/>
              <a:ext cx="409575" cy="754079"/>
            </a:xfrm>
            <a:custGeom>
              <a:avLst/>
              <a:gdLst>
                <a:gd name="T0" fmla="*/ 23 w 903"/>
                <a:gd name="T1" fmla="*/ 1267 h 1361"/>
                <a:gd name="T2" fmla="*/ 64 w 903"/>
                <a:gd name="T3" fmla="*/ 1128 h 1361"/>
                <a:gd name="T4" fmla="*/ 112 w 903"/>
                <a:gd name="T5" fmla="*/ 992 h 1361"/>
                <a:gd name="T6" fmla="*/ 170 w 903"/>
                <a:gd name="T7" fmla="*/ 859 h 1361"/>
                <a:gd name="T8" fmla="*/ 234 w 903"/>
                <a:gd name="T9" fmla="*/ 729 h 1361"/>
                <a:gd name="T10" fmla="*/ 306 w 903"/>
                <a:gd name="T11" fmla="*/ 602 h 1361"/>
                <a:gd name="T12" fmla="*/ 384 w 903"/>
                <a:gd name="T13" fmla="*/ 480 h 1361"/>
                <a:gd name="T14" fmla="*/ 469 w 903"/>
                <a:gd name="T15" fmla="*/ 360 h 1361"/>
                <a:gd name="T16" fmla="*/ 560 w 903"/>
                <a:gd name="T17" fmla="*/ 245 h 1361"/>
                <a:gd name="T18" fmla="*/ 657 w 903"/>
                <a:gd name="T19" fmla="*/ 133 h 1361"/>
                <a:gd name="T20" fmla="*/ 759 w 903"/>
                <a:gd name="T21" fmla="*/ 26 h 1361"/>
                <a:gd name="T22" fmla="*/ 780 w 903"/>
                <a:gd name="T23" fmla="*/ 11 h 1361"/>
                <a:gd name="T24" fmla="*/ 803 w 903"/>
                <a:gd name="T25" fmla="*/ 2 h 1361"/>
                <a:gd name="T26" fmla="*/ 827 w 903"/>
                <a:gd name="T27" fmla="*/ 1 h 1361"/>
                <a:gd name="T28" fmla="*/ 851 w 903"/>
                <a:gd name="T29" fmla="*/ 6 h 1361"/>
                <a:gd name="T30" fmla="*/ 872 w 903"/>
                <a:gd name="T31" fmla="*/ 20 h 1361"/>
                <a:gd name="T32" fmla="*/ 892 w 903"/>
                <a:gd name="T33" fmla="*/ 42 h 1361"/>
                <a:gd name="T34" fmla="*/ 902 w 903"/>
                <a:gd name="T35" fmla="*/ 70 h 1361"/>
                <a:gd name="T36" fmla="*/ 902 w 903"/>
                <a:gd name="T37" fmla="*/ 99 h 1361"/>
                <a:gd name="T38" fmla="*/ 881 w 903"/>
                <a:gd name="T39" fmla="*/ 239 h 1361"/>
                <a:gd name="T40" fmla="*/ 856 w 903"/>
                <a:gd name="T41" fmla="*/ 445 h 1361"/>
                <a:gd name="T42" fmla="*/ 838 w 903"/>
                <a:gd name="T43" fmla="*/ 646 h 1361"/>
                <a:gd name="T44" fmla="*/ 829 w 903"/>
                <a:gd name="T45" fmla="*/ 846 h 1361"/>
                <a:gd name="T46" fmla="*/ 827 w 903"/>
                <a:gd name="T47" fmla="*/ 1045 h 1361"/>
                <a:gd name="T48" fmla="*/ 830 w 903"/>
                <a:gd name="T49" fmla="*/ 1200 h 1361"/>
                <a:gd name="T50" fmla="*/ 832 w 903"/>
                <a:gd name="T51" fmla="*/ 1269 h 1361"/>
                <a:gd name="T52" fmla="*/ 835 w 903"/>
                <a:gd name="T53" fmla="*/ 1338 h 1361"/>
                <a:gd name="T54" fmla="*/ 667 w 903"/>
                <a:gd name="T55" fmla="*/ 1361 h 1361"/>
                <a:gd name="T56" fmla="*/ 0 w 903"/>
                <a:gd name="T57" fmla="*/ 1361 h 1361"/>
                <a:gd name="T58" fmla="*/ 606 w 903"/>
                <a:gd name="T59" fmla="*/ 460 h 1361"/>
                <a:gd name="T60" fmla="*/ 502 w 903"/>
                <a:gd name="T61" fmla="*/ 608 h 1361"/>
                <a:gd name="T62" fmla="*/ 444 w 903"/>
                <a:gd name="T63" fmla="*/ 700 h 1361"/>
                <a:gd name="T64" fmla="*/ 391 w 903"/>
                <a:gd name="T65" fmla="*/ 794 h 1361"/>
                <a:gd name="T66" fmla="*/ 342 w 903"/>
                <a:gd name="T67" fmla="*/ 890 h 1361"/>
                <a:gd name="T68" fmla="*/ 298 w 903"/>
                <a:gd name="T69" fmla="*/ 988 h 1361"/>
                <a:gd name="T70" fmla="*/ 258 w 903"/>
                <a:gd name="T71" fmla="*/ 1087 h 1361"/>
                <a:gd name="T72" fmla="*/ 221 w 903"/>
                <a:gd name="T73" fmla="*/ 1189 h 1361"/>
                <a:gd name="T74" fmla="*/ 191 w 903"/>
                <a:gd name="T75" fmla="*/ 1292 h 1361"/>
                <a:gd name="T76" fmla="*/ 696 w 903"/>
                <a:gd name="T77" fmla="*/ 346 h 1361"/>
                <a:gd name="T78" fmla="*/ 657 w 903"/>
                <a:gd name="T79" fmla="*/ 1080 h 1361"/>
                <a:gd name="T80" fmla="*/ 658 w 903"/>
                <a:gd name="T81" fmla="*/ 923 h 1361"/>
                <a:gd name="T82" fmla="*/ 662 w 903"/>
                <a:gd name="T83" fmla="*/ 767 h 1361"/>
                <a:gd name="T84" fmla="*/ 672 w 903"/>
                <a:gd name="T85" fmla="*/ 611 h 1361"/>
                <a:gd name="T86" fmla="*/ 685 w 903"/>
                <a:gd name="T87" fmla="*/ 452 h 1361"/>
                <a:gd name="T88" fmla="*/ 660 w 903"/>
                <a:gd name="T89" fmla="*/ 1184 h 1361"/>
                <a:gd name="T90" fmla="*/ 664 w 903"/>
                <a:gd name="T91" fmla="*/ 1317 h 1361"/>
                <a:gd name="T92" fmla="*/ 662 w 903"/>
                <a:gd name="T93" fmla="*/ 1250 h 1361"/>
                <a:gd name="T94" fmla="*/ 660 w 903"/>
                <a:gd name="T95" fmla="*/ 1184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3" h="1361">
                  <a:moveTo>
                    <a:pt x="0" y="1361"/>
                  </a:moveTo>
                  <a:lnTo>
                    <a:pt x="10" y="1314"/>
                  </a:lnTo>
                  <a:lnTo>
                    <a:pt x="23" y="1267"/>
                  </a:lnTo>
                  <a:lnTo>
                    <a:pt x="35" y="1220"/>
                  </a:lnTo>
                  <a:lnTo>
                    <a:pt x="48" y="1173"/>
                  </a:lnTo>
                  <a:lnTo>
                    <a:pt x="64" y="1128"/>
                  </a:lnTo>
                  <a:lnTo>
                    <a:pt x="79" y="1082"/>
                  </a:lnTo>
                  <a:lnTo>
                    <a:pt x="96" y="1036"/>
                  </a:lnTo>
                  <a:lnTo>
                    <a:pt x="112" y="992"/>
                  </a:lnTo>
                  <a:lnTo>
                    <a:pt x="131" y="947"/>
                  </a:lnTo>
                  <a:lnTo>
                    <a:pt x="149" y="902"/>
                  </a:lnTo>
                  <a:lnTo>
                    <a:pt x="170" y="859"/>
                  </a:lnTo>
                  <a:lnTo>
                    <a:pt x="191" y="815"/>
                  </a:lnTo>
                  <a:lnTo>
                    <a:pt x="212" y="771"/>
                  </a:lnTo>
                  <a:lnTo>
                    <a:pt x="234" y="729"/>
                  </a:lnTo>
                  <a:lnTo>
                    <a:pt x="258" y="687"/>
                  </a:lnTo>
                  <a:lnTo>
                    <a:pt x="281" y="645"/>
                  </a:lnTo>
                  <a:lnTo>
                    <a:pt x="306" y="602"/>
                  </a:lnTo>
                  <a:lnTo>
                    <a:pt x="331" y="561"/>
                  </a:lnTo>
                  <a:lnTo>
                    <a:pt x="357" y="520"/>
                  </a:lnTo>
                  <a:lnTo>
                    <a:pt x="384" y="480"/>
                  </a:lnTo>
                  <a:lnTo>
                    <a:pt x="412" y="439"/>
                  </a:lnTo>
                  <a:lnTo>
                    <a:pt x="440" y="399"/>
                  </a:lnTo>
                  <a:lnTo>
                    <a:pt x="469" y="360"/>
                  </a:lnTo>
                  <a:lnTo>
                    <a:pt x="499" y="321"/>
                  </a:lnTo>
                  <a:lnTo>
                    <a:pt x="529" y="283"/>
                  </a:lnTo>
                  <a:lnTo>
                    <a:pt x="560" y="245"/>
                  </a:lnTo>
                  <a:lnTo>
                    <a:pt x="591" y="207"/>
                  </a:lnTo>
                  <a:lnTo>
                    <a:pt x="624" y="170"/>
                  </a:lnTo>
                  <a:lnTo>
                    <a:pt x="657" y="133"/>
                  </a:lnTo>
                  <a:lnTo>
                    <a:pt x="690" y="97"/>
                  </a:lnTo>
                  <a:lnTo>
                    <a:pt x="725" y="61"/>
                  </a:lnTo>
                  <a:lnTo>
                    <a:pt x="759" y="26"/>
                  </a:lnTo>
                  <a:lnTo>
                    <a:pt x="766" y="20"/>
                  </a:lnTo>
                  <a:lnTo>
                    <a:pt x="773" y="15"/>
                  </a:lnTo>
                  <a:lnTo>
                    <a:pt x="780" y="11"/>
                  </a:lnTo>
                  <a:lnTo>
                    <a:pt x="788" y="6"/>
                  </a:lnTo>
                  <a:lnTo>
                    <a:pt x="795" y="4"/>
                  </a:lnTo>
                  <a:lnTo>
                    <a:pt x="803" y="2"/>
                  </a:lnTo>
                  <a:lnTo>
                    <a:pt x="812" y="1"/>
                  </a:lnTo>
                  <a:lnTo>
                    <a:pt x="820" y="0"/>
                  </a:lnTo>
                  <a:lnTo>
                    <a:pt x="827" y="1"/>
                  </a:lnTo>
                  <a:lnTo>
                    <a:pt x="835" y="2"/>
                  </a:lnTo>
                  <a:lnTo>
                    <a:pt x="844" y="4"/>
                  </a:lnTo>
                  <a:lnTo>
                    <a:pt x="851" y="6"/>
                  </a:lnTo>
                  <a:lnTo>
                    <a:pt x="859" y="11"/>
                  </a:lnTo>
                  <a:lnTo>
                    <a:pt x="866" y="15"/>
                  </a:lnTo>
                  <a:lnTo>
                    <a:pt x="872" y="20"/>
                  </a:lnTo>
                  <a:lnTo>
                    <a:pt x="880" y="25"/>
                  </a:lnTo>
                  <a:lnTo>
                    <a:pt x="886" y="33"/>
                  </a:lnTo>
                  <a:lnTo>
                    <a:pt x="892" y="42"/>
                  </a:lnTo>
                  <a:lnTo>
                    <a:pt x="896" y="51"/>
                  </a:lnTo>
                  <a:lnTo>
                    <a:pt x="900" y="60"/>
                  </a:lnTo>
                  <a:lnTo>
                    <a:pt x="902" y="70"/>
                  </a:lnTo>
                  <a:lnTo>
                    <a:pt x="903" y="80"/>
                  </a:lnTo>
                  <a:lnTo>
                    <a:pt x="903" y="90"/>
                  </a:lnTo>
                  <a:lnTo>
                    <a:pt x="902" y="99"/>
                  </a:lnTo>
                  <a:lnTo>
                    <a:pt x="891" y="169"/>
                  </a:lnTo>
                  <a:lnTo>
                    <a:pt x="881" y="239"/>
                  </a:lnTo>
                  <a:lnTo>
                    <a:pt x="871" y="309"/>
                  </a:lnTo>
                  <a:lnTo>
                    <a:pt x="863" y="377"/>
                  </a:lnTo>
                  <a:lnTo>
                    <a:pt x="856" y="445"/>
                  </a:lnTo>
                  <a:lnTo>
                    <a:pt x="849" y="512"/>
                  </a:lnTo>
                  <a:lnTo>
                    <a:pt x="844" y="580"/>
                  </a:lnTo>
                  <a:lnTo>
                    <a:pt x="838" y="646"/>
                  </a:lnTo>
                  <a:lnTo>
                    <a:pt x="834" y="713"/>
                  </a:lnTo>
                  <a:lnTo>
                    <a:pt x="831" y="780"/>
                  </a:lnTo>
                  <a:lnTo>
                    <a:pt x="829" y="846"/>
                  </a:lnTo>
                  <a:lnTo>
                    <a:pt x="827" y="912"/>
                  </a:lnTo>
                  <a:lnTo>
                    <a:pt x="827" y="978"/>
                  </a:lnTo>
                  <a:lnTo>
                    <a:pt x="827" y="1045"/>
                  </a:lnTo>
                  <a:lnTo>
                    <a:pt x="828" y="1111"/>
                  </a:lnTo>
                  <a:lnTo>
                    <a:pt x="829" y="1178"/>
                  </a:lnTo>
                  <a:lnTo>
                    <a:pt x="830" y="1200"/>
                  </a:lnTo>
                  <a:lnTo>
                    <a:pt x="831" y="1223"/>
                  </a:lnTo>
                  <a:lnTo>
                    <a:pt x="831" y="1246"/>
                  </a:lnTo>
                  <a:lnTo>
                    <a:pt x="832" y="1269"/>
                  </a:lnTo>
                  <a:lnTo>
                    <a:pt x="833" y="1292"/>
                  </a:lnTo>
                  <a:lnTo>
                    <a:pt x="834" y="1315"/>
                  </a:lnTo>
                  <a:lnTo>
                    <a:pt x="835" y="1338"/>
                  </a:lnTo>
                  <a:lnTo>
                    <a:pt x="837" y="1361"/>
                  </a:lnTo>
                  <a:lnTo>
                    <a:pt x="689" y="1361"/>
                  </a:lnTo>
                  <a:lnTo>
                    <a:pt x="667" y="1361"/>
                  </a:lnTo>
                  <a:lnTo>
                    <a:pt x="416" y="1361"/>
                  </a:lnTo>
                  <a:lnTo>
                    <a:pt x="173" y="1361"/>
                  </a:lnTo>
                  <a:lnTo>
                    <a:pt x="0" y="1361"/>
                  </a:lnTo>
                  <a:close/>
                  <a:moveTo>
                    <a:pt x="696" y="346"/>
                  </a:moveTo>
                  <a:lnTo>
                    <a:pt x="650" y="402"/>
                  </a:lnTo>
                  <a:lnTo>
                    <a:pt x="606" y="460"/>
                  </a:lnTo>
                  <a:lnTo>
                    <a:pt x="562" y="518"/>
                  </a:lnTo>
                  <a:lnTo>
                    <a:pt x="521" y="578"/>
                  </a:lnTo>
                  <a:lnTo>
                    <a:pt x="502" y="608"/>
                  </a:lnTo>
                  <a:lnTo>
                    <a:pt x="482" y="638"/>
                  </a:lnTo>
                  <a:lnTo>
                    <a:pt x="463" y="669"/>
                  </a:lnTo>
                  <a:lnTo>
                    <a:pt x="444" y="700"/>
                  </a:lnTo>
                  <a:lnTo>
                    <a:pt x="426" y="731"/>
                  </a:lnTo>
                  <a:lnTo>
                    <a:pt x="408" y="762"/>
                  </a:lnTo>
                  <a:lnTo>
                    <a:pt x="391" y="794"/>
                  </a:lnTo>
                  <a:lnTo>
                    <a:pt x="374" y="826"/>
                  </a:lnTo>
                  <a:lnTo>
                    <a:pt x="358" y="858"/>
                  </a:lnTo>
                  <a:lnTo>
                    <a:pt x="342" y="890"/>
                  </a:lnTo>
                  <a:lnTo>
                    <a:pt x="327" y="922"/>
                  </a:lnTo>
                  <a:lnTo>
                    <a:pt x="312" y="955"/>
                  </a:lnTo>
                  <a:lnTo>
                    <a:pt x="298" y="988"/>
                  </a:lnTo>
                  <a:lnTo>
                    <a:pt x="283" y="1021"/>
                  </a:lnTo>
                  <a:lnTo>
                    <a:pt x="270" y="1054"/>
                  </a:lnTo>
                  <a:lnTo>
                    <a:pt x="258" y="1087"/>
                  </a:lnTo>
                  <a:lnTo>
                    <a:pt x="245" y="1121"/>
                  </a:lnTo>
                  <a:lnTo>
                    <a:pt x="233" y="1155"/>
                  </a:lnTo>
                  <a:lnTo>
                    <a:pt x="221" y="1189"/>
                  </a:lnTo>
                  <a:lnTo>
                    <a:pt x="211" y="1223"/>
                  </a:lnTo>
                  <a:lnTo>
                    <a:pt x="201" y="1257"/>
                  </a:lnTo>
                  <a:lnTo>
                    <a:pt x="191" y="1292"/>
                  </a:lnTo>
                  <a:lnTo>
                    <a:pt x="182" y="1326"/>
                  </a:lnTo>
                  <a:lnTo>
                    <a:pt x="173" y="1361"/>
                  </a:lnTo>
                  <a:lnTo>
                    <a:pt x="696" y="346"/>
                  </a:lnTo>
                  <a:close/>
                  <a:moveTo>
                    <a:pt x="660" y="1184"/>
                  </a:moveTo>
                  <a:lnTo>
                    <a:pt x="658" y="1131"/>
                  </a:lnTo>
                  <a:lnTo>
                    <a:pt x="657" y="1080"/>
                  </a:lnTo>
                  <a:lnTo>
                    <a:pt x="657" y="1027"/>
                  </a:lnTo>
                  <a:lnTo>
                    <a:pt x="657" y="975"/>
                  </a:lnTo>
                  <a:lnTo>
                    <a:pt x="658" y="923"/>
                  </a:lnTo>
                  <a:lnTo>
                    <a:pt x="658" y="871"/>
                  </a:lnTo>
                  <a:lnTo>
                    <a:pt x="660" y="819"/>
                  </a:lnTo>
                  <a:lnTo>
                    <a:pt x="662" y="767"/>
                  </a:lnTo>
                  <a:lnTo>
                    <a:pt x="664" y="715"/>
                  </a:lnTo>
                  <a:lnTo>
                    <a:pt x="667" y="663"/>
                  </a:lnTo>
                  <a:lnTo>
                    <a:pt x="672" y="611"/>
                  </a:lnTo>
                  <a:lnTo>
                    <a:pt x="675" y="558"/>
                  </a:lnTo>
                  <a:lnTo>
                    <a:pt x="680" y="505"/>
                  </a:lnTo>
                  <a:lnTo>
                    <a:pt x="685" y="452"/>
                  </a:lnTo>
                  <a:lnTo>
                    <a:pt x="690" y="399"/>
                  </a:lnTo>
                  <a:lnTo>
                    <a:pt x="696" y="346"/>
                  </a:lnTo>
                  <a:lnTo>
                    <a:pt x="660" y="1184"/>
                  </a:lnTo>
                  <a:close/>
                  <a:moveTo>
                    <a:pt x="667" y="1361"/>
                  </a:moveTo>
                  <a:lnTo>
                    <a:pt x="666" y="1338"/>
                  </a:lnTo>
                  <a:lnTo>
                    <a:pt x="664" y="1317"/>
                  </a:lnTo>
                  <a:lnTo>
                    <a:pt x="663" y="1294"/>
                  </a:lnTo>
                  <a:lnTo>
                    <a:pt x="663" y="1272"/>
                  </a:lnTo>
                  <a:lnTo>
                    <a:pt x="662" y="1250"/>
                  </a:lnTo>
                  <a:lnTo>
                    <a:pt x="661" y="1228"/>
                  </a:lnTo>
                  <a:lnTo>
                    <a:pt x="660" y="1206"/>
                  </a:lnTo>
                  <a:lnTo>
                    <a:pt x="660" y="1184"/>
                  </a:lnTo>
                  <a:lnTo>
                    <a:pt x="667" y="13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2" name="Freeform 58"/>
            <p:cNvSpPr>
              <a:spLocks noChangeArrowheads="1"/>
            </p:cNvSpPr>
            <p:nvPr/>
          </p:nvSpPr>
          <p:spPr bwMode="auto">
            <a:xfrm>
              <a:off x="1241425" y="5670532"/>
              <a:ext cx="330200" cy="709628"/>
            </a:xfrm>
            <a:custGeom>
              <a:avLst/>
              <a:gdLst>
                <a:gd name="T0" fmla="*/ 0 w 732"/>
                <a:gd name="T1" fmla="*/ 1275 h 1275"/>
                <a:gd name="T2" fmla="*/ 10 w 732"/>
                <a:gd name="T3" fmla="*/ 1230 h 1275"/>
                <a:gd name="T4" fmla="*/ 22 w 732"/>
                <a:gd name="T5" fmla="*/ 1185 h 1275"/>
                <a:gd name="T6" fmla="*/ 35 w 732"/>
                <a:gd name="T7" fmla="*/ 1141 h 1275"/>
                <a:gd name="T8" fmla="*/ 48 w 732"/>
                <a:gd name="T9" fmla="*/ 1097 h 1275"/>
                <a:gd name="T10" fmla="*/ 61 w 732"/>
                <a:gd name="T11" fmla="*/ 1052 h 1275"/>
                <a:gd name="T12" fmla="*/ 77 w 732"/>
                <a:gd name="T13" fmla="*/ 1009 h 1275"/>
                <a:gd name="T14" fmla="*/ 93 w 732"/>
                <a:gd name="T15" fmla="*/ 966 h 1275"/>
                <a:gd name="T16" fmla="*/ 110 w 732"/>
                <a:gd name="T17" fmla="*/ 922 h 1275"/>
                <a:gd name="T18" fmla="*/ 127 w 732"/>
                <a:gd name="T19" fmla="*/ 880 h 1275"/>
                <a:gd name="T20" fmla="*/ 146 w 732"/>
                <a:gd name="T21" fmla="*/ 838 h 1275"/>
                <a:gd name="T22" fmla="*/ 165 w 732"/>
                <a:gd name="T23" fmla="*/ 796 h 1275"/>
                <a:gd name="T24" fmla="*/ 185 w 732"/>
                <a:gd name="T25" fmla="*/ 754 h 1275"/>
                <a:gd name="T26" fmla="*/ 206 w 732"/>
                <a:gd name="T27" fmla="*/ 713 h 1275"/>
                <a:gd name="T28" fmla="*/ 227 w 732"/>
                <a:gd name="T29" fmla="*/ 672 h 1275"/>
                <a:gd name="T30" fmla="*/ 250 w 732"/>
                <a:gd name="T31" fmla="*/ 632 h 1275"/>
                <a:gd name="T32" fmla="*/ 273 w 732"/>
                <a:gd name="T33" fmla="*/ 592 h 1275"/>
                <a:gd name="T34" fmla="*/ 296 w 732"/>
                <a:gd name="T35" fmla="*/ 551 h 1275"/>
                <a:gd name="T36" fmla="*/ 321 w 732"/>
                <a:gd name="T37" fmla="*/ 512 h 1275"/>
                <a:gd name="T38" fmla="*/ 346 w 732"/>
                <a:gd name="T39" fmla="*/ 473 h 1275"/>
                <a:gd name="T40" fmla="*/ 371 w 732"/>
                <a:gd name="T41" fmla="*/ 434 h 1275"/>
                <a:gd name="T42" fmla="*/ 398 w 732"/>
                <a:gd name="T43" fmla="*/ 396 h 1275"/>
                <a:gd name="T44" fmla="*/ 425 w 732"/>
                <a:gd name="T45" fmla="*/ 358 h 1275"/>
                <a:gd name="T46" fmla="*/ 453 w 732"/>
                <a:gd name="T47" fmla="*/ 320 h 1275"/>
                <a:gd name="T48" fmla="*/ 482 w 732"/>
                <a:gd name="T49" fmla="*/ 283 h 1275"/>
                <a:gd name="T50" fmla="*/ 510 w 732"/>
                <a:gd name="T51" fmla="*/ 246 h 1275"/>
                <a:gd name="T52" fmla="*/ 540 w 732"/>
                <a:gd name="T53" fmla="*/ 210 h 1275"/>
                <a:gd name="T54" fmla="*/ 571 w 732"/>
                <a:gd name="T55" fmla="*/ 174 h 1275"/>
                <a:gd name="T56" fmla="*/ 602 w 732"/>
                <a:gd name="T57" fmla="*/ 138 h 1275"/>
                <a:gd name="T58" fmla="*/ 634 w 732"/>
                <a:gd name="T59" fmla="*/ 103 h 1275"/>
                <a:gd name="T60" fmla="*/ 666 w 732"/>
                <a:gd name="T61" fmla="*/ 68 h 1275"/>
                <a:gd name="T62" fmla="*/ 699 w 732"/>
                <a:gd name="T63" fmla="*/ 34 h 1275"/>
                <a:gd name="T64" fmla="*/ 732 w 732"/>
                <a:gd name="T65" fmla="*/ 0 h 1275"/>
                <a:gd name="T66" fmla="*/ 718 w 732"/>
                <a:gd name="T67" fmla="*/ 83 h 1275"/>
                <a:gd name="T68" fmla="*/ 706 w 732"/>
                <a:gd name="T69" fmla="*/ 165 h 1275"/>
                <a:gd name="T70" fmla="*/ 696 w 732"/>
                <a:gd name="T71" fmla="*/ 246 h 1275"/>
                <a:gd name="T72" fmla="*/ 687 w 732"/>
                <a:gd name="T73" fmla="*/ 328 h 1275"/>
                <a:gd name="T74" fmla="*/ 678 w 732"/>
                <a:gd name="T75" fmla="*/ 407 h 1275"/>
                <a:gd name="T76" fmla="*/ 672 w 732"/>
                <a:gd name="T77" fmla="*/ 487 h 1275"/>
                <a:gd name="T78" fmla="*/ 666 w 732"/>
                <a:gd name="T79" fmla="*/ 566 h 1275"/>
                <a:gd name="T80" fmla="*/ 662 w 732"/>
                <a:gd name="T81" fmla="*/ 645 h 1275"/>
                <a:gd name="T82" fmla="*/ 658 w 732"/>
                <a:gd name="T83" fmla="*/ 723 h 1275"/>
                <a:gd name="T84" fmla="*/ 656 w 732"/>
                <a:gd name="T85" fmla="*/ 802 h 1275"/>
                <a:gd name="T86" fmla="*/ 655 w 732"/>
                <a:gd name="T87" fmla="*/ 880 h 1275"/>
                <a:gd name="T88" fmla="*/ 655 w 732"/>
                <a:gd name="T89" fmla="*/ 959 h 1275"/>
                <a:gd name="T90" fmla="*/ 656 w 732"/>
                <a:gd name="T91" fmla="*/ 1037 h 1275"/>
                <a:gd name="T92" fmla="*/ 658 w 732"/>
                <a:gd name="T93" fmla="*/ 1116 h 1275"/>
                <a:gd name="T94" fmla="*/ 661 w 732"/>
                <a:gd name="T95" fmla="*/ 1196 h 1275"/>
                <a:gd name="T96" fmla="*/ 665 w 732"/>
                <a:gd name="T97" fmla="*/ 1275 h 1275"/>
                <a:gd name="T98" fmla="*/ 0 w 732"/>
                <a:gd name="T99" fmla="*/ 1275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2" h="1275">
                  <a:moveTo>
                    <a:pt x="0" y="1275"/>
                  </a:moveTo>
                  <a:lnTo>
                    <a:pt x="10" y="1230"/>
                  </a:lnTo>
                  <a:lnTo>
                    <a:pt x="22" y="1185"/>
                  </a:lnTo>
                  <a:lnTo>
                    <a:pt x="35" y="1141"/>
                  </a:lnTo>
                  <a:lnTo>
                    <a:pt x="48" y="1097"/>
                  </a:lnTo>
                  <a:lnTo>
                    <a:pt x="61" y="1052"/>
                  </a:lnTo>
                  <a:lnTo>
                    <a:pt x="77" y="1009"/>
                  </a:lnTo>
                  <a:lnTo>
                    <a:pt x="93" y="966"/>
                  </a:lnTo>
                  <a:lnTo>
                    <a:pt x="110" y="922"/>
                  </a:lnTo>
                  <a:lnTo>
                    <a:pt x="127" y="880"/>
                  </a:lnTo>
                  <a:lnTo>
                    <a:pt x="146" y="838"/>
                  </a:lnTo>
                  <a:lnTo>
                    <a:pt x="165" y="796"/>
                  </a:lnTo>
                  <a:lnTo>
                    <a:pt x="185" y="754"/>
                  </a:lnTo>
                  <a:lnTo>
                    <a:pt x="206" y="713"/>
                  </a:lnTo>
                  <a:lnTo>
                    <a:pt x="227" y="672"/>
                  </a:lnTo>
                  <a:lnTo>
                    <a:pt x="250" y="632"/>
                  </a:lnTo>
                  <a:lnTo>
                    <a:pt x="273" y="592"/>
                  </a:lnTo>
                  <a:lnTo>
                    <a:pt x="296" y="551"/>
                  </a:lnTo>
                  <a:lnTo>
                    <a:pt x="321" y="512"/>
                  </a:lnTo>
                  <a:lnTo>
                    <a:pt x="346" y="473"/>
                  </a:lnTo>
                  <a:lnTo>
                    <a:pt x="371" y="434"/>
                  </a:lnTo>
                  <a:lnTo>
                    <a:pt x="398" y="396"/>
                  </a:lnTo>
                  <a:lnTo>
                    <a:pt x="425" y="358"/>
                  </a:lnTo>
                  <a:lnTo>
                    <a:pt x="453" y="320"/>
                  </a:lnTo>
                  <a:lnTo>
                    <a:pt x="482" y="283"/>
                  </a:lnTo>
                  <a:lnTo>
                    <a:pt x="510" y="246"/>
                  </a:lnTo>
                  <a:lnTo>
                    <a:pt x="540" y="210"/>
                  </a:lnTo>
                  <a:lnTo>
                    <a:pt x="571" y="174"/>
                  </a:lnTo>
                  <a:lnTo>
                    <a:pt x="602" y="138"/>
                  </a:lnTo>
                  <a:lnTo>
                    <a:pt x="634" y="103"/>
                  </a:lnTo>
                  <a:lnTo>
                    <a:pt x="666" y="68"/>
                  </a:lnTo>
                  <a:lnTo>
                    <a:pt x="699" y="34"/>
                  </a:lnTo>
                  <a:lnTo>
                    <a:pt x="732" y="0"/>
                  </a:lnTo>
                  <a:lnTo>
                    <a:pt x="718" y="83"/>
                  </a:lnTo>
                  <a:lnTo>
                    <a:pt x="706" y="165"/>
                  </a:lnTo>
                  <a:lnTo>
                    <a:pt x="696" y="246"/>
                  </a:lnTo>
                  <a:lnTo>
                    <a:pt x="687" y="328"/>
                  </a:lnTo>
                  <a:lnTo>
                    <a:pt x="678" y="407"/>
                  </a:lnTo>
                  <a:lnTo>
                    <a:pt x="672" y="487"/>
                  </a:lnTo>
                  <a:lnTo>
                    <a:pt x="666" y="566"/>
                  </a:lnTo>
                  <a:lnTo>
                    <a:pt x="662" y="645"/>
                  </a:lnTo>
                  <a:lnTo>
                    <a:pt x="658" y="723"/>
                  </a:lnTo>
                  <a:lnTo>
                    <a:pt x="656" y="802"/>
                  </a:lnTo>
                  <a:lnTo>
                    <a:pt x="655" y="880"/>
                  </a:lnTo>
                  <a:lnTo>
                    <a:pt x="655" y="959"/>
                  </a:lnTo>
                  <a:lnTo>
                    <a:pt x="656" y="1037"/>
                  </a:lnTo>
                  <a:lnTo>
                    <a:pt x="658" y="1116"/>
                  </a:lnTo>
                  <a:lnTo>
                    <a:pt x="661" y="1196"/>
                  </a:lnTo>
                  <a:lnTo>
                    <a:pt x="665" y="1275"/>
                  </a:lnTo>
                  <a:lnTo>
                    <a:pt x="0" y="127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3" name="Freeform 59"/>
            <p:cNvSpPr>
              <a:spLocks noChangeArrowheads="1"/>
            </p:cNvSpPr>
            <p:nvPr/>
          </p:nvSpPr>
          <p:spPr bwMode="auto">
            <a:xfrm>
              <a:off x="1169988" y="4703724"/>
              <a:ext cx="611187" cy="1676436"/>
            </a:xfrm>
            <a:custGeom>
              <a:avLst/>
              <a:gdLst>
                <a:gd name="T0" fmla="*/ 13 w 1354"/>
                <a:gd name="T1" fmla="*/ 2927 h 3018"/>
                <a:gd name="T2" fmla="*/ 36 w 1354"/>
                <a:gd name="T3" fmla="*/ 2791 h 3018"/>
                <a:gd name="T4" fmla="*/ 61 w 1354"/>
                <a:gd name="T5" fmla="*/ 2658 h 3018"/>
                <a:gd name="T6" fmla="*/ 118 w 1354"/>
                <a:gd name="T7" fmla="*/ 2379 h 3018"/>
                <a:gd name="T8" fmla="*/ 186 w 1354"/>
                <a:gd name="T9" fmla="*/ 2106 h 3018"/>
                <a:gd name="T10" fmla="*/ 264 w 1354"/>
                <a:gd name="T11" fmla="*/ 1838 h 3018"/>
                <a:gd name="T12" fmla="*/ 351 w 1354"/>
                <a:gd name="T13" fmla="*/ 1576 h 3018"/>
                <a:gd name="T14" fmla="*/ 449 w 1354"/>
                <a:gd name="T15" fmla="*/ 1320 h 3018"/>
                <a:gd name="T16" fmla="*/ 557 w 1354"/>
                <a:gd name="T17" fmla="*/ 1073 h 3018"/>
                <a:gd name="T18" fmla="*/ 676 w 1354"/>
                <a:gd name="T19" fmla="*/ 834 h 3018"/>
                <a:gd name="T20" fmla="*/ 805 w 1354"/>
                <a:gd name="T21" fmla="*/ 602 h 3018"/>
                <a:gd name="T22" fmla="*/ 946 w 1354"/>
                <a:gd name="T23" fmla="*/ 380 h 3018"/>
                <a:gd name="T24" fmla="*/ 1097 w 1354"/>
                <a:gd name="T25" fmla="*/ 167 h 3018"/>
                <a:gd name="T26" fmla="*/ 1211 w 1354"/>
                <a:gd name="T27" fmla="*/ 24 h 3018"/>
                <a:gd name="T28" fmla="*/ 1232 w 1354"/>
                <a:gd name="T29" fmla="*/ 9 h 3018"/>
                <a:gd name="T30" fmla="*/ 1255 w 1354"/>
                <a:gd name="T31" fmla="*/ 1 h 3018"/>
                <a:gd name="T32" fmla="*/ 1279 w 1354"/>
                <a:gd name="T33" fmla="*/ 0 h 3018"/>
                <a:gd name="T34" fmla="*/ 1303 w 1354"/>
                <a:gd name="T35" fmla="*/ 6 h 3018"/>
                <a:gd name="T36" fmla="*/ 1325 w 1354"/>
                <a:gd name="T37" fmla="*/ 19 h 3018"/>
                <a:gd name="T38" fmla="*/ 1348 w 1354"/>
                <a:gd name="T39" fmla="*/ 50 h 3018"/>
                <a:gd name="T40" fmla="*/ 1354 w 1354"/>
                <a:gd name="T41" fmla="*/ 87 h 3018"/>
                <a:gd name="T42" fmla="*/ 1350 w 1354"/>
                <a:gd name="T43" fmla="*/ 113 h 3018"/>
                <a:gd name="T44" fmla="*/ 1261 w 1354"/>
                <a:gd name="T45" fmla="*/ 381 h 3018"/>
                <a:gd name="T46" fmla="*/ 1182 w 1354"/>
                <a:gd name="T47" fmla="*/ 639 h 3018"/>
                <a:gd name="T48" fmla="*/ 1112 w 1354"/>
                <a:gd name="T49" fmla="*/ 891 h 3018"/>
                <a:gd name="T50" fmla="*/ 1052 w 1354"/>
                <a:gd name="T51" fmla="*/ 1139 h 3018"/>
                <a:gd name="T52" fmla="*/ 999 w 1354"/>
                <a:gd name="T53" fmla="*/ 1384 h 3018"/>
                <a:gd name="T54" fmla="*/ 953 w 1354"/>
                <a:gd name="T55" fmla="*/ 1632 h 3018"/>
                <a:gd name="T56" fmla="*/ 912 w 1354"/>
                <a:gd name="T57" fmla="*/ 1881 h 3018"/>
                <a:gd name="T58" fmla="*/ 878 w 1354"/>
                <a:gd name="T59" fmla="*/ 2136 h 3018"/>
                <a:gd name="T60" fmla="*/ 847 w 1354"/>
                <a:gd name="T61" fmla="*/ 2397 h 3018"/>
                <a:gd name="T62" fmla="*/ 820 w 1354"/>
                <a:gd name="T63" fmla="*/ 2668 h 3018"/>
                <a:gd name="T64" fmla="*/ 801 w 1354"/>
                <a:gd name="T65" fmla="*/ 2867 h 3018"/>
                <a:gd name="T66" fmla="*/ 787 w 1354"/>
                <a:gd name="T67" fmla="*/ 2899 h 3018"/>
                <a:gd name="T68" fmla="*/ 785 w 1354"/>
                <a:gd name="T69" fmla="*/ 2902 h 3018"/>
                <a:gd name="T70" fmla="*/ 506 w 1354"/>
                <a:gd name="T71" fmla="*/ 2993 h 3018"/>
                <a:gd name="T72" fmla="*/ 561 w 1354"/>
                <a:gd name="T73" fmla="*/ 2917 h 3018"/>
                <a:gd name="T74" fmla="*/ 618 w 1354"/>
                <a:gd name="T75" fmla="*/ 2842 h 3018"/>
                <a:gd name="T76" fmla="*/ 653 w 1354"/>
                <a:gd name="T77" fmla="*/ 2630 h 3018"/>
                <a:gd name="T78" fmla="*/ 680 w 1354"/>
                <a:gd name="T79" fmla="*/ 2361 h 3018"/>
                <a:gd name="T80" fmla="*/ 711 w 1354"/>
                <a:gd name="T81" fmla="*/ 2101 h 3018"/>
                <a:gd name="T82" fmla="*/ 746 w 1354"/>
                <a:gd name="T83" fmla="*/ 1847 h 3018"/>
                <a:gd name="T84" fmla="*/ 786 w 1354"/>
                <a:gd name="T85" fmla="*/ 1599 h 3018"/>
                <a:gd name="T86" fmla="*/ 826 w 1354"/>
                <a:gd name="T87" fmla="*/ 1381 h 3018"/>
                <a:gd name="T88" fmla="*/ 860 w 1354"/>
                <a:gd name="T89" fmla="*/ 1219 h 3018"/>
                <a:gd name="T90" fmla="*/ 897 w 1354"/>
                <a:gd name="T91" fmla="*/ 1057 h 3018"/>
                <a:gd name="T92" fmla="*/ 937 w 1354"/>
                <a:gd name="T93" fmla="*/ 894 h 3018"/>
                <a:gd name="T94" fmla="*/ 981 w 1354"/>
                <a:gd name="T95" fmla="*/ 730 h 3018"/>
                <a:gd name="T96" fmla="*/ 1028 w 1354"/>
                <a:gd name="T97" fmla="*/ 563 h 3018"/>
                <a:gd name="T98" fmla="*/ 921 w 1354"/>
                <a:gd name="T99" fmla="*/ 739 h 3018"/>
                <a:gd name="T100" fmla="*/ 821 w 1354"/>
                <a:gd name="T101" fmla="*/ 920 h 3018"/>
                <a:gd name="T102" fmla="*/ 728 w 1354"/>
                <a:gd name="T103" fmla="*/ 1107 h 3018"/>
                <a:gd name="T104" fmla="*/ 642 w 1354"/>
                <a:gd name="T105" fmla="*/ 1300 h 3018"/>
                <a:gd name="T106" fmla="*/ 561 w 1354"/>
                <a:gd name="T107" fmla="*/ 1496 h 3018"/>
                <a:gd name="T108" fmla="*/ 488 w 1354"/>
                <a:gd name="T109" fmla="*/ 1697 h 3018"/>
                <a:gd name="T110" fmla="*/ 421 w 1354"/>
                <a:gd name="T111" fmla="*/ 1904 h 3018"/>
                <a:gd name="T112" fmla="*/ 360 w 1354"/>
                <a:gd name="T113" fmla="*/ 2113 h 3018"/>
                <a:gd name="T114" fmla="*/ 305 w 1354"/>
                <a:gd name="T115" fmla="*/ 2326 h 3018"/>
                <a:gd name="T116" fmla="*/ 256 w 1354"/>
                <a:gd name="T117" fmla="*/ 2544 h 3018"/>
                <a:gd name="T118" fmla="*/ 219 w 1354"/>
                <a:gd name="T119" fmla="*/ 2730 h 3018"/>
                <a:gd name="T120" fmla="*/ 198 w 1354"/>
                <a:gd name="T121" fmla="*/ 2854 h 3018"/>
                <a:gd name="T122" fmla="*/ 177 w 1354"/>
                <a:gd name="T123" fmla="*/ 2977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54" h="3018">
                  <a:moveTo>
                    <a:pt x="0" y="3018"/>
                  </a:moveTo>
                  <a:lnTo>
                    <a:pt x="7" y="2973"/>
                  </a:lnTo>
                  <a:lnTo>
                    <a:pt x="13" y="2927"/>
                  </a:lnTo>
                  <a:lnTo>
                    <a:pt x="21" y="2882"/>
                  </a:lnTo>
                  <a:lnTo>
                    <a:pt x="29" y="2837"/>
                  </a:lnTo>
                  <a:lnTo>
                    <a:pt x="36" y="2791"/>
                  </a:lnTo>
                  <a:lnTo>
                    <a:pt x="44" y="2747"/>
                  </a:lnTo>
                  <a:lnTo>
                    <a:pt x="53" y="2703"/>
                  </a:lnTo>
                  <a:lnTo>
                    <a:pt x="61" y="2658"/>
                  </a:lnTo>
                  <a:lnTo>
                    <a:pt x="79" y="2564"/>
                  </a:lnTo>
                  <a:lnTo>
                    <a:pt x="98" y="2472"/>
                  </a:lnTo>
                  <a:lnTo>
                    <a:pt x="118" y="2379"/>
                  </a:lnTo>
                  <a:lnTo>
                    <a:pt x="140" y="2287"/>
                  </a:lnTo>
                  <a:lnTo>
                    <a:pt x="163" y="2196"/>
                  </a:lnTo>
                  <a:lnTo>
                    <a:pt x="186" y="2106"/>
                  </a:lnTo>
                  <a:lnTo>
                    <a:pt x="211" y="2015"/>
                  </a:lnTo>
                  <a:lnTo>
                    <a:pt x="237" y="1926"/>
                  </a:lnTo>
                  <a:lnTo>
                    <a:pt x="264" y="1838"/>
                  </a:lnTo>
                  <a:lnTo>
                    <a:pt x="293" y="1749"/>
                  </a:lnTo>
                  <a:lnTo>
                    <a:pt x="321" y="1662"/>
                  </a:lnTo>
                  <a:lnTo>
                    <a:pt x="351" y="1576"/>
                  </a:lnTo>
                  <a:lnTo>
                    <a:pt x="383" y="1490"/>
                  </a:lnTo>
                  <a:lnTo>
                    <a:pt x="415" y="1405"/>
                  </a:lnTo>
                  <a:lnTo>
                    <a:pt x="449" y="1320"/>
                  </a:lnTo>
                  <a:lnTo>
                    <a:pt x="484" y="1237"/>
                  </a:lnTo>
                  <a:lnTo>
                    <a:pt x="520" y="1154"/>
                  </a:lnTo>
                  <a:lnTo>
                    <a:pt x="557" y="1073"/>
                  </a:lnTo>
                  <a:lnTo>
                    <a:pt x="595" y="992"/>
                  </a:lnTo>
                  <a:lnTo>
                    <a:pt x="634" y="912"/>
                  </a:lnTo>
                  <a:lnTo>
                    <a:pt x="676" y="834"/>
                  </a:lnTo>
                  <a:lnTo>
                    <a:pt x="717" y="755"/>
                  </a:lnTo>
                  <a:lnTo>
                    <a:pt x="760" y="678"/>
                  </a:lnTo>
                  <a:lnTo>
                    <a:pt x="805" y="602"/>
                  </a:lnTo>
                  <a:lnTo>
                    <a:pt x="851" y="526"/>
                  </a:lnTo>
                  <a:lnTo>
                    <a:pt x="897" y="452"/>
                  </a:lnTo>
                  <a:lnTo>
                    <a:pt x="946" y="380"/>
                  </a:lnTo>
                  <a:lnTo>
                    <a:pt x="995" y="308"/>
                  </a:lnTo>
                  <a:lnTo>
                    <a:pt x="1045" y="237"/>
                  </a:lnTo>
                  <a:lnTo>
                    <a:pt x="1097" y="167"/>
                  </a:lnTo>
                  <a:lnTo>
                    <a:pt x="1151" y="99"/>
                  </a:lnTo>
                  <a:lnTo>
                    <a:pt x="1205" y="31"/>
                  </a:lnTo>
                  <a:lnTo>
                    <a:pt x="1211" y="24"/>
                  </a:lnTo>
                  <a:lnTo>
                    <a:pt x="1217" y="18"/>
                  </a:lnTo>
                  <a:lnTo>
                    <a:pt x="1224" y="13"/>
                  </a:lnTo>
                  <a:lnTo>
                    <a:pt x="1232" y="9"/>
                  </a:lnTo>
                  <a:lnTo>
                    <a:pt x="1239" y="6"/>
                  </a:lnTo>
                  <a:lnTo>
                    <a:pt x="1246" y="3"/>
                  </a:lnTo>
                  <a:lnTo>
                    <a:pt x="1255" y="1"/>
                  </a:lnTo>
                  <a:lnTo>
                    <a:pt x="1263" y="0"/>
                  </a:lnTo>
                  <a:lnTo>
                    <a:pt x="1271" y="0"/>
                  </a:lnTo>
                  <a:lnTo>
                    <a:pt x="1279" y="0"/>
                  </a:lnTo>
                  <a:lnTo>
                    <a:pt x="1286" y="2"/>
                  </a:lnTo>
                  <a:lnTo>
                    <a:pt x="1295" y="3"/>
                  </a:lnTo>
                  <a:lnTo>
                    <a:pt x="1303" y="6"/>
                  </a:lnTo>
                  <a:lnTo>
                    <a:pt x="1310" y="10"/>
                  </a:lnTo>
                  <a:lnTo>
                    <a:pt x="1317" y="14"/>
                  </a:lnTo>
                  <a:lnTo>
                    <a:pt x="1325" y="19"/>
                  </a:lnTo>
                  <a:lnTo>
                    <a:pt x="1334" y="29"/>
                  </a:lnTo>
                  <a:lnTo>
                    <a:pt x="1342" y="39"/>
                  </a:lnTo>
                  <a:lnTo>
                    <a:pt x="1348" y="50"/>
                  </a:lnTo>
                  <a:lnTo>
                    <a:pt x="1352" y="63"/>
                  </a:lnTo>
                  <a:lnTo>
                    <a:pt x="1354" y="75"/>
                  </a:lnTo>
                  <a:lnTo>
                    <a:pt x="1354" y="87"/>
                  </a:lnTo>
                  <a:lnTo>
                    <a:pt x="1353" y="101"/>
                  </a:lnTo>
                  <a:lnTo>
                    <a:pt x="1350" y="113"/>
                  </a:lnTo>
                  <a:lnTo>
                    <a:pt x="1319" y="204"/>
                  </a:lnTo>
                  <a:lnTo>
                    <a:pt x="1290" y="292"/>
                  </a:lnTo>
                  <a:lnTo>
                    <a:pt x="1261" y="381"/>
                  </a:lnTo>
                  <a:lnTo>
                    <a:pt x="1234" y="468"/>
                  </a:lnTo>
                  <a:lnTo>
                    <a:pt x="1207" y="554"/>
                  </a:lnTo>
                  <a:lnTo>
                    <a:pt x="1182" y="639"/>
                  </a:lnTo>
                  <a:lnTo>
                    <a:pt x="1158" y="723"/>
                  </a:lnTo>
                  <a:lnTo>
                    <a:pt x="1135" y="808"/>
                  </a:lnTo>
                  <a:lnTo>
                    <a:pt x="1112" y="891"/>
                  </a:lnTo>
                  <a:lnTo>
                    <a:pt x="1092" y="974"/>
                  </a:lnTo>
                  <a:lnTo>
                    <a:pt x="1071" y="1056"/>
                  </a:lnTo>
                  <a:lnTo>
                    <a:pt x="1052" y="1139"/>
                  </a:lnTo>
                  <a:lnTo>
                    <a:pt x="1033" y="1221"/>
                  </a:lnTo>
                  <a:lnTo>
                    <a:pt x="1016" y="1303"/>
                  </a:lnTo>
                  <a:lnTo>
                    <a:pt x="999" y="1384"/>
                  </a:lnTo>
                  <a:lnTo>
                    <a:pt x="983" y="1467"/>
                  </a:lnTo>
                  <a:lnTo>
                    <a:pt x="967" y="1549"/>
                  </a:lnTo>
                  <a:lnTo>
                    <a:pt x="953" y="1632"/>
                  </a:lnTo>
                  <a:lnTo>
                    <a:pt x="938" y="1714"/>
                  </a:lnTo>
                  <a:lnTo>
                    <a:pt x="925" y="1797"/>
                  </a:lnTo>
                  <a:lnTo>
                    <a:pt x="912" y="1881"/>
                  </a:lnTo>
                  <a:lnTo>
                    <a:pt x="900" y="1966"/>
                  </a:lnTo>
                  <a:lnTo>
                    <a:pt x="888" y="2050"/>
                  </a:lnTo>
                  <a:lnTo>
                    <a:pt x="878" y="2136"/>
                  </a:lnTo>
                  <a:lnTo>
                    <a:pt x="866" y="2222"/>
                  </a:lnTo>
                  <a:lnTo>
                    <a:pt x="856" y="2309"/>
                  </a:lnTo>
                  <a:lnTo>
                    <a:pt x="847" y="2397"/>
                  </a:lnTo>
                  <a:lnTo>
                    <a:pt x="837" y="2486"/>
                  </a:lnTo>
                  <a:lnTo>
                    <a:pt x="828" y="2577"/>
                  </a:lnTo>
                  <a:lnTo>
                    <a:pt x="820" y="2668"/>
                  </a:lnTo>
                  <a:lnTo>
                    <a:pt x="812" y="2760"/>
                  </a:lnTo>
                  <a:lnTo>
                    <a:pt x="803" y="2854"/>
                  </a:lnTo>
                  <a:lnTo>
                    <a:pt x="801" y="2867"/>
                  </a:lnTo>
                  <a:lnTo>
                    <a:pt x="798" y="2879"/>
                  </a:lnTo>
                  <a:lnTo>
                    <a:pt x="793" y="2889"/>
                  </a:lnTo>
                  <a:lnTo>
                    <a:pt x="787" y="2899"/>
                  </a:lnTo>
                  <a:lnTo>
                    <a:pt x="786" y="2900"/>
                  </a:lnTo>
                  <a:lnTo>
                    <a:pt x="785" y="2902"/>
                  </a:lnTo>
                  <a:lnTo>
                    <a:pt x="698" y="3018"/>
                  </a:lnTo>
                  <a:lnTo>
                    <a:pt x="487" y="3018"/>
                  </a:lnTo>
                  <a:lnTo>
                    <a:pt x="506" y="2993"/>
                  </a:lnTo>
                  <a:lnTo>
                    <a:pt x="524" y="2967"/>
                  </a:lnTo>
                  <a:lnTo>
                    <a:pt x="543" y="2943"/>
                  </a:lnTo>
                  <a:lnTo>
                    <a:pt x="561" y="2917"/>
                  </a:lnTo>
                  <a:lnTo>
                    <a:pt x="581" y="2892"/>
                  </a:lnTo>
                  <a:lnTo>
                    <a:pt x="599" y="2867"/>
                  </a:lnTo>
                  <a:lnTo>
                    <a:pt x="618" y="2842"/>
                  </a:lnTo>
                  <a:lnTo>
                    <a:pt x="637" y="2817"/>
                  </a:lnTo>
                  <a:lnTo>
                    <a:pt x="645" y="2723"/>
                  </a:lnTo>
                  <a:lnTo>
                    <a:pt x="653" y="2630"/>
                  </a:lnTo>
                  <a:lnTo>
                    <a:pt x="662" y="2540"/>
                  </a:lnTo>
                  <a:lnTo>
                    <a:pt x="671" y="2450"/>
                  </a:lnTo>
                  <a:lnTo>
                    <a:pt x="680" y="2361"/>
                  </a:lnTo>
                  <a:lnTo>
                    <a:pt x="690" y="2273"/>
                  </a:lnTo>
                  <a:lnTo>
                    <a:pt x="700" y="2186"/>
                  </a:lnTo>
                  <a:lnTo>
                    <a:pt x="711" y="2101"/>
                  </a:lnTo>
                  <a:lnTo>
                    <a:pt x="722" y="2015"/>
                  </a:lnTo>
                  <a:lnTo>
                    <a:pt x="733" y="1930"/>
                  </a:lnTo>
                  <a:lnTo>
                    <a:pt x="746" y="1847"/>
                  </a:lnTo>
                  <a:lnTo>
                    <a:pt x="759" y="1763"/>
                  </a:lnTo>
                  <a:lnTo>
                    <a:pt x="771" y="1681"/>
                  </a:lnTo>
                  <a:lnTo>
                    <a:pt x="786" y="1599"/>
                  </a:lnTo>
                  <a:lnTo>
                    <a:pt x="800" y="1517"/>
                  </a:lnTo>
                  <a:lnTo>
                    <a:pt x="816" y="1435"/>
                  </a:lnTo>
                  <a:lnTo>
                    <a:pt x="826" y="1381"/>
                  </a:lnTo>
                  <a:lnTo>
                    <a:pt x="837" y="1327"/>
                  </a:lnTo>
                  <a:lnTo>
                    <a:pt x="849" y="1273"/>
                  </a:lnTo>
                  <a:lnTo>
                    <a:pt x="860" y="1219"/>
                  </a:lnTo>
                  <a:lnTo>
                    <a:pt x="871" y="1166"/>
                  </a:lnTo>
                  <a:lnTo>
                    <a:pt x="884" y="1112"/>
                  </a:lnTo>
                  <a:lnTo>
                    <a:pt x="897" y="1057"/>
                  </a:lnTo>
                  <a:lnTo>
                    <a:pt x="909" y="1003"/>
                  </a:lnTo>
                  <a:lnTo>
                    <a:pt x="923" y="949"/>
                  </a:lnTo>
                  <a:lnTo>
                    <a:pt x="937" y="894"/>
                  </a:lnTo>
                  <a:lnTo>
                    <a:pt x="951" y="840"/>
                  </a:lnTo>
                  <a:lnTo>
                    <a:pt x="965" y="785"/>
                  </a:lnTo>
                  <a:lnTo>
                    <a:pt x="981" y="730"/>
                  </a:lnTo>
                  <a:lnTo>
                    <a:pt x="996" y="675"/>
                  </a:lnTo>
                  <a:lnTo>
                    <a:pt x="1011" y="619"/>
                  </a:lnTo>
                  <a:lnTo>
                    <a:pt x="1028" y="563"/>
                  </a:lnTo>
                  <a:lnTo>
                    <a:pt x="992" y="621"/>
                  </a:lnTo>
                  <a:lnTo>
                    <a:pt x="956" y="680"/>
                  </a:lnTo>
                  <a:lnTo>
                    <a:pt x="921" y="739"/>
                  </a:lnTo>
                  <a:lnTo>
                    <a:pt x="887" y="799"/>
                  </a:lnTo>
                  <a:lnTo>
                    <a:pt x="854" y="859"/>
                  </a:lnTo>
                  <a:lnTo>
                    <a:pt x="821" y="920"/>
                  </a:lnTo>
                  <a:lnTo>
                    <a:pt x="789" y="982"/>
                  </a:lnTo>
                  <a:lnTo>
                    <a:pt x="758" y="1044"/>
                  </a:lnTo>
                  <a:lnTo>
                    <a:pt x="728" y="1107"/>
                  </a:lnTo>
                  <a:lnTo>
                    <a:pt x="698" y="1171"/>
                  </a:lnTo>
                  <a:lnTo>
                    <a:pt x="669" y="1235"/>
                  </a:lnTo>
                  <a:lnTo>
                    <a:pt x="642" y="1300"/>
                  </a:lnTo>
                  <a:lnTo>
                    <a:pt x="614" y="1365"/>
                  </a:lnTo>
                  <a:lnTo>
                    <a:pt x="587" y="1429"/>
                  </a:lnTo>
                  <a:lnTo>
                    <a:pt x="561" y="1496"/>
                  </a:lnTo>
                  <a:lnTo>
                    <a:pt x="537" y="1562"/>
                  </a:lnTo>
                  <a:lnTo>
                    <a:pt x="512" y="1629"/>
                  </a:lnTo>
                  <a:lnTo>
                    <a:pt x="488" y="1697"/>
                  </a:lnTo>
                  <a:lnTo>
                    <a:pt x="465" y="1766"/>
                  </a:lnTo>
                  <a:lnTo>
                    <a:pt x="443" y="1835"/>
                  </a:lnTo>
                  <a:lnTo>
                    <a:pt x="421" y="1904"/>
                  </a:lnTo>
                  <a:lnTo>
                    <a:pt x="400" y="1973"/>
                  </a:lnTo>
                  <a:lnTo>
                    <a:pt x="380" y="2043"/>
                  </a:lnTo>
                  <a:lnTo>
                    <a:pt x="360" y="2113"/>
                  </a:lnTo>
                  <a:lnTo>
                    <a:pt x="341" y="2184"/>
                  </a:lnTo>
                  <a:lnTo>
                    <a:pt x="322" y="2255"/>
                  </a:lnTo>
                  <a:lnTo>
                    <a:pt x="305" y="2326"/>
                  </a:lnTo>
                  <a:lnTo>
                    <a:pt x="288" y="2398"/>
                  </a:lnTo>
                  <a:lnTo>
                    <a:pt x="272" y="2471"/>
                  </a:lnTo>
                  <a:lnTo>
                    <a:pt x="256" y="2544"/>
                  </a:lnTo>
                  <a:lnTo>
                    <a:pt x="241" y="2616"/>
                  </a:lnTo>
                  <a:lnTo>
                    <a:pt x="227" y="2689"/>
                  </a:lnTo>
                  <a:lnTo>
                    <a:pt x="219" y="2730"/>
                  </a:lnTo>
                  <a:lnTo>
                    <a:pt x="212" y="2772"/>
                  </a:lnTo>
                  <a:lnTo>
                    <a:pt x="205" y="2813"/>
                  </a:lnTo>
                  <a:lnTo>
                    <a:pt x="198" y="2854"/>
                  </a:lnTo>
                  <a:lnTo>
                    <a:pt x="191" y="2895"/>
                  </a:lnTo>
                  <a:lnTo>
                    <a:pt x="183" y="2936"/>
                  </a:lnTo>
                  <a:lnTo>
                    <a:pt x="177" y="2977"/>
                  </a:lnTo>
                  <a:lnTo>
                    <a:pt x="171" y="3018"/>
                  </a:lnTo>
                  <a:lnTo>
                    <a:pt x="0" y="30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4" name="Freeform 60"/>
            <p:cNvSpPr>
              <a:spLocks noChangeArrowheads="1"/>
            </p:cNvSpPr>
            <p:nvPr/>
          </p:nvSpPr>
          <p:spPr bwMode="auto">
            <a:xfrm>
              <a:off x="1206500" y="4756113"/>
              <a:ext cx="531813" cy="1624047"/>
            </a:xfrm>
            <a:custGeom>
              <a:avLst/>
              <a:gdLst>
                <a:gd name="T0" fmla="*/ 17 w 1185"/>
                <a:gd name="T1" fmla="*/ 2828 h 2933"/>
                <a:gd name="T2" fmla="*/ 53 w 1185"/>
                <a:gd name="T3" fmla="*/ 2621 h 2933"/>
                <a:gd name="T4" fmla="*/ 94 w 1185"/>
                <a:gd name="T5" fmla="*/ 2414 h 2933"/>
                <a:gd name="T6" fmla="*/ 140 w 1185"/>
                <a:gd name="T7" fmla="*/ 2212 h 2933"/>
                <a:gd name="T8" fmla="*/ 191 w 1185"/>
                <a:gd name="T9" fmla="*/ 2012 h 2933"/>
                <a:gd name="T10" fmla="*/ 248 w 1185"/>
                <a:gd name="T11" fmla="*/ 1816 h 2933"/>
                <a:gd name="T12" fmla="*/ 311 w 1185"/>
                <a:gd name="T13" fmla="*/ 1623 h 2933"/>
                <a:gd name="T14" fmla="*/ 377 w 1185"/>
                <a:gd name="T15" fmla="*/ 1433 h 2933"/>
                <a:gd name="T16" fmla="*/ 451 w 1185"/>
                <a:gd name="T17" fmla="*/ 1248 h 2933"/>
                <a:gd name="T18" fmla="*/ 529 w 1185"/>
                <a:gd name="T19" fmla="*/ 1066 h 2933"/>
                <a:gd name="T20" fmla="*/ 613 w 1185"/>
                <a:gd name="T21" fmla="*/ 889 h 2933"/>
                <a:gd name="T22" fmla="*/ 704 w 1185"/>
                <a:gd name="T23" fmla="*/ 716 h 2933"/>
                <a:gd name="T24" fmla="*/ 800 w 1185"/>
                <a:gd name="T25" fmla="*/ 548 h 2933"/>
                <a:gd name="T26" fmla="*/ 903 w 1185"/>
                <a:gd name="T27" fmla="*/ 385 h 2933"/>
                <a:gd name="T28" fmla="*/ 1011 w 1185"/>
                <a:gd name="T29" fmla="*/ 227 h 2933"/>
                <a:gd name="T30" fmla="*/ 1125 w 1185"/>
                <a:gd name="T31" fmla="*/ 74 h 2933"/>
                <a:gd name="T32" fmla="*/ 1154 w 1185"/>
                <a:gd name="T33" fmla="*/ 91 h 2933"/>
                <a:gd name="T34" fmla="*/ 1095 w 1185"/>
                <a:gd name="T35" fmla="*/ 270 h 2933"/>
                <a:gd name="T36" fmla="*/ 1041 w 1185"/>
                <a:gd name="T37" fmla="*/ 445 h 2933"/>
                <a:gd name="T38" fmla="*/ 991 w 1185"/>
                <a:gd name="T39" fmla="*/ 616 h 2933"/>
                <a:gd name="T40" fmla="*/ 946 w 1185"/>
                <a:gd name="T41" fmla="*/ 785 h 2933"/>
                <a:gd name="T42" fmla="*/ 904 w 1185"/>
                <a:gd name="T43" fmla="*/ 952 h 2933"/>
                <a:gd name="T44" fmla="*/ 866 w 1185"/>
                <a:gd name="T45" fmla="*/ 1118 h 2933"/>
                <a:gd name="T46" fmla="*/ 831 w 1185"/>
                <a:gd name="T47" fmla="*/ 1283 h 2933"/>
                <a:gd name="T48" fmla="*/ 799 w 1185"/>
                <a:gd name="T49" fmla="*/ 1449 h 2933"/>
                <a:gd name="T50" fmla="*/ 770 w 1185"/>
                <a:gd name="T51" fmla="*/ 1615 h 2933"/>
                <a:gd name="T52" fmla="*/ 743 w 1185"/>
                <a:gd name="T53" fmla="*/ 1783 h 2933"/>
                <a:gd name="T54" fmla="*/ 719 w 1185"/>
                <a:gd name="T55" fmla="*/ 1953 h 2933"/>
                <a:gd name="T56" fmla="*/ 698 w 1185"/>
                <a:gd name="T57" fmla="*/ 2125 h 2933"/>
                <a:gd name="T58" fmla="*/ 677 w 1185"/>
                <a:gd name="T59" fmla="*/ 2302 h 2933"/>
                <a:gd name="T60" fmla="*/ 650 w 1185"/>
                <a:gd name="T61" fmla="*/ 2574 h 2933"/>
                <a:gd name="T62" fmla="*/ 507 w 1185"/>
                <a:gd name="T63" fmla="*/ 2933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85" h="2933">
                  <a:moveTo>
                    <a:pt x="0" y="2933"/>
                  </a:moveTo>
                  <a:lnTo>
                    <a:pt x="17" y="2828"/>
                  </a:lnTo>
                  <a:lnTo>
                    <a:pt x="34" y="2724"/>
                  </a:lnTo>
                  <a:lnTo>
                    <a:pt x="53" y="2621"/>
                  </a:lnTo>
                  <a:lnTo>
                    <a:pt x="73" y="2518"/>
                  </a:lnTo>
                  <a:lnTo>
                    <a:pt x="94" y="2414"/>
                  </a:lnTo>
                  <a:lnTo>
                    <a:pt x="116" y="2313"/>
                  </a:lnTo>
                  <a:lnTo>
                    <a:pt x="140" y="2212"/>
                  </a:lnTo>
                  <a:lnTo>
                    <a:pt x="165" y="2111"/>
                  </a:lnTo>
                  <a:lnTo>
                    <a:pt x="191" y="2012"/>
                  </a:lnTo>
                  <a:lnTo>
                    <a:pt x="219" y="1913"/>
                  </a:lnTo>
                  <a:lnTo>
                    <a:pt x="248" y="1816"/>
                  </a:lnTo>
                  <a:lnTo>
                    <a:pt x="279" y="1719"/>
                  </a:lnTo>
                  <a:lnTo>
                    <a:pt x="311" y="1623"/>
                  </a:lnTo>
                  <a:lnTo>
                    <a:pt x="343" y="1528"/>
                  </a:lnTo>
                  <a:lnTo>
                    <a:pt x="377" y="1433"/>
                  </a:lnTo>
                  <a:lnTo>
                    <a:pt x="414" y="1339"/>
                  </a:lnTo>
                  <a:lnTo>
                    <a:pt x="451" y="1248"/>
                  </a:lnTo>
                  <a:lnTo>
                    <a:pt x="489" y="1156"/>
                  </a:lnTo>
                  <a:lnTo>
                    <a:pt x="529" y="1066"/>
                  </a:lnTo>
                  <a:lnTo>
                    <a:pt x="571" y="976"/>
                  </a:lnTo>
                  <a:lnTo>
                    <a:pt x="613" y="889"/>
                  </a:lnTo>
                  <a:lnTo>
                    <a:pt x="658" y="801"/>
                  </a:lnTo>
                  <a:lnTo>
                    <a:pt x="704" y="716"/>
                  </a:lnTo>
                  <a:lnTo>
                    <a:pt x="751" y="631"/>
                  </a:lnTo>
                  <a:lnTo>
                    <a:pt x="800" y="548"/>
                  </a:lnTo>
                  <a:lnTo>
                    <a:pt x="850" y="465"/>
                  </a:lnTo>
                  <a:lnTo>
                    <a:pt x="903" y="385"/>
                  </a:lnTo>
                  <a:lnTo>
                    <a:pt x="956" y="305"/>
                  </a:lnTo>
                  <a:lnTo>
                    <a:pt x="1011" y="227"/>
                  </a:lnTo>
                  <a:lnTo>
                    <a:pt x="1068" y="150"/>
                  </a:lnTo>
                  <a:lnTo>
                    <a:pt x="1125" y="74"/>
                  </a:lnTo>
                  <a:lnTo>
                    <a:pt x="1185" y="0"/>
                  </a:lnTo>
                  <a:lnTo>
                    <a:pt x="1154" y="91"/>
                  </a:lnTo>
                  <a:lnTo>
                    <a:pt x="1124" y="181"/>
                  </a:lnTo>
                  <a:lnTo>
                    <a:pt x="1095" y="270"/>
                  </a:lnTo>
                  <a:lnTo>
                    <a:pt x="1068" y="358"/>
                  </a:lnTo>
                  <a:lnTo>
                    <a:pt x="1041" y="445"/>
                  </a:lnTo>
                  <a:lnTo>
                    <a:pt x="1016" y="531"/>
                  </a:lnTo>
                  <a:lnTo>
                    <a:pt x="991" y="616"/>
                  </a:lnTo>
                  <a:lnTo>
                    <a:pt x="968" y="701"/>
                  </a:lnTo>
                  <a:lnTo>
                    <a:pt x="946" y="785"/>
                  </a:lnTo>
                  <a:lnTo>
                    <a:pt x="924" y="868"/>
                  </a:lnTo>
                  <a:lnTo>
                    <a:pt x="904" y="952"/>
                  </a:lnTo>
                  <a:lnTo>
                    <a:pt x="884" y="1035"/>
                  </a:lnTo>
                  <a:lnTo>
                    <a:pt x="866" y="1118"/>
                  </a:lnTo>
                  <a:lnTo>
                    <a:pt x="847" y="1200"/>
                  </a:lnTo>
                  <a:lnTo>
                    <a:pt x="831" y="1283"/>
                  </a:lnTo>
                  <a:lnTo>
                    <a:pt x="814" y="1365"/>
                  </a:lnTo>
                  <a:lnTo>
                    <a:pt x="799" y="1449"/>
                  </a:lnTo>
                  <a:lnTo>
                    <a:pt x="783" y="1531"/>
                  </a:lnTo>
                  <a:lnTo>
                    <a:pt x="770" y="1615"/>
                  </a:lnTo>
                  <a:lnTo>
                    <a:pt x="757" y="1698"/>
                  </a:lnTo>
                  <a:lnTo>
                    <a:pt x="743" y="1783"/>
                  </a:lnTo>
                  <a:lnTo>
                    <a:pt x="731" y="1867"/>
                  </a:lnTo>
                  <a:lnTo>
                    <a:pt x="719" y="1953"/>
                  </a:lnTo>
                  <a:lnTo>
                    <a:pt x="708" y="2038"/>
                  </a:lnTo>
                  <a:lnTo>
                    <a:pt x="698" y="2125"/>
                  </a:lnTo>
                  <a:lnTo>
                    <a:pt x="687" y="2213"/>
                  </a:lnTo>
                  <a:lnTo>
                    <a:pt x="677" y="2302"/>
                  </a:lnTo>
                  <a:lnTo>
                    <a:pt x="668" y="2392"/>
                  </a:lnTo>
                  <a:lnTo>
                    <a:pt x="650" y="2574"/>
                  </a:lnTo>
                  <a:lnTo>
                    <a:pt x="634" y="2763"/>
                  </a:lnTo>
                  <a:lnTo>
                    <a:pt x="507" y="2933"/>
                  </a:lnTo>
                  <a:lnTo>
                    <a:pt x="0" y="29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5" name="Freeform 61"/>
            <p:cNvSpPr>
              <a:spLocks noChangeArrowheads="1"/>
            </p:cNvSpPr>
            <p:nvPr/>
          </p:nvSpPr>
          <p:spPr bwMode="auto">
            <a:xfrm>
              <a:off x="939800" y="3079677"/>
              <a:ext cx="1454150" cy="2457502"/>
            </a:xfrm>
            <a:custGeom>
              <a:avLst/>
              <a:gdLst>
                <a:gd name="T0" fmla="*/ 143 w 3223"/>
                <a:gd name="T1" fmla="*/ 3169 h 4423"/>
                <a:gd name="T2" fmla="*/ 410 w 3223"/>
                <a:gd name="T3" fmla="*/ 2728 h 4423"/>
                <a:gd name="T4" fmla="*/ 694 w 3223"/>
                <a:gd name="T5" fmla="*/ 2299 h 4423"/>
                <a:gd name="T6" fmla="*/ 1066 w 3223"/>
                <a:gd name="T7" fmla="*/ 1794 h 4423"/>
                <a:gd name="T8" fmla="*/ 1476 w 3223"/>
                <a:gd name="T9" fmla="*/ 1306 h 4423"/>
                <a:gd name="T10" fmla="*/ 1910 w 3223"/>
                <a:gd name="T11" fmla="*/ 866 h 4423"/>
                <a:gd name="T12" fmla="*/ 2367 w 3223"/>
                <a:gd name="T13" fmla="*/ 477 h 4423"/>
                <a:gd name="T14" fmla="*/ 2848 w 3223"/>
                <a:gd name="T15" fmla="*/ 148 h 4423"/>
                <a:gd name="T16" fmla="*/ 3122 w 3223"/>
                <a:gd name="T17" fmla="*/ 1 h 4423"/>
                <a:gd name="T18" fmla="*/ 3170 w 3223"/>
                <a:gd name="T19" fmla="*/ 6 h 4423"/>
                <a:gd name="T20" fmla="*/ 3209 w 3223"/>
                <a:gd name="T21" fmla="*/ 38 h 4423"/>
                <a:gd name="T22" fmla="*/ 3223 w 3223"/>
                <a:gd name="T23" fmla="*/ 84 h 4423"/>
                <a:gd name="T24" fmla="*/ 3203 w 3223"/>
                <a:gd name="T25" fmla="*/ 139 h 4423"/>
                <a:gd name="T26" fmla="*/ 2915 w 3223"/>
                <a:gd name="T27" fmla="*/ 456 h 4423"/>
                <a:gd name="T28" fmla="*/ 2537 w 3223"/>
                <a:gd name="T29" fmla="*/ 911 h 4423"/>
                <a:gd name="T30" fmla="*/ 2201 w 3223"/>
                <a:gd name="T31" fmla="*/ 1371 h 4423"/>
                <a:gd name="T32" fmla="*/ 1894 w 3223"/>
                <a:gd name="T33" fmla="*/ 1851 h 4423"/>
                <a:gd name="T34" fmla="*/ 1597 w 3223"/>
                <a:gd name="T35" fmla="*/ 2373 h 4423"/>
                <a:gd name="T36" fmla="*/ 1331 w 3223"/>
                <a:gd name="T37" fmla="*/ 2995 h 4423"/>
                <a:gd name="T38" fmla="*/ 1155 w 3223"/>
                <a:gd name="T39" fmla="*/ 3591 h 4423"/>
                <a:gd name="T40" fmla="*/ 999 w 3223"/>
                <a:gd name="T41" fmla="*/ 4009 h 4423"/>
                <a:gd name="T42" fmla="*/ 860 w 3223"/>
                <a:gd name="T43" fmla="*/ 4271 h 4423"/>
                <a:gd name="T44" fmla="*/ 737 w 3223"/>
                <a:gd name="T45" fmla="*/ 4400 h 4423"/>
                <a:gd name="T46" fmla="*/ 626 w 3223"/>
                <a:gd name="T47" fmla="*/ 4419 h 4423"/>
                <a:gd name="T48" fmla="*/ 564 w 3223"/>
                <a:gd name="T49" fmla="*/ 4389 h 4423"/>
                <a:gd name="T50" fmla="*/ 500 w 3223"/>
                <a:gd name="T51" fmla="*/ 4320 h 4423"/>
                <a:gd name="T52" fmla="*/ 436 w 3223"/>
                <a:gd name="T53" fmla="*/ 4207 h 4423"/>
                <a:gd name="T54" fmla="*/ 310 w 3223"/>
                <a:gd name="T55" fmla="*/ 3867 h 4423"/>
                <a:gd name="T56" fmla="*/ 216 w 3223"/>
                <a:gd name="T57" fmla="*/ 3622 h 4423"/>
                <a:gd name="T58" fmla="*/ 164 w 3223"/>
                <a:gd name="T59" fmla="*/ 3534 h 4423"/>
                <a:gd name="T60" fmla="*/ 132 w 3223"/>
                <a:gd name="T61" fmla="*/ 3515 h 4423"/>
                <a:gd name="T62" fmla="*/ 90 w 3223"/>
                <a:gd name="T63" fmla="*/ 3529 h 4423"/>
                <a:gd name="T64" fmla="*/ 42 w 3223"/>
                <a:gd name="T65" fmla="*/ 3517 h 4423"/>
                <a:gd name="T66" fmla="*/ 7 w 3223"/>
                <a:gd name="T67" fmla="*/ 3476 h 4423"/>
                <a:gd name="T68" fmla="*/ 7 w 3223"/>
                <a:gd name="T69" fmla="*/ 3411 h 4423"/>
                <a:gd name="T70" fmla="*/ 402 w 3223"/>
                <a:gd name="T71" fmla="*/ 3067 h 4423"/>
                <a:gd name="T72" fmla="*/ 244 w 3223"/>
                <a:gd name="T73" fmla="*/ 3373 h 4423"/>
                <a:gd name="T74" fmla="*/ 324 w 3223"/>
                <a:gd name="T75" fmla="*/ 3464 h 4423"/>
                <a:gd name="T76" fmla="*/ 398 w 3223"/>
                <a:gd name="T77" fmla="*/ 3609 h 4423"/>
                <a:gd name="T78" fmla="*/ 513 w 3223"/>
                <a:gd name="T79" fmla="*/ 3933 h 4423"/>
                <a:gd name="T80" fmla="*/ 594 w 3223"/>
                <a:gd name="T81" fmla="*/ 4150 h 4423"/>
                <a:gd name="T82" fmla="*/ 643 w 3223"/>
                <a:gd name="T83" fmla="*/ 4235 h 4423"/>
                <a:gd name="T84" fmla="*/ 668 w 3223"/>
                <a:gd name="T85" fmla="*/ 4253 h 4423"/>
                <a:gd name="T86" fmla="*/ 716 w 3223"/>
                <a:gd name="T87" fmla="*/ 4236 h 4423"/>
                <a:gd name="T88" fmla="*/ 789 w 3223"/>
                <a:gd name="T89" fmla="*/ 4127 h 4423"/>
                <a:gd name="T90" fmla="*/ 883 w 3223"/>
                <a:gd name="T91" fmla="*/ 3903 h 4423"/>
                <a:gd name="T92" fmla="*/ 1070 w 3223"/>
                <a:gd name="T93" fmla="*/ 3305 h 4423"/>
                <a:gd name="T94" fmla="*/ 1291 w 3223"/>
                <a:gd name="T95" fmla="*/ 2582 h 4423"/>
                <a:gd name="T96" fmla="*/ 1595 w 3223"/>
                <a:gd name="T97" fmla="*/ 2025 h 4423"/>
                <a:gd name="T98" fmla="*/ 1901 w 3223"/>
                <a:gd name="T99" fmla="*/ 1516 h 4423"/>
                <a:gd name="T100" fmla="*/ 2169 w 3223"/>
                <a:gd name="T101" fmla="*/ 1118 h 4423"/>
                <a:gd name="T102" fmla="*/ 2398 w 3223"/>
                <a:gd name="T103" fmla="*/ 811 h 4423"/>
                <a:gd name="T104" fmla="*/ 2645 w 3223"/>
                <a:gd name="T105" fmla="*/ 506 h 4423"/>
                <a:gd name="T106" fmla="*/ 2378 w 3223"/>
                <a:gd name="T107" fmla="*/ 685 h 4423"/>
                <a:gd name="T108" fmla="*/ 2020 w 3223"/>
                <a:gd name="T109" fmla="*/ 996 h 4423"/>
                <a:gd name="T110" fmla="*/ 1677 w 3223"/>
                <a:gd name="T111" fmla="*/ 1341 h 4423"/>
                <a:gd name="T112" fmla="*/ 1348 w 3223"/>
                <a:gd name="T113" fmla="*/ 1716 h 4423"/>
                <a:gd name="T114" fmla="*/ 1034 w 3223"/>
                <a:gd name="T115" fmla="*/ 2118 h 4423"/>
                <a:gd name="T116" fmla="*/ 740 w 3223"/>
                <a:gd name="T117" fmla="*/ 2536 h 4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23" h="4423">
                  <a:moveTo>
                    <a:pt x="11" y="3401"/>
                  </a:moveTo>
                  <a:lnTo>
                    <a:pt x="12" y="3400"/>
                  </a:lnTo>
                  <a:lnTo>
                    <a:pt x="15" y="3396"/>
                  </a:lnTo>
                  <a:lnTo>
                    <a:pt x="57" y="3319"/>
                  </a:lnTo>
                  <a:lnTo>
                    <a:pt x="100" y="3244"/>
                  </a:lnTo>
                  <a:lnTo>
                    <a:pt x="143" y="3169"/>
                  </a:lnTo>
                  <a:lnTo>
                    <a:pt x="188" y="3095"/>
                  </a:lnTo>
                  <a:lnTo>
                    <a:pt x="231" y="3020"/>
                  </a:lnTo>
                  <a:lnTo>
                    <a:pt x="275" y="2947"/>
                  </a:lnTo>
                  <a:lnTo>
                    <a:pt x="319" y="2874"/>
                  </a:lnTo>
                  <a:lnTo>
                    <a:pt x="365" y="2801"/>
                  </a:lnTo>
                  <a:lnTo>
                    <a:pt x="410" y="2728"/>
                  </a:lnTo>
                  <a:lnTo>
                    <a:pt x="456" y="2655"/>
                  </a:lnTo>
                  <a:lnTo>
                    <a:pt x="504" y="2583"/>
                  </a:lnTo>
                  <a:lnTo>
                    <a:pt x="550" y="2511"/>
                  </a:lnTo>
                  <a:lnTo>
                    <a:pt x="599" y="2440"/>
                  </a:lnTo>
                  <a:lnTo>
                    <a:pt x="646" y="2369"/>
                  </a:lnTo>
                  <a:lnTo>
                    <a:pt x="694" y="2299"/>
                  </a:lnTo>
                  <a:lnTo>
                    <a:pt x="743" y="2229"/>
                  </a:lnTo>
                  <a:lnTo>
                    <a:pt x="807" y="2140"/>
                  </a:lnTo>
                  <a:lnTo>
                    <a:pt x="870" y="2052"/>
                  </a:lnTo>
                  <a:lnTo>
                    <a:pt x="934" y="1965"/>
                  </a:lnTo>
                  <a:lnTo>
                    <a:pt x="1000" y="1878"/>
                  </a:lnTo>
                  <a:lnTo>
                    <a:pt x="1066" y="1794"/>
                  </a:lnTo>
                  <a:lnTo>
                    <a:pt x="1133" y="1709"/>
                  </a:lnTo>
                  <a:lnTo>
                    <a:pt x="1200" y="1627"/>
                  </a:lnTo>
                  <a:lnTo>
                    <a:pt x="1268" y="1544"/>
                  </a:lnTo>
                  <a:lnTo>
                    <a:pt x="1337" y="1464"/>
                  </a:lnTo>
                  <a:lnTo>
                    <a:pt x="1406" y="1384"/>
                  </a:lnTo>
                  <a:lnTo>
                    <a:pt x="1476" y="1306"/>
                  </a:lnTo>
                  <a:lnTo>
                    <a:pt x="1547" y="1230"/>
                  </a:lnTo>
                  <a:lnTo>
                    <a:pt x="1618" y="1153"/>
                  </a:lnTo>
                  <a:lnTo>
                    <a:pt x="1690" y="1080"/>
                  </a:lnTo>
                  <a:lnTo>
                    <a:pt x="1762" y="1007"/>
                  </a:lnTo>
                  <a:lnTo>
                    <a:pt x="1836" y="935"/>
                  </a:lnTo>
                  <a:lnTo>
                    <a:pt x="1910" y="866"/>
                  </a:lnTo>
                  <a:lnTo>
                    <a:pt x="1984" y="797"/>
                  </a:lnTo>
                  <a:lnTo>
                    <a:pt x="2059" y="730"/>
                  </a:lnTo>
                  <a:lnTo>
                    <a:pt x="2135" y="664"/>
                  </a:lnTo>
                  <a:lnTo>
                    <a:pt x="2213" y="600"/>
                  </a:lnTo>
                  <a:lnTo>
                    <a:pt x="2290" y="538"/>
                  </a:lnTo>
                  <a:lnTo>
                    <a:pt x="2367" y="477"/>
                  </a:lnTo>
                  <a:lnTo>
                    <a:pt x="2446" y="417"/>
                  </a:lnTo>
                  <a:lnTo>
                    <a:pt x="2525" y="361"/>
                  </a:lnTo>
                  <a:lnTo>
                    <a:pt x="2605" y="305"/>
                  </a:lnTo>
                  <a:lnTo>
                    <a:pt x="2685" y="251"/>
                  </a:lnTo>
                  <a:lnTo>
                    <a:pt x="2767" y="199"/>
                  </a:lnTo>
                  <a:lnTo>
                    <a:pt x="2848" y="148"/>
                  </a:lnTo>
                  <a:lnTo>
                    <a:pt x="2931" y="100"/>
                  </a:lnTo>
                  <a:lnTo>
                    <a:pt x="3014" y="54"/>
                  </a:lnTo>
                  <a:lnTo>
                    <a:pt x="3098" y="9"/>
                  </a:lnTo>
                  <a:lnTo>
                    <a:pt x="3107" y="5"/>
                  </a:lnTo>
                  <a:lnTo>
                    <a:pt x="3114" y="3"/>
                  </a:lnTo>
                  <a:lnTo>
                    <a:pt x="3122" y="1"/>
                  </a:lnTo>
                  <a:lnTo>
                    <a:pt x="3131" y="0"/>
                  </a:lnTo>
                  <a:lnTo>
                    <a:pt x="3140" y="0"/>
                  </a:lnTo>
                  <a:lnTo>
                    <a:pt x="3148" y="0"/>
                  </a:lnTo>
                  <a:lnTo>
                    <a:pt x="3155" y="2"/>
                  </a:lnTo>
                  <a:lnTo>
                    <a:pt x="3163" y="4"/>
                  </a:lnTo>
                  <a:lnTo>
                    <a:pt x="3170" y="6"/>
                  </a:lnTo>
                  <a:lnTo>
                    <a:pt x="3179" y="10"/>
                  </a:lnTo>
                  <a:lnTo>
                    <a:pt x="3186" y="14"/>
                  </a:lnTo>
                  <a:lnTo>
                    <a:pt x="3192" y="20"/>
                  </a:lnTo>
                  <a:lnTo>
                    <a:pt x="3198" y="25"/>
                  </a:lnTo>
                  <a:lnTo>
                    <a:pt x="3203" y="31"/>
                  </a:lnTo>
                  <a:lnTo>
                    <a:pt x="3209" y="38"/>
                  </a:lnTo>
                  <a:lnTo>
                    <a:pt x="3214" y="45"/>
                  </a:lnTo>
                  <a:lnTo>
                    <a:pt x="3216" y="53"/>
                  </a:lnTo>
                  <a:lnTo>
                    <a:pt x="3219" y="59"/>
                  </a:lnTo>
                  <a:lnTo>
                    <a:pt x="3221" y="65"/>
                  </a:lnTo>
                  <a:lnTo>
                    <a:pt x="3222" y="72"/>
                  </a:lnTo>
                  <a:lnTo>
                    <a:pt x="3223" y="84"/>
                  </a:lnTo>
                  <a:lnTo>
                    <a:pt x="3222" y="98"/>
                  </a:lnTo>
                  <a:lnTo>
                    <a:pt x="3219" y="110"/>
                  </a:lnTo>
                  <a:lnTo>
                    <a:pt x="3214" y="123"/>
                  </a:lnTo>
                  <a:lnTo>
                    <a:pt x="3211" y="129"/>
                  </a:lnTo>
                  <a:lnTo>
                    <a:pt x="3208" y="134"/>
                  </a:lnTo>
                  <a:lnTo>
                    <a:pt x="3203" y="139"/>
                  </a:lnTo>
                  <a:lnTo>
                    <a:pt x="3199" y="144"/>
                  </a:lnTo>
                  <a:lnTo>
                    <a:pt x="3125" y="223"/>
                  </a:lnTo>
                  <a:lnTo>
                    <a:pt x="3053" y="301"/>
                  </a:lnTo>
                  <a:lnTo>
                    <a:pt x="2983" y="378"/>
                  </a:lnTo>
                  <a:lnTo>
                    <a:pt x="2915" y="456"/>
                  </a:lnTo>
                  <a:lnTo>
                    <a:pt x="2848" y="532"/>
                  </a:lnTo>
                  <a:lnTo>
                    <a:pt x="2783" y="608"/>
                  </a:lnTo>
                  <a:lnTo>
                    <a:pt x="2719" y="684"/>
                  </a:lnTo>
                  <a:lnTo>
                    <a:pt x="2658" y="760"/>
                  </a:lnTo>
                  <a:lnTo>
                    <a:pt x="2596" y="836"/>
                  </a:lnTo>
                  <a:lnTo>
                    <a:pt x="2537" y="911"/>
                  </a:lnTo>
                  <a:lnTo>
                    <a:pt x="2478" y="987"/>
                  </a:lnTo>
                  <a:lnTo>
                    <a:pt x="2421" y="1064"/>
                  </a:lnTo>
                  <a:lnTo>
                    <a:pt x="2365" y="1140"/>
                  </a:lnTo>
                  <a:lnTo>
                    <a:pt x="2309" y="1216"/>
                  </a:lnTo>
                  <a:lnTo>
                    <a:pt x="2255" y="1294"/>
                  </a:lnTo>
                  <a:lnTo>
                    <a:pt x="2201" y="1371"/>
                  </a:lnTo>
                  <a:lnTo>
                    <a:pt x="2149" y="1449"/>
                  </a:lnTo>
                  <a:lnTo>
                    <a:pt x="2097" y="1528"/>
                  </a:lnTo>
                  <a:lnTo>
                    <a:pt x="2046" y="1608"/>
                  </a:lnTo>
                  <a:lnTo>
                    <a:pt x="1994" y="1687"/>
                  </a:lnTo>
                  <a:lnTo>
                    <a:pt x="1944" y="1770"/>
                  </a:lnTo>
                  <a:lnTo>
                    <a:pt x="1894" y="1851"/>
                  </a:lnTo>
                  <a:lnTo>
                    <a:pt x="1844" y="1936"/>
                  </a:lnTo>
                  <a:lnTo>
                    <a:pt x="1794" y="2020"/>
                  </a:lnTo>
                  <a:lnTo>
                    <a:pt x="1745" y="2106"/>
                  </a:lnTo>
                  <a:lnTo>
                    <a:pt x="1695" y="2194"/>
                  </a:lnTo>
                  <a:lnTo>
                    <a:pt x="1646" y="2283"/>
                  </a:lnTo>
                  <a:lnTo>
                    <a:pt x="1597" y="2373"/>
                  </a:lnTo>
                  <a:lnTo>
                    <a:pt x="1546" y="2466"/>
                  </a:lnTo>
                  <a:lnTo>
                    <a:pt x="1496" y="2560"/>
                  </a:lnTo>
                  <a:lnTo>
                    <a:pt x="1445" y="2655"/>
                  </a:lnTo>
                  <a:lnTo>
                    <a:pt x="1395" y="2752"/>
                  </a:lnTo>
                  <a:lnTo>
                    <a:pt x="1363" y="2877"/>
                  </a:lnTo>
                  <a:lnTo>
                    <a:pt x="1331" y="2995"/>
                  </a:lnTo>
                  <a:lnTo>
                    <a:pt x="1300" y="3108"/>
                  </a:lnTo>
                  <a:lnTo>
                    <a:pt x="1270" y="3215"/>
                  </a:lnTo>
                  <a:lnTo>
                    <a:pt x="1240" y="3317"/>
                  </a:lnTo>
                  <a:lnTo>
                    <a:pt x="1211" y="3413"/>
                  </a:lnTo>
                  <a:lnTo>
                    <a:pt x="1183" y="3505"/>
                  </a:lnTo>
                  <a:lnTo>
                    <a:pt x="1155" y="3591"/>
                  </a:lnTo>
                  <a:lnTo>
                    <a:pt x="1127" y="3673"/>
                  </a:lnTo>
                  <a:lnTo>
                    <a:pt x="1100" y="3749"/>
                  </a:lnTo>
                  <a:lnTo>
                    <a:pt x="1074" y="3821"/>
                  </a:lnTo>
                  <a:lnTo>
                    <a:pt x="1049" y="3888"/>
                  </a:lnTo>
                  <a:lnTo>
                    <a:pt x="1024" y="3950"/>
                  </a:lnTo>
                  <a:lnTo>
                    <a:pt x="999" y="4009"/>
                  </a:lnTo>
                  <a:lnTo>
                    <a:pt x="974" y="4062"/>
                  </a:lnTo>
                  <a:lnTo>
                    <a:pt x="951" y="4112"/>
                  </a:lnTo>
                  <a:lnTo>
                    <a:pt x="927" y="4157"/>
                  </a:lnTo>
                  <a:lnTo>
                    <a:pt x="904" y="4199"/>
                  </a:lnTo>
                  <a:lnTo>
                    <a:pt x="882" y="4237"/>
                  </a:lnTo>
                  <a:lnTo>
                    <a:pt x="860" y="4271"/>
                  </a:lnTo>
                  <a:lnTo>
                    <a:pt x="839" y="4301"/>
                  </a:lnTo>
                  <a:lnTo>
                    <a:pt x="818" y="4327"/>
                  </a:lnTo>
                  <a:lnTo>
                    <a:pt x="797" y="4350"/>
                  </a:lnTo>
                  <a:lnTo>
                    <a:pt x="777" y="4370"/>
                  </a:lnTo>
                  <a:lnTo>
                    <a:pt x="756" y="4386"/>
                  </a:lnTo>
                  <a:lnTo>
                    <a:pt x="737" y="4400"/>
                  </a:lnTo>
                  <a:lnTo>
                    <a:pt x="718" y="4410"/>
                  </a:lnTo>
                  <a:lnTo>
                    <a:pt x="698" y="4417"/>
                  </a:lnTo>
                  <a:lnTo>
                    <a:pt x="680" y="4422"/>
                  </a:lnTo>
                  <a:lnTo>
                    <a:pt x="661" y="4423"/>
                  </a:lnTo>
                  <a:lnTo>
                    <a:pt x="644" y="4422"/>
                  </a:lnTo>
                  <a:lnTo>
                    <a:pt x="626" y="4419"/>
                  </a:lnTo>
                  <a:lnTo>
                    <a:pt x="613" y="4416"/>
                  </a:lnTo>
                  <a:lnTo>
                    <a:pt x="600" y="4411"/>
                  </a:lnTo>
                  <a:lnTo>
                    <a:pt x="587" y="4405"/>
                  </a:lnTo>
                  <a:lnTo>
                    <a:pt x="576" y="4398"/>
                  </a:lnTo>
                  <a:lnTo>
                    <a:pt x="564" y="4389"/>
                  </a:lnTo>
                  <a:lnTo>
                    <a:pt x="552" y="4380"/>
                  </a:lnTo>
                  <a:lnTo>
                    <a:pt x="541" y="4370"/>
                  </a:lnTo>
                  <a:lnTo>
                    <a:pt x="531" y="4358"/>
                  </a:lnTo>
                  <a:lnTo>
                    <a:pt x="519" y="4347"/>
                  </a:lnTo>
                  <a:lnTo>
                    <a:pt x="509" y="4334"/>
                  </a:lnTo>
                  <a:lnTo>
                    <a:pt x="500" y="4320"/>
                  </a:lnTo>
                  <a:lnTo>
                    <a:pt x="489" y="4306"/>
                  </a:lnTo>
                  <a:lnTo>
                    <a:pt x="480" y="4291"/>
                  </a:lnTo>
                  <a:lnTo>
                    <a:pt x="471" y="4276"/>
                  </a:lnTo>
                  <a:lnTo>
                    <a:pt x="462" y="4259"/>
                  </a:lnTo>
                  <a:lnTo>
                    <a:pt x="452" y="4242"/>
                  </a:lnTo>
                  <a:lnTo>
                    <a:pt x="436" y="4207"/>
                  </a:lnTo>
                  <a:lnTo>
                    <a:pt x="418" y="4169"/>
                  </a:lnTo>
                  <a:lnTo>
                    <a:pt x="403" y="4129"/>
                  </a:lnTo>
                  <a:lnTo>
                    <a:pt x="387" y="4088"/>
                  </a:lnTo>
                  <a:lnTo>
                    <a:pt x="356" y="4004"/>
                  </a:lnTo>
                  <a:lnTo>
                    <a:pt x="327" y="3916"/>
                  </a:lnTo>
                  <a:lnTo>
                    <a:pt x="310" y="3867"/>
                  </a:lnTo>
                  <a:lnTo>
                    <a:pt x="294" y="3818"/>
                  </a:lnTo>
                  <a:lnTo>
                    <a:pt x="277" y="3771"/>
                  </a:lnTo>
                  <a:lnTo>
                    <a:pt x="260" y="3725"/>
                  </a:lnTo>
                  <a:lnTo>
                    <a:pt x="243" y="3682"/>
                  </a:lnTo>
                  <a:lnTo>
                    <a:pt x="226" y="3641"/>
                  </a:lnTo>
                  <a:lnTo>
                    <a:pt x="216" y="3622"/>
                  </a:lnTo>
                  <a:lnTo>
                    <a:pt x="208" y="3604"/>
                  </a:lnTo>
                  <a:lnTo>
                    <a:pt x="199" y="3587"/>
                  </a:lnTo>
                  <a:lnTo>
                    <a:pt x="190" y="3571"/>
                  </a:lnTo>
                  <a:lnTo>
                    <a:pt x="180" y="3557"/>
                  </a:lnTo>
                  <a:lnTo>
                    <a:pt x="172" y="3544"/>
                  </a:lnTo>
                  <a:lnTo>
                    <a:pt x="164" y="3534"/>
                  </a:lnTo>
                  <a:lnTo>
                    <a:pt x="157" y="3525"/>
                  </a:lnTo>
                  <a:lnTo>
                    <a:pt x="148" y="3519"/>
                  </a:lnTo>
                  <a:lnTo>
                    <a:pt x="142" y="3515"/>
                  </a:lnTo>
                  <a:lnTo>
                    <a:pt x="138" y="3515"/>
                  </a:lnTo>
                  <a:lnTo>
                    <a:pt x="135" y="3514"/>
                  </a:lnTo>
                  <a:lnTo>
                    <a:pt x="132" y="3515"/>
                  </a:lnTo>
                  <a:lnTo>
                    <a:pt x="130" y="3516"/>
                  </a:lnTo>
                  <a:lnTo>
                    <a:pt x="122" y="3520"/>
                  </a:lnTo>
                  <a:lnTo>
                    <a:pt x="113" y="3523"/>
                  </a:lnTo>
                  <a:lnTo>
                    <a:pt x="106" y="3526"/>
                  </a:lnTo>
                  <a:lnTo>
                    <a:pt x="98" y="3527"/>
                  </a:lnTo>
                  <a:lnTo>
                    <a:pt x="90" y="3529"/>
                  </a:lnTo>
                  <a:lnTo>
                    <a:pt x="81" y="3529"/>
                  </a:lnTo>
                  <a:lnTo>
                    <a:pt x="73" y="3527"/>
                  </a:lnTo>
                  <a:lnTo>
                    <a:pt x="65" y="3525"/>
                  </a:lnTo>
                  <a:lnTo>
                    <a:pt x="57" y="3523"/>
                  </a:lnTo>
                  <a:lnTo>
                    <a:pt x="50" y="3520"/>
                  </a:lnTo>
                  <a:lnTo>
                    <a:pt x="42" y="3517"/>
                  </a:lnTo>
                  <a:lnTo>
                    <a:pt x="35" y="3512"/>
                  </a:lnTo>
                  <a:lnTo>
                    <a:pt x="29" y="3507"/>
                  </a:lnTo>
                  <a:lnTo>
                    <a:pt x="23" y="3501"/>
                  </a:lnTo>
                  <a:lnTo>
                    <a:pt x="18" y="3494"/>
                  </a:lnTo>
                  <a:lnTo>
                    <a:pt x="12" y="3487"/>
                  </a:lnTo>
                  <a:lnTo>
                    <a:pt x="7" y="3476"/>
                  </a:lnTo>
                  <a:lnTo>
                    <a:pt x="3" y="3466"/>
                  </a:lnTo>
                  <a:lnTo>
                    <a:pt x="1" y="3454"/>
                  </a:lnTo>
                  <a:lnTo>
                    <a:pt x="0" y="3443"/>
                  </a:lnTo>
                  <a:lnTo>
                    <a:pt x="1" y="3433"/>
                  </a:lnTo>
                  <a:lnTo>
                    <a:pt x="3" y="3421"/>
                  </a:lnTo>
                  <a:lnTo>
                    <a:pt x="7" y="3411"/>
                  </a:lnTo>
                  <a:lnTo>
                    <a:pt x="11" y="3401"/>
                  </a:lnTo>
                  <a:close/>
                  <a:moveTo>
                    <a:pt x="510" y="2891"/>
                  </a:moveTo>
                  <a:lnTo>
                    <a:pt x="474" y="2950"/>
                  </a:lnTo>
                  <a:lnTo>
                    <a:pt x="438" y="3008"/>
                  </a:lnTo>
                  <a:lnTo>
                    <a:pt x="402" y="3067"/>
                  </a:lnTo>
                  <a:lnTo>
                    <a:pt x="367" y="3125"/>
                  </a:lnTo>
                  <a:lnTo>
                    <a:pt x="332" y="3184"/>
                  </a:lnTo>
                  <a:lnTo>
                    <a:pt x="298" y="3244"/>
                  </a:lnTo>
                  <a:lnTo>
                    <a:pt x="264" y="3303"/>
                  </a:lnTo>
                  <a:lnTo>
                    <a:pt x="230" y="3363"/>
                  </a:lnTo>
                  <a:lnTo>
                    <a:pt x="244" y="3373"/>
                  </a:lnTo>
                  <a:lnTo>
                    <a:pt x="258" y="3384"/>
                  </a:lnTo>
                  <a:lnTo>
                    <a:pt x="272" y="3398"/>
                  </a:lnTo>
                  <a:lnTo>
                    <a:pt x="285" y="3412"/>
                  </a:lnTo>
                  <a:lnTo>
                    <a:pt x="299" y="3427"/>
                  </a:lnTo>
                  <a:lnTo>
                    <a:pt x="311" y="3445"/>
                  </a:lnTo>
                  <a:lnTo>
                    <a:pt x="324" y="3464"/>
                  </a:lnTo>
                  <a:lnTo>
                    <a:pt x="336" y="3483"/>
                  </a:lnTo>
                  <a:lnTo>
                    <a:pt x="347" y="3502"/>
                  </a:lnTo>
                  <a:lnTo>
                    <a:pt x="358" y="3521"/>
                  </a:lnTo>
                  <a:lnTo>
                    <a:pt x="368" y="3542"/>
                  </a:lnTo>
                  <a:lnTo>
                    <a:pt x="378" y="3564"/>
                  </a:lnTo>
                  <a:lnTo>
                    <a:pt x="398" y="3609"/>
                  </a:lnTo>
                  <a:lnTo>
                    <a:pt x="416" y="3656"/>
                  </a:lnTo>
                  <a:lnTo>
                    <a:pt x="435" y="3706"/>
                  </a:lnTo>
                  <a:lnTo>
                    <a:pt x="453" y="3757"/>
                  </a:lnTo>
                  <a:lnTo>
                    <a:pt x="471" y="3810"/>
                  </a:lnTo>
                  <a:lnTo>
                    <a:pt x="489" y="3863"/>
                  </a:lnTo>
                  <a:lnTo>
                    <a:pt x="513" y="3933"/>
                  </a:lnTo>
                  <a:lnTo>
                    <a:pt x="537" y="4002"/>
                  </a:lnTo>
                  <a:lnTo>
                    <a:pt x="548" y="4035"/>
                  </a:lnTo>
                  <a:lnTo>
                    <a:pt x="559" y="4066"/>
                  </a:lnTo>
                  <a:lnTo>
                    <a:pt x="571" y="4095"/>
                  </a:lnTo>
                  <a:lnTo>
                    <a:pt x="583" y="4124"/>
                  </a:lnTo>
                  <a:lnTo>
                    <a:pt x="594" y="4150"/>
                  </a:lnTo>
                  <a:lnTo>
                    <a:pt x="605" y="4174"/>
                  </a:lnTo>
                  <a:lnTo>
                    <a:pt x="616" y="4195"/>
                  </a:lnTo>
                  <a:lnTo>
                    <a:pt x="627" y="4213"/>
                  </a:lnTo>
                  <a:lnTo>
                    <a:pt x="633" y="4221"/>
                  </a:lnTo>
                  <a:lnTo>
                    <a:pt x="638" y="4228"/>
                  </a:lnTo>
                  <a:lnTo>
                    <a:pt x="643" y="4235"/>
                  </a:lnTo>
                  <a:lnTo>
                    <a:pt x="648" y="4241"/>
                  </a:lnTo>
                  <a:lnTo>
                    <a:pt x="653" y="4245"/>
                  </a:lnTo>
                  <a:lnTo>
                    <a:pt x="658" y="4249"/>
                  </a:lnTo>
                  <a:lnTo>
                    <a:pt x="663" y="4252"/>
                  </a:lnTo>
                  <a:lnTo>
                    <a:pt x="668" y="4253"/>
                  </a:lnTo>
                  <a:lnTo>
                    <a:pt x="677" y="4255"/>
                  </a:lnTo>
                  <a:lnTo>
                    <a:pt x="686" y="4254"/>
                  </a:lnTo>
                  <a:lnTo>
                    <a:pt x="695" y="4250"/>
                  </a:lnTo>
                  <a:lnTo>
                    <a:pt x="706" y="4244"/>
                  </a:lnTo>
                  <a:lnTo>
                    <a:pt x="716" y="4236"/>
                  </a:lnTo>
                  <a:lnTo>
                    <a:pt x="727" y="4225"/>
                  </a:lnTo>
                  <a:lnTo>
                    <a:pt x="739" y="4211"/>
                  </a:lnTo>
                  <a:lnTo>
                    <a:pt x="750" y="4194"/>
                  </a:lnTo>
                  <a:lnTo>
                    <a:pt x="763" y="4175"/>
                  </a:lnTo>
                  <a:lnTo>
                    <a:pt x="776" y="4153"/>
                  </a:lnTo>
                  <a:lnTo>
                    <a:pt x="789" y="4127"/>
                  </a:lnTo>
                  <a:lnTo>
                    <a:pt x="804" y="4099"/>
                  </a:lnTo>
                  <a:lnTo>
                    <a:pt x="818" y="4067"/>
                  </a:lnTo>
                  <a:lnTo>
                    <a:pt x="833" y="4031"/>
                  </a:lnTo>
                  <a:lnTo>
                    <a:pt x="850" y="3991"/>
                  </a:lnTo>
                  <a:lnTo>
                    <a:pt x="866" y="3949"/>
                  </a:lnTo>
                  <a:lnTo>
                    <a:pt x="883" y="3903"/>
                  </a:lnTo>
                  <a:lnTo>
                    <a:pt x="901" y="3853"/>
                  </a:lnTo>
                  <a:lnTo>
                    <a:pt x="920" y="3799"/>
                  </a:lnTo>
                  <a:lnTo>
                    <a:pt x="938" y="3741"/>
                  </a:lnTo>
                  <a:lnTo>
                    <a:pt x="980" y="3613"/>
                  </a:lnTo>
                  <a:lnTo>
                    <a:pt x="1024" y="3468"/>
                  </a:lnTo>
                  <a:lnTo>
                    <a:pt x="1070" y="3305"/>
                  </a:lnTo>
                  <a:lnTo>
                    <a:pt x="1121" y="3123"/>
                  </a:lnTo>
                  <a:lnTo>
                    <a:pt x="1174" y="2923"/>
                  </a:lnTo>
                  <a:lnTo>
                    <a:pt x="1232" y="2702"/>
                  </a:lnTo>
                  <a:lnTo>
                    <a:pt x="1235" y="2691"/>
                  </a:lnTo>
                  <a:lnTo>
                    <a:pt x="1239" y="2681"/>
                  </a:lnTo>
                  <a:lnTo>
                    <a:pt x="1291" y="2582"/>
                  </a:lnTo>
                  <a:lnTo>
                    <a:pt x="1342" y="2484"/>
                  </a:lnTo>
                  <a:lnTo>
                    <a:pt x="1393" y="2389"/>
                  </a:lnTo>
                  <a:lnTo>
                    <a:pt x="1443" y="2296"/>
                  </a:lnTo>
                  <a:lnTo>
                    <a:pt x="1494" y="2204"/>
                  </a:lnTo>
                  <a:lnTo>
                    <a:pt x="1544" y="2113"/>
                  </a:lnTo>
                  <a:lnTo>
                    <a:pt x="1595" y="2025"/>
                  </a:lnTo>
                  <a:lnTo>
                    <a:pt x="1645" y="1937"/>
                  </a:lnTo>
                  <a:lnTo>
                    <a:pt x="1695" y="1850"/>
                  </a:lnTo>
                  <a:lnTo>
                    <a:pt x="1747" y="1765"/>
                  </a:lnTo>
                  <a:lnTo>
                    <a:pt x="1797" y="1681"/>
                  </a:lnTo>
                  <a:lnTo>
                    <a:pt x="1849" y="1598"/>
                  </a:lnTo>
                  <a:lnTo>
                    <a:pt x="1901" y="1516"/>
                  </a:lnTo>
                  <a:lnTo>
                    <a:pt x="1954" y="1435"/>
                  </a:lnTo>
                  <a:lnTo>
                    <a:pt x="2007" y="1354"/>
                  </a:lnTo>
                  <a:lnTo>
                    <a:pt x="2060" y="1275"/>
                  </a:lnTo>
                  <a:lnTo>
                    <a:pt x="2096" y="1223"/>
                  </a:lnTo>
                  <a:lnTo>
                    <a:pt x="2132" y="1171"/>
                  </a:lnTo>
                  <a:lnTo>
                    <a:pt x="2169" y="1118"/>
                  </a:lnTo>
                  <a:lnTo>
                    <a:pt x="2206" y="1067"/>
                  </a:lnTo>
                  <a:lnTo>
                    <a:pt x="2243" y="1016"/>
                  </a:lnTo>
                  <a:lnTo>
                    <a:pt x="2282" y="965"/>
                  </a:lnTo>
                  <a:lnTo>
                    <a:pt x="2320" y="913"/>
                  </a:lnTo>
                  <a:lnTo>
                    <a:pt x="2359" y="863"/>
                  </a:lnTo>
                  <a:lnTo>
                    <a:pt x="2398" y="811"/>
                  </a:lnTo>
                  <a:lnTo>
                    <a:pt x="2437" y="761"/>
                  </a:lnTo>
                  <a:lnTo>
                    <a:pt x="2478" y="710"/>
                  </a:lnTo>
                  <a:lnTo>
                    <a:pt x="2518" y="659"/>
                  </a:lnTo>
                  <a:lnTo>
                    <a:pt x="2561" y="608"/>
                  </a:lnTo>
                  <a:lnTo>
                    <a:pt x="2602" y="557"/>
                  </a:lnTo>
                  <a:lnTo>
                    <a:pt x="2645" y="506"/>
                  </a:lnTo>
                  <a:lnTo>
                    <a:pt x="2688" y="455"/>
                  </a:lnTo>
                  <a:lnTo>
                    <a:pt x="2626" y="499"/>
                  </a:lnTo>
                  <a:lnTo>
                    <a:pt x="2564" y="544"/>
                  </a:lnTo>
                  <a:lnTo>
                    <a:pt x="2502" y="590"/>
                  </a:lnTo>
                  <a:lnTo>
                    <a:pt x="2440" y="637"/>
                  </a:lnTo>
                  <a:lnTo>
                    <a:pt x="2378" y="685"/>
                  </a:lnTo>
                  <a:lnTo>
                    <a:pt x="2318" y="735"/>
                  </a:lnTo>
                  <a:lnTo>
                    <a:pt x="2258" y="784"/>
                  </a:lnTo>
                  <a:lnTo>
                    <a:pt x="2198" y="836"/>
                  </a:lnTo>
                  <a:lnTo>
                    <a:pt x="2138" y="889"/>
                  </a:lnTo>
                  <a:lnTo>
                    <a:pt x="2079" y="942"/>
                  </a:lnTo>
                  <a:lnTo>
                    <a:pt x="2020" y="996"/>
                  </a:lnTo>
                  <a:lnTo>
                    <a:pt x="1962" y="1051"/>
                  </a:lnTo>
                  <a:lnTo>
                    <a:pt x="1905" y="1107"/>
                  </a:lnTo>
                  <a:lnTo>
                    <a:pt x="1847" y="1165"/>
                  </a:lnTo>
                  <a:lnTo>
                    <a:pt x="1790" y="1223"/>
                  </a:lnTo>
                  <a:lnTo>
                    <a:pt x="1734" y="1281"/>
                  </a:lnTo>
                  <a:lnTo>
                    <a:pt x="1677" y="1341"/>
                  </a:lnTo>
                  <a:lnTo>
                    <a:pt x="1621" y="1401"/>
                  </a:lnTo>
                  <a:lnTo>
                    <a:pt x="1566" y="1463"/>
                  </a:lnTo>
                  <a:lnTo>
                    <a:pt x="1510" y="1525"/>
                  </a:lnTo>
                  <a:lnTo>
                    <a:pt x="1456" y="1587"/>
                  </a:lnTo>
                  <a:lnTo>
                    <a:pt x="1402" y="1651"/>
                  </a:lnTo>
                  <a:lnTo>
                    <a:pt x="1348" y="1716"/>
                  </a:lnTo>
                  <a:lnTo>
                    <a:pt x="1295" y="1781"/>
                  </a:lnTo>
                  <a:lnTo>
                    <a:pt x="1241" y="1847"/>
                  </a:lnTo>
                  <a:lnTo>
                    <a:pt x="1189" y="1914"/>
                  </a:lnTo>
                  <a:lnTo>
                    <a:pt x="1137" y="1981"/>
                  </a:lnTo>
                  <a:lnTo>
                    <a:pt x="1086" y="2049"/>
                  </a:lnTo>
                  <a:lnTo>
                    <a:pt x="1034" y="2118"/>
                  </a:lnTo>
                  <a:lnTo>
                    <a:pt x="983" y="2187"/>
                  </a:lnTo>
                  <a:lnTo>
                    <a:pt x="932" y="2257"/>
                  </a:lnTo>
                  <a:lnTo>
                    <a:pt x="883" y="2328"/>
                  </a:lnTo>
                  <a:lnTo>
                    <a:pt x="834" y="2397"/>
                  </a:lnTo>
                  <a:lnTo>
                    <a:pt x="787" y="2466"/>
                  </a:lnTo>
                  <a:lnTo>
                    <a:pt x="740" y="2536"/>
                  </a:lnTo>
                  <a:lnTo>
                    <a:pt x="693" y="2606"/>
                  </a:lnTo>
                  <a:lnTo>
                    <a:pt x="647" y="2677"/>
                  </a:lnTo>
                  <a:lnTo>
                    <a:pt x="601" y="2748"/>
                  </a:lnTo>
                  <a:lnTo>
                    <a:pt x="555" y="2819"/>
                  </a:lnTo>
                  <a:lnTo>
                    <a:pt x="510" y="289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6" name="Freeform 62"/>
            <p:cNvSpPr>
              <a:spLocks noChangeArrowheads="1"/>
            </p:cNvSpPr>
            <p:nvPr/>
          </p:nvSpPr>
          <p:spPr bwMode="auto">
            <a:xfrm>
              <a:off x="974725" y="3124128"/>
              <a:ext cx="1374775" cy="2359075"/>
            </a:xfrm>
            <a:custGeom>
              <a:avLst/>
              <a:gdLst>
                <a:gd name="T0" fmla="*/ 76 w 3051"/>
                <a:gd name="T1" fmla="*/ 3224 h 4255"/>
                <a:gd name="T2" fmla="*/ 231 w 3051"/>
                <a:gd name="T3" fmla="*/ 2958 h 4255"/>
                <a:gd name="T4" fmla="*/ 393 w 3051"/>
                <a:gd name="T5" fmla="*/ 2696 h 4255"/>
                <a:gd name="T6" fmla="*/ 559 w 3051"/>
                <a:gd name="T7" fmla="*/ 2440 h 4255"/>
                <a:gd name="T8" fmla="*/ 730 w 3051"/>
                <a:gd name="T9" fmla="*/ 2190 h 4255"/>
                <a:gd name="T10" fmla="*/ 905 w 3051"/>
                <a:gd name="T11" fmla="*/ 1948 h 4255"/>
                <a:gd name="T12" fmla="*/ 1086 w 3051"/>
                <a:gd name="T13" fmla="*/ 1714 h 4255"/>
                <a:gd name="T14" fmla="*/ 1272 w 3051"/>
                <a:gd name="T15" fmla="*/ 1487 h 4255"/>
                <a:gd name="T16" fmla="*/ 1462 w 3051"/>
                <a:gd name="T17" fmla="*/ 1269 h 4255"/>
                <a:gd name="T18" fmla="*/ 1658 w 3051"/>
                <a:gd name="T19" fmla="*/ 1062 h 4255"/>
                <a:gd name="T20" fmla="*/ 1859 w 3051"/>
                <a:gd name="T21" fmla="*/ 865 h 4255"/>
                <a:gd name="T22" fmla="*/ 2065 w 3051"/>
                <a:gd name="T23" fmla="*/ 680 h 4255"/>
                <a:gd name="T24" fmla="*/ 2275 w 3051"/>
                <a:gd name="T25" fmla="*/ 507 h 4255"/>
                <a:gd name="T26" fmla="*/ 2491 w 3051"/>
                <a:gd name="T27" fmla="*/ 345 h 4255"/>
                <a:gd name="T28" fmla="*/ 2712 w 3051"/>
                <a:gd name="T29" fmla="*/ 197 h 4255"/>
                <a:gd name="T30" fmla="*/ 2937 w 3051"/>
                <a:gd name="T31" fmla="*/ 62 h 4255"/>
                <a:gd name="T32" fmla="*/ 2977 w 3051"/>
                <a:gd name="T33" fmla="*/ 81 h 4255"/>
                <a:gd name="T34" fmla="*/ 2833 w 3051"/>
                <a:gd name="T35" fmla="*/ 238 h 4255"/>
                <a:gd name="T36" fmla="*/ 2697 w 3051"/>
                <a:gd name="T37" fmla="*/ 392 h 4255"/>
                <a:gd name="T38" fmla="*/ 2567 w 3051"/>
                <a:gd name="T39" fmla="*/ 546 h 4255"/>
                <a:gd name="T40" fmla="*/ 2443 w 3051"/>
                <a:gd name="T41" fmla="*/ 698 h 4255"/>
                <a:gd name="T42" fmla="*/ 2324 w 3051"/>
                <a:gd name="T43" fmla="*/ 852 h 4255"/>
                <a:gd name="T44" fmla="*/ 2209 w 3051"/>
                <a:gd name="T45" fmla="*/ 1006 h 4255"/>
                <a:gd name="T46" fmla="*/ 2099 w 3051"/>
                <a:gd name="T47" fmla="*/ 1161 h 4255"/>
                <a:gd name="T48" fmla="*/ 1992 w 3051"/>
                <a:gd name="T49" fmla="*/ 1318 h 4255"/>
                <a:gd name="T50" fmla="*/ 1887 w 3051"/>
                <a:gd name="T51" fmla="*/ 1479 h 4255"/>
                <a:gd name="T52" fmla="*/ 1785 w 3051"/>
                <a:gd name="T53" fmla="*/ 1643 h 4255"/>
                <a:gd name="T54" fmla="*/ 1684 w 3051"/>
                <a:gd name="T55" fmla="*/ 1811 h 4255"/>
                <a:gd name="T56" fmla="*/ 1583 w 3051"/>
                <a:gd name="T57" fmla="*/ 1983 h 4255"/>
                <a:gd name="T58" fmla="*/ 1483 w 3051"/>
                <a:gd name="T59" fmla="*/ 2161 h 4255"/>
                <a:gd name="T60" fmla="*/ 1382 w 3051"/>
                <a:gd name="T61" fmla="*/ 2347 h 4255"/>
                <a:gd name="T62" fmla="*/ 1280 w 3051"/>
                <a:gd name="T63" fmla="*/ 2537 h 4255"/>
                <a:gd name="T64" fmla="*/ 1152 w 3051"/>
                <a:gd name="T65" fmla="*/ 2929 h 4255"/>
                <a:gd name="T66" fmla="*/ 1013 w 3051"/>
                <a:gd name="T67" fmla="*/ 3415 h 4255"/>
                <a:gd name="T68" fmla="*/ 892 w 3051"/>
                <a:gd name="T69" fmla="*/ 3774 h 4255"/>
                <a:gd name="T70" fmla="*/ 787 w 3051"/>
                <a:gd name="T71" fmla="*/ 4025 h 4255"/>
                <a:gd name="T72" fmla="*/ 695 w 3051"/>
                <a:gd name="T73" fmla="*/ 4177 h 4255"/>
                <a:gd name="T74" fmla="*/ 616 w 3051"/>
                <a:gd name="T75" fmla="*/ 4248 h 4255"/>
                <a:gd name="T76" fmla="*/ 546 w 3051"/>
                <a:gd name="T77" fmla="*/ 4248 h 4255"/>
                <a:gd name="T78" fmla="*/ 484 w 3051"/>
                <a:gd name="T79" fmla="*/ 4191 h 4255"/>
                <a:gd name="T80" fmla="*/ 428 w 3051"/>
                <a:gd name="T81" fmla="*/ 4092 h 4255"/>
                <a:gd name="T82" fmla="*/ 377 w 3051"/>
                <a:gd name="T83" fmla="*/ 3963 h 4255"/>
                <a:gd name="T84" fmla="*/ 327 w 3051"/>
                <a:gd name="T85" fmla="*/ 3820 h 4255"/>
                <a:gd name="T86" fmla="*/ 277 w 3051"/>
                <a:gd name="T87" fmla="*/ 3674 h 4255"/>
                <a:gd name="T88" fmla="*/ 225 w 3051"/>
                <a:gd name="T89" fmla="*/ 3540 h 4255"/>
                <a:gd name="T90" fmla="*/ 170 w 3051"/>
                <a:gd name="T91" fmla="*/ 3431 h 4255"/>
                <a:gd name="T92" fmla="*/ 108 w 3051"/>
                <a:gd name="T93" fmla="*/ 3362 h 4255"/>
                <a:gd name="T94" fmla="*/ 38 w 3051"/>
                <a:gd name="T95" fmla="*/ 3343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51" h="4255">
                  <a:moveTo>
                    <a:pt x="0" y="3359"/>
                  </a:moveTo>
                  <a:lnTo>
                    <a:pt x="76" y="3224"/>
                  </a:lnTo>
                  <a:lnTo>
                    <a:pt x="153" y="3090"/>
                  </a:lnTo>
                  <a:lnTo>
                    <a:pt x="231" y="2958"/>
                  </a:lnTo>
                  <a:lnTo>
                    <a:pt x="312" y="2826"/>
                  </a:lnTo>
                  <a:lnTo>
                    <a:pt x="393" y="2696"/>
                  </a:lnTo>
                  <a:lnTo>
                    <a:pt x="474" y="2567"/>
                  </a:lnTo>
                  <a:lnTo>
                    <a:pt x="559" y="2440"/>
                  </a:lnTo>
                  <a:lnTo>
                    <a:pt x="643" y="2315"/>
                  </a:lnTo>
                  <a:lnTo>
                    <a:pt x="730" y="2190"/>
                  </a:lnTo>
                  <a:lnTo>
                    <a:pt x="816" y="2068"/>
                  </a:lnTo>
                  <a:lnTo>
                    <a:pt x="905" y="1948"/>
                  </a:lnTo>
                  <a:lnTo>
                    <a:pt x="995" y="1829"/>
                  </a:lnTo>
                  <a:lnTo>
                    <a:pt x="1086" y="1714"/>
                  </a:lnTo>
                  <a:lnTo>
                    <a:pt x="1178" y="1599"/>
                  </a:lnTo>
                  <a:lnTo>
                    <a:pt x="1272" y="1487"/>
                  </a:lnTo>
                  <a:lnTo>
                    <a:pt x="1366" y="1377"/>
                  </a:lnTo>
                  <a:lnTo>
                    <a:pt x="1462" y="1269"/>
                  </a:lnTo>
                  <a:lnTo>
                    <a:pt x="1560" y="1165"/>
                  </a:lnTo>
                  <a:lnTo>
                    <a:pt x="1658" y="1062"/>
                  </a:lnTo>
                  <a:lnTo>
                    <a:pt x="1758" y="962"/>
                  </a:lnTo>
                  <a:lnTo>
                    <a:pt x="1859" y="865"/>
                  </a:lnTo>
                  <a:lnTo>
                    <a:pt x="1961" y="772"/>
                  </a:lnTo>
                  <a:lnTo>
                    <a:pt x="2065" y="680"/>
                  </a:lnTo>
                  <a:lnTo>
                    <a:pt x="2170" y="591"/>
                  </a:lnTo>
                  <a:lnTo>
                    <a:pt x="2275" y="507"/>
                  </a:lnTo>
                  <a:lnTo>
                    <a:pt x="2382" y="424"/>
                  </a:lnTo>
                  <a:lnTo>
                    <a:pt x="2491" y="345"/>
                  </a:lnTo>
                  <a:lnTo>
                    <a:pt x="2600" y="270"/>
                  </a:lnTo>
                  <a:lnTo>
                    <a:pt x="2712" y="197"/>
                  </a:lnTo>
                  <a:lnTo>
                    <a:pt x="2824" y="128"/>
                  </a:lnTo>
                  <a:lnTo>
                    <a:pt x="2937" y="62"/>
                  </a:lnTo>
                  <a:lnTo>
                    <a:pt x="3051" y="0"/>
                  </a:lnTo>
                  <a:lnTo>
                    <a:pt x="2977" y="81"/>
                  </a:lnTo>
                  <a:lnTo>
                    <a:pt x="2904" y="159"/>
                  </a:lnTo>
                  <a:lnTo>
                    <a:pt x="2833" y="238"/>
                  </a:lnTo>
                  <a:lnTo>
                    <a:pt x="2764" y="315"/>
                  </a:lnTo>
                  <a:lnTo>
                    <a:pt x="2697" y="392"/>
                  </a:lnTo>
                  <a:lnTo>
                    <a:pt x="2631" y="470"/>
                  </a:lnTo>
                  <a:lnTo>
                    <a:pt x="2567" y="546"/>
                  </a:lnTo>
                  <a:lnTo>
                    <a:pt x="2505" y="622"/>
                  </a:lnTo>
                  <a:lnTo>
                    <a:pt x="2443" y="698"/>
                  </a:lnTo>
                  <a:lnTo>
                    <a:pt x="2383" y="775"/>
                  </a:lnTo>
                  <a:lnTo>
                    <a:pt x="2324" y="852"/>
                  </a:lnTo>
                  <a:lnTo>
                    <a:pt x="2267" y="928"/>
                  </a:lnTo>
                  <a:lnTo>
                    <a:pt x="2209" y="1006"/>
                  </a:lnTo>
                  <a:lnTo>
                    <a:pt x="2153" y="1083"/>
                  </a:lnTo>
                  <a:lnTo>
                    <a:pt x="2099" y="1161"/>
                  </a:lnTo>
                  <a:lnTo>
                    <a:pt x="2045" y="1240"/>
                  </a:lnTo>
                  <a:lnTo>
                    <a:pt x="1992" y="1318"/>
                  </a:lnTo>
                  <a:lnTo>
                    <a:pt x="1939" y="1398"/>
                  </a:lnTo>
                  <a:lnTo>
                    <a:pt x="1887" y="1479"/>
                  </a:lnTo>
                  <a:lnTo>
                    <a:pt x="1835" y="1560"/>
                  </a:lnTo>
                  <a:lnTo>
                    <a:pt x="1785" y="1643"/>
                  </a:lnTo>
                  <a:lnTo>
                    <a:pt x="1734" y="1726"/>
                  </a:lnTo>
                  <a:lnTo>
                    <a:pt x="1684" y="1811"/>
                  </a:lnTo>
                  <a:lnTo>
                    <a:pt x="1633" y="1896"/>
                  </a:lnTo>
                  <a:lnTo>
                    <a:pt x="1583" y="1983"/>
                  </a:lnTo>
                  <a:lnTo>
                    <a:pt x="1532" y="2071"/>
                  </a:lnTo>
                  <a:lnTo>
                    <a:pt x="1483" y="2161"/>
                  </a:lnTo>
                  <a:lnTo>
                    <a:pt x="1432" y="2253"/>
                  </a:lnTo>
                  <a:lnTo>
                    <a:pt x="1382" y="2347"/>
                  </a:lnTo>
                  <a:lnTo>
                    <a:pt x="1331" y="2442"/>
                  </a:lnTo>
                  <a:lnTo>
                    <a:pt x="1280" y="2537"/>
                  </a:lnTo>
                  <a:lnTo>
                    <a:pt x="1229" y="2636"/>
                  </a:lnTo>
                  <a:lnTo>
                    <a:pt x="1152" y="2929"/>
                  </a:lnTo>
                  <a:lnTo>
                    <a:pt x="1080" y="3188"/>
                  </a:lnTo>
                  <a:lnTo>
                    <a:pt x="1013" y="3415"/>
                  </a:lnTo>
                  <a:lnTo>
                    <a:pt x="950" y="3609"/>
                  </a:lnTo>
                  <a:lnTo>
                    <a:pt x="892" y="3774"/>
                  </a:lnTo>
                  <a:lnTo>
                    <a:pt x="837" y="3913"/>
                  </a:lnTo>
                  <a:lnTo>
                    <a:pt x="787" y="4025"/>
                  </a:lnTo>
                  <a:lnTo>
                    <a:pt x="739" y="4113"/>
                  </a:lnTo>
                  <a:lnTo>
                    <a:pt x="695" y="4177"/>
                  </a:lnTo>
                  <a:lnTo>
                    <a:pt x="654" y="4222"/>
                  </a:lnTo>
                  <a:lnTo>
                    <a:pt x="616" y="4248"/>
                  </a:lnTo>
                  <a:lnTo>
                    <a:pt x="579" y="4255"/>
                  </a:lnTo>
                  <a:lnTo>
                    <a:pt x="546" y="4248"/>
                  </a:lnTo>
                  <a:lnTo>
                    <a:pt x="514" y="4225"/>
                  </a:lnTo>
                  <a:lnTo>
                    <a:pt x="484" y="4191"/>
                  </a:lnTo>
                  <a:lnTo>
                    <a:pt x="456" y="4145"/>
                  </a:lnTo>
                  <a:lnTo>
                    <a:pt x="428" y="4092"/>
                  </a:lnTo>
                  <a:lnTo>
                    <a:pt x="402" y="4030"/>
                  </a:lnTo>
                  <a:lnTo>
                    <a:pt x="377" y="3963"/>
                  </a:lnTo>
                  <a:lnTo>
                    <a:pt x="352" y="3893"/>
                  </a:lnTo>
                  <a:lnTo>
                    <a:pt x="327" y="3820"/>
                  </a:lnTo>
                  <a:lnTo>
                    <a:pt x="302" y="3747"/>
                  </a:lnTo>
                  <a:lnTo>
                    <a:pt x="277" y="3674"/>
                  </a:lnTo>
                  <a:lnTo>
                    <a:pt x="252" y="3605"/>
                  </a:lnTo>
                  <a:lnTo>
                    <a:pt x="225" y="3540"/>
                  </a:lnTo>
                  <a:lnTo>
                    <a:pt x="198" y="3482"/>
                  </a:lnTo>
                  <a:lnTo>
                    <a:pt x="170" y="3431"/>
                  </a:lnTo>
                  <a:lnTo>
                    <a:pt x="140" y="3391"/>
                  </a:lnTo>
                  <a:lnTo>
                    <a:pt x="108" y="3362"/>
                  </a:lnTo>
                  <a:lnTo>
                    <a:pt x="74" y="3346"/>
                  </a:lnTo>
                  <a:lnTo>
                    <a:pt x="38" y="3343"/>
                  </a:lnTo>
                  <a:lnTo>
                    <a:pt x="0" y="33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7" name="Freeform 63"/>
            <p:cNvSpPr>
              <a:spLocks noChangeArrowheads="1"/>
            </p:cNvSpPr>
            <p:nvPr/>
          </p:nvSpPr>
          <p:spPr bwMode="auto">
            <a:xfrm>
              <a:off x="1133475" y="2254160"/>
              <a:ext cx="1806575" cy="2287636"/>
            </a:xfrm>
            <a:custGeom>
              <a:avLst/>
              <a:gdLst>
                <a:gd name="T0" fmla="*/ 75 w 4028"/>
                <a:gd name="T1" fmla="*/ 3229 h 4125"/>
                <a:gd name="T2" fmla="*/ 302 w 4028"/>
                <a:gd name="T3" fmla="*/ 2922 h 4125"/>
                <a:gd name="T4" fmla="*/ 479 w 4028"/>
                <a:gd name="T5" fmla="*/ 2694 h 4125"/>
                <a:gd name="T6" fmla="*/ 720 w 4028"/>
                <a:gd name="T7" fmla="*/ 2400 h 4125"/>
                <a:gd name="T8" fmla="*/ 972 w 4028"/>
                <a:gd name="T9" fmla="*/ 2114 h 4125"/>
                <a:gd name="T10" fmla="*/ 1303 w 4028"/>
                <a:gd name="T11" fmla="*/ 1761 h 4125"/>
                <a:gd name="T12" fmla="*/ 1646 w 4028"/>
                <a:gd name="T13" fmla="*/ 1429 h 4125"/>
                <a:gd name="T14" fmla="*/ 2000 w 4028"/>
                <a:gd name="T15" fmla="*/ 1121 h 4125"/>
                <a:gd name="T16" fmla="*/ 2363 w 4028"/>
                <a:gd name="T17" fmla="*/ 837 h 4125"/>
                <a:gd name="T18" fmla="*/ 2737 w 4028"/>
                <a:gd name="T19" fmla="*/ 582 h 4125"/>
                <a:gd name="T20" fmla="*/ 3120 w 4028"/>
                <a:gd name="T21" fmla="*/ 356 h 4125"/>
                <a:gd name="T22" fmla="*/ 3514 w 4028"/>
                <a:gd name="T23" fmla="*/ 163 h 4125"/>
                <a:gd name="T24" fmla="*/ 3916 w 4028"/>
                <a:gd name="T25" fmla="*/ 5 h 4125"/>
                <a:gd name="T26" fmla="*/ 3948 w 4028"/>
                <a:gd name="T27" fmla="*/ 0 h 4125"/>
                <a:gd name="T28" fmla="*/ 3980 w 4028"/>
                <a:gd name="T29" fmla="*/ 9 h 4125"/>
                <a:gd name="T30" fmla="*/ 4006 w 4028"/>
                <a:gd name="T31" fmla="*/ 29 h 4125"/>
                <a:gd name="T32" fmla="*/ 4024 w 4028"/>
                <a:gd name="T33" fmla="*/ 58 h 4125"/>
                <a:gd name="T34" fmla="*/ 4028 w 4028"/>
                <a:gd name="T35" fmla="*/ 85 h 4125"/>
                <a:gd name="T36" fmla="*/ 4013 w 4028"/>
                <a:gd name="T37" fmla="*/ 134 h 4125"/>
                <a:gd name="T38" fmla="*/ 3996 w 4028"/>
                <a:gd name="T39" fmla="*/ 153 h 4125"/>
                <a:gd name="T40" fmla="*/ 3743 w 4028"/>
                <a:gd name="T41" fmla="*/ 360 h 4125"/>
                <a:gd name="T42" fmla="*/ 3420 w 4028"/>
                <a:gd name="T43" fmla="*/ 650 h 4125"/>
                <a:gd name="T44" fmla="*/ 3108 w 4028"/>
                <a:gd name="T45" fmla="*/ 952 h 4125"/>
                <a:gd name="T46" fmla="*/ 2806 w 4028"/>
                <a:gd name="T47" fmla="*/ 1266 h 4125"/>
                <a:gd name="T48" fmla="*/ 2512 w 4028"/>
                <a:gd name="T49" fmla="*/ 1589 h 4125"/>
                <a:gd name="T50" fmla="*/ 2010 w 4028"/>
                <a:gd name="T51" fmla="*/ 2170 h 4125"/>
                <a:gd name="T52" fmla="*/ 1511 w 4028"/>
                <a:gd name="T53" fmla="*/ 2768 h 4125"/>
                <a:gd name="T54" fmla="*/ 1211 w 4028"/>
                <a:gd name="T55" fmla="*/ 3128 h 4125"/>
                <a:gd name="T56" fmla="*/ 907 w 4028"/>
                <a:gd name="T57" fmla="*/ 3485 h 4125"/>
                <a:gd name="T58" fmla="*/ 598 w 4028"/>
                <a:gd name="T59" fmla="*/ 3838 h 4125"/>
                <a:gd name="T60" fmla="*/ 354 w 4028"/>
                <a:gd name="T61" fmla="*/ 4104 h 4125"/>
                <a:gd name="T62" fmla="*/ 325 w 4028"/>
                <a:gd name="T63" fmla="*/ 4121 h 4125"/>
                <a:gd name="T64" fmla="*/ 292 w 4028"/>
                <a:gd name="T65" fmla="*/ 4125 h 4125"/>
                <a:gd name="T66" fmla="*/ 261 w 4028"/>
                <a:gd name="T67" fmla="*/ 4117 h 4125"/>
                <a:gd name="T68" fmla="*/ 232 w 4028"/>
                <a:gd name="T69" fmla="*/ 4094 h 4125"/>
                <a:gd name="T70" fmla="*/ 216 w 4028"/>
                <a:gd name="T71" fmla="*/ 4065 h 4125"/>
                <a:gd name="T72" fmla="*/ 0 w 4028"/>
                <a:gd name="T73" fmla="*/ 3355 h 4125"/>
                <a:gd name="T74" fmla="*/ 11 w 4028"/>
                <a:gd name="T75" fmla="*/ 3318 h 4125"/>
                <a:gd name="T76" fmla="*/ 503 w 4028"/>
                <a:gd name="T77" fmla="*/ 2940 h 4125"/>
                <a:gd name="T78" fmla="*/ 287 w 4028"/>
                <a:gd name="T79" fmla="*/ 3228 h 4125"/>
                <a:gd name="T80" fmla="*/ 407 w 4028"/>
                <a:gd name="T81" fmla="*/ 3794 h 4125"/>
                <a:gd name="T82" fmla="*/ 692 w 4028"/>
                <a:gd name="T83" fmla="*/ 3473 h 4125"/>
                <a:gd name="T84" fmla="*/ 972 w 4028"/>
                <a:gd name="T85" fmla="*/ 3147 h 4125"/>
                <a:gd name="T86" fmla="*/ 1249 w 4028"/>
                <a:gd name="T87" fmla="*/ 2817 h 4125"/>
                <a:gd name="T88" fmla="*/ 1575 w 4028"/>
                <a:gd name="T89" fmla="*/ 2424 h 4125"/>
                <a:gd name="T90" fmla="*/ 2058 w 4028"/>
                <a:gd name="T91" fmla="*/ 1850 h 4125"/>
                <a:gd name="T92" fmla="*/ 2552 w 4028"/>
                <a:gd name="T93" fmla="*/ 1289 h 4125"/>
                <a:gd name="T94" fmla="*/ 2871 w 4028"/>
                <a:gd name="T95" fmla="*/ 950 h 4125"/>
                <a:gd name="T96" fmla="*/ 3133 w 4028"/>
                <a:gd name="T97" fmla="*/ 687 h 4125"/>
                <a:gd name="T98" fmla="*/ 3404 w 4028"/>
                <a:gd name="T99" fmla="*/ 432 h 4125"/>
                <a:gd name="T100" fmla="*/ 3232 w 4028"/>
                <a:gd name="T101" fmla="*/ 491 h 4125"/>
                <a:gd name="T102" fmla="*/ 2916 w 4028"/>
                <a:gd name="T103" fmla="*/ 671 h 4125"/>
                <a:gd name="T104" fmla="*/ 2607 w 4028"/>
                <a:gd name="T105" fmla="*/ 874 h 4125"/>
                <a:gd name="T106" fmla="*/ 2305 w 4028"/>
                <a:gd name="T107" fmla="*/ 1095 h 4125"/>
                <a:gd name="T108" fmla="*/ 2009 w 4028"/>
                <a:gd name="T109" fmla="*/ 1336 h 4125"/>
                <a:gd name="T110" fmla="*/ 1721 w 4028"/>
                <a:gd name="T111" fmla="*/ 1593 h 4125"/>
                <a:gd name="T112" fmla="*/ 1439 w 4028"/>
                <a:gd name="T113" fmla="*/ 1866 h 4125"/>
                <a:gd name="T114" fmla="*/ 1165 w 4028"/>
                <a:gd name="T115" fmla="*/ 2154 h 4125"/>
                <a:gd name="T116" fmla="*/ 914 w 4028"/>
                <a:gd name="T117" fmla="*/ 2437 h 4125"/>
                <a:gd name="T118" fmla="*/ 673 w 4028"/>
                <a:gd name="T119" fmla="*/ 2726 h 4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28" h="4125">
                  <a:moveTo>
                    <a:pt x="16" y="3309"/>
                  </a:moveTo>
                  <a:lnTo>
                    <a:pt x="17" y="3308"/>
                  </a:lnTo>
                  <a:lnTo>
                    <a:pt x="19" y="3306"/>
                  </a:lnTo>
                  <a:lnTo>
                    <a:pt x="75" y="3229"/>
                  </a:lnTo>
                  <a:lnTo>
                    <a:pt x="130" y="3152"/>
                  </a:lnTo>
                  <a:lnTo>
                    <a:pt x="187" y="3074"/>
                  </a:lnTo>
                  <a:lnTo>
                    <a:pt x="245" y="2998"/>
                  </a:lnTo>
                  <a:lnTo>
                    <a:pt x="302" y="2922"/>
                  </a:lnTo>
                  <a:lnTo>
                    <a:pt x="361" y="2846"/>
                  </a:lnTo>
                  <a:lnTo>
                    <a:pt x="421" y="2769"/>
                  </a:lnTo>
                  <a:lnTo>
                    <a:pt x="479" y="2694"/>
                  </a:lnTo>
                  <a:lnTo>
                    <a:pt x="539" y="2620"/>
                  </a:lnTo>
                  <a:lnTo>
                    <a:pt x="599" y="2547"/>
                  </a:lnTo>
                  <a:lnTo>
                    <a:pt x="660" y="2473"/>
                  </a:lnTo>
                  <a:lnTo>
                    <a:pt x="720" y="2400"/>
                  </a:lnTo>
                  <a:lnTo>
                    <a:pt x="782" y="2328"/>
                  </a:lnTo>
                  <a:lnTo>
                    <a:pt x="845" y="2256"/>
                  </a:lnTo>
                  <a:lnTo>
                    <a:pt x="908" y="2185"/>
                  </a:lnTo>
                  <a:lnTo>
                    <a:pt x="972" y="2114"/>
                  </a:lnTo>
                  <a:lnTo>
                    <a:pt x="1053" y="2024"/>
                  </a:lnTo>
                  <a:lnTo>
                    <a:pt x="1137" y="1935"/>
                  </a:lnTo>
                  <a:lnTo>
                    <a:pt x="1219" y="1848"/>
                  </a:lnTo>
                  <a:lnTo>
                    <a:pt x="1303" y="1761"/>
                  </a:lnTo>
                  <a:lnTo>
                    <a:pt x="1388" y="1677"/>
                  </a:lnTo>
                  <a:lnTo>
                    <a:pt x="1473" y="1593"/>
                  </a:lnTo>
                  <a:lnTo>
                    <a:pt x="1559" y="1511"/>
                  </a:lnTo>
                  <a:lnTo>
                    <a:pt x="1646" y="1429"/>
                  </a:lnTo>
                  <a:lnTo>
                    <a:pt x="1733" y="1350"/>
                  </a:lnTo>
                  <a:lnTo>
                    <a:pt x="1822" y="1272"/>
                  </a:lnTo>
                  <a:lnTo>
                    <a:pt x="1910" y="1196"/>
                  </a:lnTo>
                  <a:lnTo>
                    <a:pt x="2000" y="1121"/>
                  </a:lnTo>
                  <a:lnTo>
                    <a:pt x="2089" y="1048"/>
                  </a:lnTo>
                  <a:lnTo>
                    <a:pt x="2180" y="976"/>
                  </a:lnTo>
                  <a:lnTo>
                    <a:pt x="2272" y="905"/>
                  </a:lnTo>
                  <a:lnTo>
                    <a:pt x="2363" y="837"/>
                  </a:lnTo>
                  <a:lnTo>
                    <a:pt x="2456" y="770"/>
                  </a:lnTo>
                  <a:lnTo>
                    <a:pt x="2549" y="705"/>
                  </a:lnTo>
                  <a:lnTo>
                    <a:pt x="2642" y="643"/>
                  </a:lnTo>
                  <a:lnTo>
                    <a:pt x="2737" y="582"/>
                  </a:lnTo>
                  <a:lnTo>
                    <a:pt x="2832" y="522"/>
                  </a:lnTo>
                  <a:lnTo>
                    <a:pt x="2928" y="464"/>
                  </a:lnTo>
                  <a:lnTo>
                    <a:pt x="3024" y="410"/>
                  </a:lnTo>
                  <a:lnTo>
                    <a:pt x="3120" y="356"/>
                  </a:lnTo>
                  <a:lnTo>
                    <a:pt x="3218" y="304"/>
                  </a:lnTo>
                  <a:lnTo>
                    <a:pt x="3316" y="255"/>
                  </a:lnTo>
                  <a:lnTo>
                    <a:pt x="3414" y="208"/>
                  </a:lnTo>
                  <a:lnTo>
                    <a:pt x="3514" y="163"/>
                  </a:lnTo>
                  <a:lnTo>
                    <a:pt x="3613" y="120"/>
                  </a:lnTo>
                  <a:lnTo>
                    <a:pt x="3713" y="80"/>
                  </a:lnTo>
                  <a:lnTo>
                    <a:pt x="3814" y="41"/>
                  </a:lnTo>
                  <a:lnTo>
                    <a:pt x="3916" y="5"/>
                  </a:lnTo>
                  <a:lnTo>
                    <a:pt x="3924" y="2"/>
                  </a:lnTo>
                  <a:lnTo>
                    <a:pt x="3932" y="1"/>
                  </a:lnTo>
                  <a:lnTo>
                    <a:pt x="3940" y="0"/>
                  </a:lnTo>
                  <a:lnTo>
                    <a:pt x="3948" y="0"/>
                  </a:lnTo>
                  <a:lnTo>
                    <a:pt x="3957" y="1"/>
                  </a:lnTo>
                  <a:lnTo>
                    <a:pt x="3965" y="3"/>
                  </a:lnTo>
                  <a:lnTo>
                    <a:pt x="3973" y="6"/>
                  </a:lnTo>
                  <a:lnTo>
                    <a:pt x="3980" y="9"/>
                  </a:lnTo>
                  <a:lnTo>
                    <a:pt x="3988" y="13"/>
                  </a:lnTo>
                  <a:lnTo>
                    <a:pt x="3995" y="18"/>
                  </a:lnTo>
                  <a:lnTo>
                    <a:pt x="4001" y="23"/>
                  </a:lnTo>
                  <a:lnTo>
                    <a:pt x="4006" y="29"/>
                  </a:lnTo>
                  <a:lnTo>
                    <a:pt x="4011" y="35"/>
                  </a:lnTo>
                  <a:lnTo>
                    <a:pt x="4016" y="43"/>
                  </a:lnTo>
                  <a:lnTo>
                    <a:pt x="4021" y="50"/>
                  </a:lnTo>
                  <a:lnTo>
                    <a:pt x="4024" y="58"/>
                  </a:lnTo>
                  <a:lnTo>
                    <a:pt x="4026" y="65"/>
                  </a:lnTo>
                  <a:lnTo>
                    <a:pt x="4027" y="72"/>
                  </a:lnTo>
                  <a:lnTo>
                    <a:pt x="4028" y="79"/>
                  </a:lnTo>
                  <a:lnTo>
                    <a:pt x="4028" y="85"/>
                  </a:lnTo>
                  <a:lnTo>
                    <a:pt x="4028" y="98"/>
                  </a:lnTo>
                  <a:lnTo>
                    <a:pt x="4025" y="111"/>
                  </a:lnTo>
                  <a:lnTo>
                    <a:pt x="4020" y="123"/>
                  </a:lnTo>
                  <a:lnTo>
                    <a:pt x="4013" y="134"/>
                  </a:lnTo>
                  <a:lnTo>
                    <a:pt x="4009" y="140"/>
                  </a:lnTo>
                  <a:lnTo>
                    <a:pt x="4005" y="145"/>
                  </a:lnTo>
                  <a:lnTo>
                    <a:pt x="4001" y="149"/>
                  </a:lnTo>
                  <a:lnTo>
                    <a:pt x="3996" y="153"/>
                  </a:lnTo>
                  <a:lnTo>
                    <a:pt x="3910" y="221"/>
                  </a:lnTo>
                  <a:lnTo>
                    <a:pt x="3827" y="290"/>
                  </a:lnTo>
                  <a:lnTo>
                    <a:pt x="3743" y="360"/>
                  </a:lnTo>
                  <a:lnTo>
                    <a:pt x="3662" y="431"/>
                  </a:lnTo>
                  <a:lnTo>
                    <a:pt x="3581" y="503"/>
                  </a:lnTo>
                  <a:lnTo>
                    <a:pt x="3500" y="576"/>
                  </a:lnTo>
                  <a:lnTo>
                    <a:pt x="3420" y="650"/>
                  </a:lnTo>
                  <a:lnTo>
                    <a:pt x="3341" y="724"/>
                  </a:lnTo>
                  <a:lnTo>
                    <a:pt x="3262" y="799"/>
                  </a:lnTo>
                  <a:lnTo>
                    <a:pt x="3185" y="876"/>
                  </a:lnTo>
                  <a:lnTo>
                    <a:pt x="3108" y="952"/>
                  </a:lnTo>
                  <a:lnTo>
                    <a:pt x="3032" y="1029"/>
                  </a:lnTo>
                  <a:lnTo>
                    <a:pt x="2956" y="1108"/>
                  </a:lnTo>
                  <a:lnTo>
                    <a:pt x="2880" y="1187"/>
                  </a:lnTo>
                  <a:lnTo>
                    <a:pt x="2806" y="1266"/>
                  </a:lnTo>
                  <a:lnTo>
                    <a:pt x="2732" y="1346"/>
                  </a:lnTo>
                  <a:lnTo>
                    <a:pt x="2658" y="1426"/>
                  </a:lnTo>
                  <a:lnTo>
                    <a:pt x="2585" y="1507"/>
                  </a:lnTo>
                  <a:lnTo>
                    <a:pt x="2512" y="1589"/>
                  </a:lnTo>
                  <a:lnTo>
                    <a:pt x="2438" y="1671"/>
                  </a:lnTo>
                  <a:lnTo>
                    <a:pt x="2294" y="1836"/>
                  </a:lnTo>
                  <a:lnTo>
                    <a:pt x="2152" y="2003"/>
                  </a:lnTo>
                  <a:lnTo>
                    <a:pt x="2010" y="2170"/>
                  </a:lnTo>
                  <a:lnTo>
                    <a:pt x="1868" y="2339"/>
                  </a:lnTo>
                  <a:lnTo>
                    <a:pt x="1727" y="2508"/>
                  </a:lnTo>
                  <a:lnTo>
                    <a:pt x="1587" y="2678"/>
                  </a:lnTo>
                  <a:lnTo>
                    <a:pt x="1511" y="2768"/>
                  </a:lnTo>
                  <a:lnTo>
                    <a:pt x="1436" y="2858"/>
                  </a:lnTo>
                  <a:lnTo>
                    <a:pt x="1361" y="2948"/>
                  </a:lnTo>
                  <a:lnTo>
                    <a:pt x="1286" y="3038"/>
                  </a:lnTo>
                  <a:lnTo>
                    <a:pt x="1211" y="3128"/>
                  </a:lnTo>
                  <a:lnTo>
                    <a:pt x="1136" y="3218"/>
                  </a:lnTo>
                  <a:lnTo>
                    <a:pt x="1059" y="3306"/>
                  </a:lnTo>
                  <a:lnTo>
                    <a:pt x="984" y="3396"/>
                  </a:lnTo>
                  <a:lnTo>
                    <a:pt x="907" y="3485"/>
                  </a:lnTo>
                  <a:lnTo>
                    <a:pt x="831" y="3573"/>
                  </a:lnTo>
                  <a:lnTo>
                    <a:pt x="753" y="3662"/>
                  </a:lnTo>
                  <a:lnTo>
                    <a:pt x="676" y="3750"/>
                  </a:lnTo>
                  <a:lnTo>
                    <a:pt x="598" y="3838"/>
                  </a:lnTo>
                  <a:lnTo>
                    <a:pt x="519" y="3925"/>
                  </a:lnTo>
                  <a:lnTo>
                    <a:pt x="439" y="4011"/>
                  </a:lnTo>
                  <a:lnTo>
                    <a:pt x="360" y="4098"/>
                  </a:lnTo>
                  <a:lnTo>
                    <a:pt x="354" y="4104"/>
                  </a:lnTo>
                  <a:lnTo>
                    <a:pt x="347" y="4109"/>
                  </a:lnTo>
                  <a:lnTo>
                    <a:pt x="339" y="4113"/>
                  </a:lnTo>
                  <a:lnTo>
                    <a:pt x="332" y="4118"/>
                  </a:lnTo>
                  <a:lnTo>
                    <a:pt x="325" y="4121"/>
                  </a:lnTo>
                  <a:lnTo>
                    <a:pt x="317" y="4123"/>
                  </a:lnTo>
                  <a:lnTo>
                    <a:pt x="308" y="4124"/>
                  </a:lnTo>
                  <a:lnTo>
                    <a:pt x="300" y="4125"/>
                  </a:lnTo>
                  <a:lnTo>
                    <a:pt x="292" y="4125"/>
                  </a:lnTo>
                  <a:lnTo>
                    <a:pt x="284" y="4124"/>
                  </a:lnTo>
                  <a:lnTo>
                    <a:pt x="277" y="4122"/>
                  </a:lnTo>
                  <a:lnTo>
                    <a:pt x="268" y="4120"/>
                  </a:lnTo>
                  <a:lnTo>
                    <a:pt x="261" y="4117"/>
                  </a:lnTo>
                  <a:lnTo>
                    <a:pt x="253" y="4112"/>
                  </a:lnTo>
                  <a:lnTo>
                    <a:pt x="247" y="4107"/>
                  </a:lnTo>
                  <a:lnTo>
                    <a:pt x="239" y="4102"/>
                  </a:lnTo>
                  <a:lnTo>
                    <a:pt x="232" y="4094"/>
                  </a:lnTo>
                  <a:lnTo>
                    <a:pt x="226" y="4085"/>
                  </a:lnTo>
                  <a:lnTo>
                    <a:pt x="221" y="4075"/>
                  </a:lnTo>
                  <a:lnTo>
                    <a:pt x="217" y="4065"/>
                  </a:lnTo>
                  <a:lnTo>
                    <a:pt x="216" y="4065"/>
                  </a:lnTo>
                  <a:lnTo>
                    <a:pt x="5" y="3385"/>
                  </a:lnTo>
                  <a:lnTo>
                    <a:pt x="2" y="3374"/>
                  </a:lnTo>
                  <a:lnTo>
                    <a:pt x="0" y="3365"/>
                  </a:lnTo>
                  <a:lnTo>
                    <a:pt x="0" y="3355"/>
                  </a:lnTo>
                  <a:lnTo>
                    <a:pt x="2" y="3345"/>
                  </a:lnTo>
                  <a:lnTo>
                    <a:pt x="4" y="3336"/>
                  </a:lnTo>
                  <a:lnTo>
                    <a:pt x="7" y="3327"/>
                  </a:lnTo>
                  <a:lnTo>
                    <a:pt x="11" y="3318"/>
                  </a:lnTo>
                  <a:lnTo>
                    <a:pt x="16" y="3309"/>
                  </a:lnTo>
                  <a:close/>
                  <a:moveTo>
                    <a:pt x="613" y="2800"/>
                  </a:moveTo>
                  <a:lnTo>
                    <a:pt x="558" y="2870"/>
                  </a:lnTo>
                  <a:lnTo>
                    <a:pt x="503" y="2940"/>
                  </a:lnTo>
                  <a:lnTo>
                    <a:pt x="449" y="3011"/>
                  </a:lnTo>
                  <a:lnTo>
                    <a:pt x="394" y="3083"/>
                  </a:lnTo>
                  <a:lnTo>
                    <a:pt x="340" y="3155"/>
                  </a:lnTo>
                  <a:lnTo>
                    <a:pt x="287" y="3228"/>
                  </a:lnTo>
                  <a:lnTo>
                    <a:pt x="233" y="3301"/>
                  </a:lnTo>
                  <a:lnTo>
                    <a:pt x="180" y="3374"/>
                  </a:lnTo>
                  <a:lnTo>
                    <a:pt x="335" y="3873"/>
                  </a:lnTo>
                  <a:lnTo>
                    <a:pt x="407" y="3794"/>
                  </a:lnTo>
                  <a:lnTo>
                    <a:pt x="479" y="3715"/>
                  </a:lnTo>
                  <a:lnTo>
                    <a:pt x="550" y="3634"/>
                  </a:lnTo>
                  <a:lnTo>
                    <a:pt x="622" y="3554"/>
                  </a:lnTo>
                  <a:lnTo>
                    <a:pt x="692" y="3473"/>
                  </a:lnTo>
                  <a:lnTo>
                    <a:pt x="763" y="3392"/>
                  </a:lnTo>
                  <a:lnTo>
                    <a:pt x="833" y="3310"/>
                  </a:lnTo>
                  <a:lnTo>
                    <a:pt x="902" y="3229"/>
                  </a:lnTo>
                  <a:lnTo>
                    <a:pt x="972" y="3147"/>
                  </a:lnTo>
                  <a:lnTo>
                    <a:pt x="1041" y="3064"/>
                  </a:lnTo>
                  <a:lnTo>
                    <a:pt x="1111" y="2982"/>
                  </a:lnTo>
                  <a:lnTo>
                    <a:pt x="1180" y="2899"/>
                  </a:lnTo>
                  <a:lnTo>
                    <a:pt x="1249" y="2817"/>
                  </a:lnTo>
                  <a:lnTo>
                    <a:pt x="1318" y="2734"/>
                  </a:lnTo>
                  <a:lnTo>
                    <a:pt x="1386" y="2652"/>
                  </a:lnTo>
                  <a:lnTo>
                    <a:pt x="1455" y="2568"/>
                  </a:lnTo>
                  <a:lnTo>
                    <a:pt x="1575" y="2424"/>
                  </a:lnTo>
                  <a:lnTo>
                    <a:pt x="1695" y="2280"/>
                  </a:lnTo>
                  <a:lnTo>
                    <a:pt x="1815" y="2136"/>
                  </a:lnTo>
                  <a:lnTo>
                    <a:pt x="1937" y="1992"/>
                  </a:lnTo>
                  <a:lnTo>
                    <a:pt x="2058" y="1850"/>
                  </a:lnTo>
                  <a:lnTo>
                    <a:pt x="2180" y="1707"/>
                  </a:lnTo>
                  <a:lnTo>
                    <a:pt x="2303" y="1567"/>
                  </a:lnTo>
                  <a:lnTo>
                    <a:pt x="2427" y="1427"/>
                  </a:lnTo>
                  <a:lnTo>
                    <a:pt x="2552" y="1289"/>
                  </a:lnTo>
                  <a:lnTo>
                    <a:pt x="2678" y="1152"/>
                  </a:lnTo>
                  <a:lnTo>
                    <a:pt x="2742" y="1084"/>
                  </a:lnTo>
                  <a:lnTo>
                    <a:pt x="2806" y="1017"/>
                  </a:lnTo>
                  <a:lnTo>
                    <a:pt x="2871" y="950"/>
                  </a:lnTo>
                  <a:lnTo>
                    <a:pt x="2936" y="883"/>
                  </a:lnTo>
                  <a:lnTo>
                    <a:pt x="3001" y="817"/>
                  </a:lnTo>
                  <a:lnTo>
                    <a:pt x="3067" y="752"/>
                  </a:lnTo>
                  <a:lnTo>
                    <a:pt x="3133" y="687"/>
                  </a:lnTo>
                  <a:lnTo>
                    <a:pt x="3200" y="622"/>
                  </a:lnTo>
                  <a:lnTo>
                    <a:pt x="3268" y="558"/>
                  </a:lnTo>
                  <a:lnTo>
                    <a:pt x="3335" y="495"/>
                  </a:lnTo>
                  <a:lnTo>
                    <a:pt x="3404" y="432"/>
                  </a:lnTo>
                  <a:lnTo>
                    <a:pt x="3473" y="369"/>
                  </a:lnTo>
                  <a:lnTo>
                    <a:pt x="3392" y="409"/>
                  </a:lnTo>
                  <a:lnTo>
                    <a:pt x="3312" y="449"/>
                  </a:lnTo>
                  <a:lnTo>
                    <a:pt x="3232" y="491"/>
                  </a:lnTo>
                  <a:lnTo>
                    <a:pt x="3152" y="533"/>
                  </a:lnTo>
                  <a:lnTo>
                    <a:pt x="3073" y="579"/>
                  </a:lnTo>
                  <a:lnTo>
                    <a:pt x="2995" y="624"/>
                  </a:lnTo>
                  <a:lnTo>
                    <a:pt x="2916" y="671"/>
                  </a:lnTo>
                  <a:lnTo>
                    <a:pt x="2838" y="720"/>
                  </a:lnTo>
                  <a:lnTo>
                    <a:pt x="2761" y="769"/>
                  </a:lnTo>
                  <a:lnTo>
                    <a:pt x="2684" y="821"/>
                  </a:lnTo>
                  <a:lnTo>
                    <a:pt x="2607" y="874"/>
                  </a:lnTo>
                  <a:lnTo>
                    <a:pt x="2531" y="927"/>
                  </a:lnTo>
                  <a:lnTo>
                    <a:pt x="2455" y="982"/>
                  </a:lnTo>
                  <a:lnTo>
                    <a:pt x="2380" y="1038"/>
                  </a:lnTo>
                  <a:lnTo>
                    <a:pt x="2305" y="1095"/>
                  </a:lnTo>
                  <a:lnTo>
                    <a:pt x="2230" y="1154"/>
                  </a:lnTo>
                  <a:lnTo>
                    <a:pt x="2156" y="1214"/>
                  </a:lnTo>
                  <a:lnTo>
                    <a:pt x="2082" y="1275"/>
                  </a:lnTo>
                  <a:lnTo>
                    <a:pt x="2009" y="1336"/>
                  </a:lnTo>
                  <a:lnTo>
                    <a:pt x="1936" y="1398"/>
                  </a:lnTo>
                  <a:lnTo>
                    <a:pt x="1864" y="1462"/>
                  </a:lnTo>
                  <a:lnTo>
                    <a:pt x="1792" y="1527"/>
                  </a:lnTo>
                  <a:lnTo>
                    <a:pt x="1721" y="1593"/>
                  </a:lnTo>
                  <a:lnTo>
                    <a:pt x="1650" y="1660"/>
                  </a:lnTo>
                  <a:lnTo>
                    <a:pt x="1578" y="1728"/>
                  </a:lnTo>
                  <a:lnTo>
                    <a:pt x="1508" y="1797"/>
                  </a:lnTo>
                  <a:lnTo>
                    <a:pt x="1439" y="1866"/>
                  </a:lnTo>
                  <a:lnTo>
                    <a:pt x="1370" y="1937"/>
                  </a:lnTo>
                  <a:lnTo>
                    <a:pt x="1301" y="2008"/>
                  </a:lnTo>
                  <a:lnTo>
                    <a:pt x="1233" y="2081"/>
                  </a:lnTo>
                  <a:lnTo>
                    <a:pt x="1165" y="2154"/>
                  </a:lnTo>
                  <a:lnTo>
                    <a:pt x="1098" y="2228"/>
                  </a:lnTo>
                  <a:lnTo>
                    <a:pt x="1037" y="2297"/>
                  </a:lnTo>
                  <a:lnTo>
                    <a:pt x="975" y="2366"/>
                  </a:lnTo>
                  <a:lnTo>
                    <a:pt x="914" y="2437"/>
                  </a:lnTo>
                  <a:lnTo>
                    <a:pt x="853" y="2508"/>
                  </a:lnTo>
                  <a:lnTo>
                    <a:pt x="793" y="2581"/>
                  </a:lnTo>
                  <a:lnTo>
                    <a:pt x="733" y="2653"/>
                  </a:lnTo>
                  <a:lnTo>
                    <a:pt x="673" y="2726"/>
                  </a:lnTo>
                  <a:lnTo>
                    <a:pt x="613" y="28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8" name="Freeform 64"/>
            <p:cNvSpPr>
              <a:spLocks noChangeArrowheads="1"/>
            </p:cNvSpPr>
            <p:nvPr/>
          </p:nvSpPr>
          <p:spPr bwMode="auto">
            <a:xfrm>
              <a:off x="1169988" y="2298610"/>
              <a:ext cx="1735137" cy="2190796"/>
            </a:xfrm>
            <a:custGeom>
              <a:avLst/>
              <a:gdLst>
                <a:gd name="T0" fmla="*/ 0 w 3856"/>
                <a:gd name="T1" fmla="*/ 3273 h 3953"/>
                <a:gd name="T2" fmla="*/ 100 w 3856"/>
                <a:gd name="T3" fmla="*/ 3135 h 3953"/>
                <a:gd name="T4" fmla="*/ 202 w 3856"/>
                <a:gd name="T5" fmla="*/ 2997 h 3953"/>
                <a:gd name="T6" fmla="*/ 305 w 3856"/>
                <a:gd name="T7" fmla="*/ 2862 h 3953"/>
                <a:gd name="T8" fmla="*/ 409 w 3856"/>
                <a:gd name="T9" fmla="*/ 2727 h 3953"/>
                <a:gd name="T10" fmla="*/ 515 w 3856"/>
                <a:gd name="T11" fmla="*/ 2594 h 3953"/>
                <a:gd name="T12" fmla="*/ 622 w 3856"/>
                <a:gd name="T13" fmla="*/ 2463 h 3953"/>
                <a:gd name="T14" fmla="*/ 730 w 3856"/>
                <a:gd name="T15" fmla="*/ 2334 h 3953"/>
                <a:gd name="T16" fmla="*/ 840 w 3856"/>
                <a:gd name="T17" fmla="*/ 2206 h 3953"/>
                <a:gd name="T18" fmla="*/ 952 w 3856"/>
                <a:gd name="T19" fmla="*/ 2081 h 3953"/>
                <a:gd name="T20" fmla="*/ 1065 w 3856"/>
                <a:gd name="T21" fmla="*/ 1958 h 3953"/>
                <a:gd name="T22" fmla="*/ 1179 w 3856"/>
                <a:gd name="T23" fmla="*/ 1837 h 3953"/>
                <a:gd name="T24" fmla="*/ 1295 w 3856"/>
                <a:gd name="T25" fmla="*/ 1718 h 3953"/>
                <a:gd name="T26" fmla="*/ 1411 w 3856"/>
                <a:gd name="T27" fmla="*/ 1603 h 3953"/>
                <a:gd name="T28" fmla="*/ 1530 w 3856"/>
                <a:gd name="T29" fmla="*/ 1490 h 3953"/>
                <a:gd name="T30" fmla="*/ 1649 w 3856"/>
                <a:gd name="T31" fmla="*/ 1378 h 3953"/>
                <a:gd name="T32" fmla="*/ 1770 w 3856"/>
                <a:gd name="T33" fmla="*/ 1270 h 3953"/>
                <a:gd name="T34" fmla="*/ 1891 w 3856"/>
                <a:gd name="T35" fmla="*/ 1165 h 3953"/>
                <a:gd name="T36" fmla="*/ 2014 w 3856"/>
                <a:gd name="T37" fmla="*/ 1063 h 3953"/>
                <a:gd name="T38" fmla="*/ 2138 w 3856"/>
                <a:gd name="T39" fmla="*/ 964 h 3953"/>
                <a:gd name="T40" fmla="*/ 2264 w 3856"/>
                <a:gd name="T41" fmla="*/ 868 h 3953"/>
                <a:gd name="T42" fmla="*/ 2391 w 3856"/>
                <a:gd name="T43" fmla="*/ 775 h 3953"/>
                <a:gd name="T44" fmla="*/ 2518 w 3856"/>
                <a:gd name="T45" fmla="*/ 685 h 3953"/>
                <a:gd name="T46" fmla="*/ 2647 w 3856"/>
                <a:gd name="T47" fmla="*/ 600 h 3953"/>
                <a:gd name="T48" fmla="*/ 2777 w 3856"/>
                <a:gd name="T49" fmla="*/ 517 h 3953"/>
                <a:gd name="T50" fmla="*/ 2909 w 3856"/>
                <a:gd name="T51" fmla="*/ 439 h 3953"/>
                <a:gd name="T52" fmla="*/ 3041 w 3856"/>
                <a:gd name="T53" fmla="*/ 364 h 3953"/>
                <a:gd name="T54" fmla="*/ 3174 w 3856"/>
                <a:gd name="T55" fmla="*/ 294 h 3953"/>
                <a:gd name="T56" fmla="*/ 3308 w 3856"/>
                <a:gd name="T57" fmla="*/ 227 h 3953"/>
                <a:gd name="T58" fmla="*/ 3444 w 3856"/>
                <a:gd name="T59" fmla="*/ 164 h 3953"/>
                <a:gd name="T60" fmla="*/ 3580 w 3856"/>
                <a:gd name="T61" fmla="*/ 105 h 3953"/>
                <a:gd name="T62" fmla="*/ 3718 w 3856"/>
                <a:gd name="T63" fmla="*/ 50 h 3953"/>
                <a:gd name="T64" fmla="*/ 3856 w 3856"/>
                <a:gd name="T65" fmla="*/ 0 h 3953"/>
                <a:gd name="T66" fmla="*/ 3727 w 3856"/>
                <a:gd name="T67" fmla="*/ 105 h 3953"/>
                <a:gd name="T68" fmla="*/ 3599 w 3856"/>
                <a:gd name="T69" fmla="*/ 212 h 3953"/>
                <a:gd name="T70" fmla="*/ 3473 w 3856"/>
                <a:gd name="T71" fmla="*/ 322 h 3953"/>
                <a:gd name="T72" fmla="*/ 3348 w 3856"/>
                <a:gd name="T73" fmla="*/ 433 h 3953"/>
                <a:gd name="T74" fmla="*/ 3227 w 3856"/>
                <a:gd name="T75" fmla="*/ 547 h 3953"/>
                <a:gd name="T76" fmla="*/ 3106 w 3856"/>
                <a:gd name="T77" fmla="*/ 663 h 3953"/>
                <a:gd name="T78" fmla="*/ 2987 w 3856"/>
                <a:gd name="T79" fmla="*/ 780 h 3953"/>
                <a:gd name="T80" fmla="*/ 2870 w 3856"/>
                <a:gd name="T81" fmla="*/ 899 h 3953"/>
                <a:gd name="T82" fmla="*/ 2754 w 3856"/>
                <a:gd name="T83" fmla="*/ 1019 h 3953"/>
                <a:gd name="T84" fmla="*/ 2639 w 3856"/>
                <a:gd name="T85" fmla="*/ 1141 h 3953"/>
                <a:gd name="T86" fmla="*/ 2526 w 3856"/>
                <a:gd name="T87" fmla="*/ 1265 h 3953"/>
                <a:gd name="T88" fmla="*/ 2413 w 3856"/>
                <a:gd name="T89" fmla="*/ 1390 h 3953"/>
                <a:gd name="T90" fmla="*/ 2301 w 3856"/>
                <a:gd name="T91" fmla="*/ 1515 h 3953"/>
                <a:gd name="T92" fmla="*/ 2190 w 3856"/>
                <a:gd name="T93" fmla="*/ 1641 h 3953"/>
                <a:gd name="T94" fmla="*/ 2080 w 3856"/>
                <a:gd name="T95" fmla="*/ 1769 h 3953"/>
                <a:gd name="T96" fmla="*/ 1970 w 3856"/>
                <a:gd name="T97" fmla="*/ 1897 h 3953"/>
                <a:gd name="T98" fmla="*/ 1753 w 3856"/>
                <a:gd name="T99" fmla="*/ 2155 h 3953"/>
                <a:gd name="T100" fmla="*/ 1536 w 3856"/>
                <a:gd name="T101" fmla="*/ 2415 h 3953"/>
                <a:gd name="T102" fmla="*/ 1319 w 3856"/>
                <a:gd name="T103" fmla="*/ 2675 h 3953"/>
                <a:gd name="T104" fmla="*/ 1103 w 3856"/>
                <a:gd name="T105" fmla="*/ 2935 h 3953"/>
                <a:gd name="T106" fmla="*/ 994 w 3856"/>
                <a:gd name="T107" fmla="*/ 3065 h 3953"/>
                <a:gd name="T108" fmla="*/ 885 w 3856"/>
                <a:gd name="T109" fmla="*/ 3195 h 3953"/>
                <a:gd name="T110" fmla="*/ 775 w 3856"/>
                <a:gd name="T111" fmla="*/ 3322 h 3953"/>
                <a:gd name="T112" fmla="*/ 663 w 3856"/>
                <a:gd name="T113" fmla="*/ 3450 h 3953"/>
                <a:gd name="T114" fmla="*/ 552 w 3856"/>
                <a:gd name="T115" fmla="*/ 3578 h 3953"/>
                <a:gd name="T116" fmla="*/ 440 w 3856"/>
                <a:gd name="T117" fmla="*/ 3704 h 3953"/>
                <a:gd name="T118" fmla="*/ 326 w 3856"/>
                <a:gd name="T119" fmla="*/ 3830 h 3953"/>
                <a:gd name="T120" fmla="*/ 212 w 3856"/>
                <a:gd name="T121" fmla="*/ 3953 h 3953"/>
                <a:gd name="T122" fmla="*/ 0 w 3856"/>
                <a:gd name="T123" fmla="*/ 3273 h 3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56" h="3953">
                  <a:moveTo>
                    <a:pt x="0" y="3273"/>
                  </a:moveTo>
                  <a:lnTo>
                    <a:pt x="100" y="3135"/>
                  </a:lnTo>
                  <a:lnTo>
                    <a:pt x="202" y="2997"/>
                  </a:lnTo>
                  <a:lnTo>
                    <a:pt x="305" y="2862"/>
                  </a:lnTo>
                  <a:lnTo>
                    <a:pt x="409" y="2727"/>
                  </a:lnTo>
                  <a:lnTo>
                    <a:pt x="515" y="2594"/>
                  </a:lnTo>
                  <a:lnTo>
                    <a:pt x="622" y="2463"/>
                  </a:lnTo>
                  <a:lnTo>
                    <a:pt x="730" y="2334"/>
                  </a:lnTo>
                  <a:lnTo>
                    <a:pt x="840" y="2206"/>
                  </a:lnTo>
                  <a:lnTo>
                    <a:pt x="952" y="2081"/>
                  </a:lnTo>
                  <a:lnTo>
                    <a:pt x="1065" y="1958"/>
                  </a:lnTo>
                  <a:lnTo>
                    <a:pt x="1179" y="1837"/>
                  </a:lnTo>
                  <a:lnTo>
                    <a:pt x="1295" y="1718"/>
                  </a:lnTo>
                  <a:lnTo>
                    <a:pt x="1411" y="1603"/>
                  </a:lnTo>
                  <a:lnTo>
                    <a:pt x="1530" y="1490"/>
                  </a:lnTo>
                  <a:lnTo>
                    <a:pt x="1649" y="1378"/>
                  </a:lnTo>
                  <a:lnTo>
                    <a:pt x="1770" y="1270"/>
                  </a:lnTo>
                  <a:lnTo>
                    <a:pt x="1891" y="1165"/>
                  </a:lnTo>
                  <a:lnTo>
                    <a:pt x="2014" y="1063"/>
                  </a:lnTo>
                  <a:lnTo>
                    <a:pt x="2138" y="964"/>
                  </a:lnTo>
                  <a:lnTo>
                    <a:pt x="2264" y="868"/>
                  </a:lnTo>
                  <a:lnTo>
                    <a:pt x="2391" y="775"/>
                  </a:lnTo>
                  <a:lnTo>
                    <a:pt x="2518" y="685"/>
                  </a:lnTo>
                  <a:lnTo>
                    <a:pt x="2647" y="600"/>
                  </a:lnTo>
                  <a:lnTo>
                    <a:pt x="2777" y="517"/>
                  </a:lnTo>
                  <a:lnTo>
                    <a:pt x="2909" y="439"/>
                  </a:lnTo>
                  <a:lnTo>
                    <a:pt x="3041" y="364"/>
                  </a:lnTo>
                  <a:lnTo>
                    <a:pt x="3174" y="294"/>
                  </a:lnTo>
                  <a:lnTo>
                    <a:pt x="3308" y="227"/>
                  </a:lnTo>
                  <a:lnTo>
                    <a:pt x="3444" y="164"/>
                  </a:lnTo>
                  <a:lnTo>
                    <a:pt x="3580" y="105"/>
                  </a:lnTo>
                  <a:lnTo>
                    <a:pt x="3718" y="50"/>
                  </a:lnTo>
                  <a:lnTo>
                    <a:pt x="3856" y="0"/>
                  </a:lnTo>
                  <a:lnTo>
                    <a:pt x="3727" y="105"/>
                  </a:lnTo>
                  <a:lnTo>
                    <a:pt x="3599" y="212"/>
                  </a:lnTo>
                  <a:lnTo>
                    <a:pt x="3473" y="322"/>
                  </a:lnTo>
                  <a:lnTo>
                    <a:pt x="3348" y="433"/>
                  </a:lnTo>
                  <a:lnTo>
                    <a:pt x="3227" y="547"/>
                  </a:lnTo>
                  <a:lnTo>
                    <a:pt x="3106" y="663"/>
                  </a:lnTo>
                  <a:lnTo>
                    <a:pt x="2987" y="780"/>
                  </a:lnTo>
                  <a:lnTo>
                    <a:pt x="2870" y="899"/>
                  </a:lnTo>
                  <a:lnTo>
                    <a:pt x="2754" y="1019"/>
                  </a:lnTo>
                  <a:lnTo>
                    <a:pt x="2639" y="1141"/>
                  </a:lnTo>
                  <a:lnTo>
                    <a:pt x="2526" y="1265"/>
                  </a:lnTo>
                  <a:lnTo>
                    <a:pt x="2413" y="1390"/>
                  </a:lnTo>
                  <a:lnTo>
                    <a:pt x="2301" y="1515"/>
                  </a:lnTo>
                  <a:lnTo>
                    <a:pt x="2190" y="1641"/>
                  </a:lnTo>
                  <a:lnTo>
                    <a:pt x="2080" y="1769"/>
                  </a:lnTo>
                  <a:lnTo>
                    <a:pt x="1970" y="1897"/>
                  </a:lnTo>
                  <a:lnTo>
                    <a:pt x="1753" y="2155"/>
                  </a:lnTo>
                  <a:lnTo>
                    <a:pt x="1536" y="2415"/>
                  </a:lnTo>
                  <a:lnTo>
                    <a:pt x="1319" y="2675"/>
                  </a:lnTo>
                  <a:lnTo>
                    <a:pt x="1103" y="2935"/>
                  </a:lnTo>
                  <a:lnTo>
                    <a:pt x="994" y="3065"/>
                  </a:lnTo>
                  <a:lnTo>
                    <a:pt x="885" y="3195"/>
                  </a:lnTo>
                  <a:lnTo>
                    <a:pt x="775" y="3322"/>
                  </a:lnTo>
                  <a:lnTo>
                    <a:pt x="663" y="3450"/>
                  </a:lnTo>
                  <a:lnTo>
                    <a:pt x="552" y="3578"/>
                  </a:lnTo>
                  <a:lnTo>
                    <a:pt x="440" y="3704"/>
                  </a:lnTo>
                  <a:lnTo>
                    <a:pt x="326" y="3830"/>
                  </a:lnTo>
                  <a:lnTo>
                    <a:pt x="212" y="3953"/>
                  </a:lnTo>
                  <a:lnTo>
                    <a:pt x="0" y="327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0" name="Freeform 66"/>
            <p:cNvSpPr>
              <a:spLocks noChangeArrowheads="1"/>
            </p:cNvSpPr>
            <p:nvPr/>
          </p:nvSpPr>
          <p:spPr bwMode="auto">
            <a:xfrm>
              <a:off x="1284288" y="1996979"/>
              <a:ext cx="1849437" cy="1624047"/>
            </a:xfrm>
            <a:custGeom>
              <a:avLst/>
              <a:gdLst>
                <a:gd name="T0" fmla="*/ 112 w 4111"/>
                <a:gd name="T1" fmla="*/ 2799 h 2933"/>
                <a:gd name="T2" fmla="*/ 339 w 4111"/>
                <a:gd name="T3" fmla="*/ 2535 h 2933"/>
                <a:gd name="T4" fmla="*/ 571 w 4111"/>
                <a:gd name="T5" fmla="*/ 2280 h 2933"/>
                <a:gd name="T6" fmla="*/ 808 w 4111"/>
                <a:gd name="T7" fmla="*/ 2033 h 2933"/>
                <a:gd name="T8" fmla="*/ 1050 w 4111"/>
                <a:gd name="T9" fmla="*/ 1796 h 2933"/>
                <a:gd name="T10" fmla="*/ 1295 w 4111"/>
                <a:gd name="T11" fmla="*/ 1569 h 2933"/>
                <a:gd name="T12" fmla="*/ 1545 w 4111"/>
                <a:gd name="T13" fmla="*/ 1354 h 2933"/>
                <a:gd name="T14" fmla="*/ 1800 w 4111"/>
                <a:gd name="T15" fmla="*/ 1150 h 2933"/>
                <a:gd name="T16" fmla="*/ 2058 w 4111"/>
                <a:gd name="T17" fmla="*/ 959 h 2933"/>
                <a:gd name="T18" fmla="*/ 2320 w 4111"/>
                <a:gd name="T19" fmla="*/ 781 h 2933"/>
                <a:gd name="T20" fmla="*/ 2586 w 4111"/>
                <a:gd name="T21" fmla="*/ 617 h 2933"/>
                <a:gd name="T22" fmla="*/ 2856 w 4111"/>
                <a:gd name="T23" fmla="*/ 468 h 2933"/>
                <a:gd name="T24" fmla="*/ 3128 w 4111"/>
                <a:gd name="T25" fmla="*/ 334 h 2933"/>
                <a:gd name="T26" fmla="*/ 3406 w 4111"/>
                <a:gd name="T27" fmla="*/ 217 h 2933"/>
                <a:gd name="T28" fmla="*/ 3686 w 4111"/>
                <a:gd name="T29" fmla="*/ 117 h 2933"/>
                <a:gd name="T30" fmla="*/ 3968 w 4111"/>
                <a:gd name="T31" fmla="*/ 34 h 2933"/>
                <a:gd name="T32" fmla="*/ 4013 w 4111"/>
                <a:gd name="T33" fmla="*/ 64 h 2933"/>
                <a:gd name="T34" fmla="*/ 3822 w 4111"/>
                <a:gd name="T35" fmla="*/ 193 h 2933"/>
                <a:gd name="T36" fmla="*/ 3637 w 4111"/>
                <a:gd name="T37" fmla="*/ 323 h 2933"/>
                <a:gd name="T38" fmla="*/ 3460 w 4111"/>
                <a:gd name="T39" fmla="*/ 456 h 2933"/>
                <a:gd name="T40" fmla="*/ 3288 w 4111"/>
                <a:gd name="T41" fmla="*/ 590 h 2933"/>
                <a:gd name="T42" fmla="*/ 3121 w 4111"/>
                <a:gd name="T43" fmla="*/ 727 h 2933"/>
                <a:gd name="T44" fmla="*/ 2960 w 4111"/>
                <a:gd name="T45" fmla="*/ 867 h 2933"/>
                <a:gd name="T46" fmla="*/ 2801 w 4111"/>
                <a:gd name="T47" fmla="*/ 1012 h 2933"/>
                <a:gd name="T48" fmla="*/ 2646 w 4111"/>
                <a:gd name="T49" fmla="*/ 1159 h 2933"/>
                <a:gd name="T50" fmla="*/ 2494 w 4111"/>
                <a:gd name="T51" fmla="*/ 1311 h 2933"/>
                <a:gd name="T52" fmla="*/ 2344 w 4111"/>
                <a:gd name="T53" fmla="*/ 1466 h 2933"/>
                <a:gd name="T54" fmla="*/ 2194 w 4111"/>
                <a:gd name="T55" fmla="*/ 1628 h 2933"/>
                <a:gd name="T56" fmla="*/ 2047 w 4111"/>
                <a:gd name="T57" fmla="*/ 1794 h 2933"/>
                <a:gd name="T58" fmla="*/ 1899 w 4111"/>
                <a:gd name="T59" fmla="*/ 1966 h 2933"/>
                <a:gd name="T60" fmla="*/ 1750 w 4111"/>
                <a:gd name="T61" fmla="*/ 2145 h 2933"/>
                <a:gd name="T62" fmla="*/ 1601 w 4111"/>
                <a:gd name="T63" fmla="*/ 2329 h 2933"/>
                <a:gd name="T64" fmla="*/ 1430 w 4111"/>
                <a:gd name="T65" fmla="*/ 2455 h 2933"/>
                <a:gd name="T66" fmla="*/ 1239 w 4111"/>
                <a:gd name="T67" fmla="*/ 2519 h 2933"/>
                <a:gd name="T68" fmla="*/ 1049 w 4111"/>
                <a:gd name="T69" fmla="*/ 2583 h 2933"/>
                <a:gd name="T70" fmla="*/ 858 w 4111"/>
                <a:gd name="T71" fmla="*/ 2647 h 2933"/>
                <a:gd name="T72" fmla="*/ 668 w 4111"/>
                <a:gd name="T73" fmla="*/ 2711 h 2933"/>
                <a:gd name="T74" fmla="*/ 477 w 4111"/>
                <a:gd name="T75" fmla="*/ 2774 h 2933"/>
                <a:gd name="T76" fmla="*/ 286 w 4111"/>
                <a:gd name="T77" fmla="*/ 2838 h 2933"/>
                <a:gd name="T78" fmla="*/ 95 w 4111"/>
                <a:gd name="T79" fmla="*/ 2902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11" h="2933">
                  <a:moveTo>
                    <a:pt x="0" y="2933"/>
                  </a:moveTo>
                  <a:lnTo>
                    <a:pt x="112" y="2799"/>
                  </a:lnTo>
                  <a:lnTo>
                    <a:pt x="225" y="2666"/>
                  </a:lnTo>
                  <a:lnTo>
                    <a:pt x="339" y="2535"/>
                  </a:lnTo>
                  <a:lnTo>
                    <a:pt x="455" y="2406"/>
                  </a:lnTo>
                  <a:lnTo>
                    <a:pt x="571" y="2280"/>
                  </a:lnTo>
                  <a:lnTo>
                    <a:pt x="689" y="2156"/>
                  </a:lnTo>
                  <a:lnTo>
                    <a:pt x="808" y="2033"/>
                  </a:lnTo>
                  <a:lnTo>
                    <a:pt x="928" y="1914"/>
                  </a:lnTo>
                  <a:lnTo>
                    <a:pt x="1050" y="1796"/>
                  </a:lnTo>
                  <a:lnTo>
                    <a:pt x="1171" y="1682"/>
                  </a:lnTo>
                  <a:lnTo>
                    <a:pt x="1295" y="1569"/>
                  </a:lnTo>
                  <a:lnTo>
                    <a:pt x="1420" y="1460"/>
                  </a:lnTo>
                  <a:lnTo>
                    <a:pt x="1545" y="1354"/>
                  </a:lnTo>
                  <a:lnTo>
                    <a:pt x="1672" y="1251"/>
                  </a:lnTo>
                  <a:lnTo>
                    <a:pt x="1800" y="1150"/>
                  </a:lnTo>
                  <a:lnTo>
                    <a:pt x="1929" y="1053"/>
                  </a:lnTo>
                  <a:lnTo>
                    <a:pt x="2058" y="959"/>
                  </a:lnTo>
                  <a:lnTo>
                    <a:pt x="2189" y="868"/>
                  </a:lnTo>
                  <a:lnTo>
                    <a:pt x="2320" y="781"/>
                  </a:lnTo>
                  <a:lnTo>
                    <a:pt x="2453" y="697"/>
                  </a:lnTo>
                  <a:lnTo>
                    <a:pt x="2586" y="617"/>
                  </a:lnTo>
                  <a:lnTo>
                    <a:pt x="2721" y="541"/>
                  </a:lnTo>
                  <a:lnTo>
                    <a:pt x="2856" y="468"/>
                  </a:lnTo>
                  <a:lnTo>
                    <a:pt x="2993" y="399"/>
                  </a:lnTo>
                  <a:lnTo>
                    <a:pt x="3128" y="334"/>
                  </a:lnTo>
                  <a:lnTo>
                    <a:pt x="3267" y="274"/>
                  </a:lnTo>
                  <a:lnTo>
                    <a:pt x="3406" y="217"/>
                  </a:lnTo>
                  <a:lnTo>
                    <a:pt x="3545" y="165"/>
                  </a:lnTo>
                  <a:lnTo>
                    <a:pt x="3686" y="117"/>
                  </a:lnTo>
                  <a:lnTo>
                    <a:pt x="3827" y="74"/>
                  </a:lnTo>
                  <a:lnTo>
                    <a:pt x="3968" y="34"/>
                  </a:lnTo>
                  <a:lnTo>
                    <a:pt x="4111" y="0"/>
                  </a:lnTo>
                  <a:lnTo>
                    <a:pt x="4013" y="64"/>
                  </a:lnTo>
                  <a:lnTo>
                    <a:pt x="3916" y="128"/>
                  </a:lnTo>
                  <a:lnTo>
                    <a:pt x="3822" y="193"/>
                  </a:lnTo>
                  <a:lnTo>
                    <a:pt x="3729" y="258"/>
                  </a:lnTo>
                  <a:lnTo>
                    <a:pt x="3637" y="323"/>
                  </a:lnTo>
                  <a:lnTo>
                    <a:pt x="3548" y="389"/>
                  </a:lnTo>
                  <a:lnTo>
                    <a:pt x="3460" y="456"/>
                  </a:lnTo>
                  <a:lnTo>
                    <a:pt x="3374" y="523"/>
                  </a:lnTo>
                  <a:lnTo>
                    <a:pt x="3288" y="590"/>
                  </a:lnTo>
                  <a:lnTo>
                    <a:pt x="3204" y="658"/>
                  </a:lnTo>
                  <a:lnTo>
                    <a:pt x="3121" y="727"/>
                  </a:lnTo>
                  <a:lnTo>
                    <a:pt x="3040" y="797"/>
                  </a:lnTo>
                  <a:lnTo>
                    <a:pt x="2960" y="867"/>
                  </a:lnTo>
                  <a:lnTo>
                    <a:pt x="2879" y="940"/>
                  </a:lnTo>
                  <a:lnTo>
                    <a:pt x="2801" y="1012"/>
                  </a:lnTo>
                  <a:lnTo>
                    <a:pt x="2723" y="1085"/>
                  </a:lnTo>
                  <a:lnTo>
                    <a:pt x="2646" y="1159"/>
                  </a:lnTo>
                  <a:lnTo>
                    <a:pt x="2569" y="1234"/>
                  </a:lnTo>
                  <a:lnTo>
                    <a:pt x="2494" y="1311"/>
                  </a:lnTo>
                  <a:lnTo>
                    <a:pt x="2419" y="1388"/>
                  </a:lnTo>
                  <a:lnTo>
                    <a:pt x="2344" y="1466"/>
                  </a:lnTo>
                  <a:lnTo>
                    <a:pt x="2268" y="1547"/>
                  </a:lnTo>
                  <a:lnTo>
                    <a:pt x="2194" y="1628"/>
                  </a:lnTo>
                  <a:lnTo>
                    <a:pt x="2120" y="1711"/>
                  </a:lnTo>
                  <a:lnTo>
                    <a:pt x="2047" y="1794"/>
                  </a:lnTo>
                  <a:lnTo>
                    <a:pt x="1973" y="1880"/>
                  </a:lnTo>
                  <a:lnTo>
                    <a:pt x="1899" y="1966"/>
                  </a:lnTo>
                  <a:lnTo>
                    <a:pt x="1825" y="2054"/>
                  </a:lnTo>
                  <a:lnTo>
                    <a:pt x="1750" y="2145"/>
                  </a:lnTo>
                  <a:lnTo>
                    <a:pt x="1676" y="2235"/>
                  </a:lnTo>
                  <a:lnTo>
                    <a:pt x="1601" y="2329"/>
                  </a:lnTo>
                  <a:lnTo>
                    <a:pt x="1526" y="2423"/>
                  </a:lnTo>
                  <a:lnTo>
                    <a:pt x="1430" y="2455"/>
                  </a:lnTo>
                  <a:lnTo>
                    <a:pt x="1335" y="2487"/>
                  </a:lnTo>
                  <a:lnTo>
                    <a:pt x="1239" y="2519"/>
                  </a:lnTo>
                  <a:lnTo>
                    <a:pt x="1145" y="2551"/>
                  </a:lnTo>
                  <a:lnTo>
                    <a:pt x="1049" y="2583"/>
                  </a:lnTo>
                  <a:lnTo>
                    <a:pt x="954" y="2615"/>
                  </a:lnTo>
                  <a:lnTo>
                    <a:pt x="858" y="2647"/>
                  </a:lnTo>
                  <a:lnTo>
                    <a:pt x="763" y="2679"/>
                  </a:lnTo>
                  <a:lnTo>
                    <a:pt x="668" y="2711"/>
                  </a:lnTo>
                  <a:lnTo>
                    <a:pt x="572" y="2742"/>
                  </a:lnTo>
                  <a:lnTo>
                    <a:pt x="477" y="2774"/>
                  </a:lnTo>
                  <a:lnTo>
                    <a:pt x="381" y="2806"/>
                  </a:lnTo>
                  <a:lnTo>
                    <a:pt x="286" y="2838"/>
                  </a:lnTo>
                  <a:lnTo>
                    <a:pt x="191" y="2870"/>
                  </a:lnTo>
                  <a:lnTo>
                    <a:pt x="95" y="2902"/>
                  </a:lnTo>
                  <a:lnTo>
                    <a:pt x="0" y="29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2" name="Freeform 68"/>
            <p:cNvSpPr>
              <a:spLocks noChangeArrowheads="1"/>
            </p:cNvSpPr>
            <p:nvPr/>
          </p:nvSpPr>
          <p:spPr bwMode="auto">
            <a:xfrm>
              <a:off x="787400" y="2839960"/>
              <a:ext cx="417513" cy="1960604"/>
            </a:xfrm>
            <a:custGeom>
              <a:avLst/>
              <a:gdLst>
                <a:gd name="T0" fmla="*/ 95 w 937"/>
                <a:gd name="T1" fmla="*/ 3301 h 3530"/>
                <a:gd name="T2" fmla="*/ 47 w 937"/>
                <a:gd name="T3" fmla="*/ 3019 h 3530"/>
                <a:gd name="T4" fmla="*/ 15 w 937"/>
                <a:gd name="T5" fmla="*/ 2724 h 3530"/>
                <a:gd name="T6" fmla="*/ 0 w 937"/>
                <a:gd name="T7" fmla="*/ 2382 h 3530"/>
                <a:gd name="T8" fmla="*/ 9 w 937"/>
                <a:gd name="T9" fmla="*/ 1980 h 3530"/>
                <a:gd name="T10" fmla="*/ 44 w 937"/>
                <a:gd name="T11" fmla="*/ 1573 h 3530"/>
                <a:gd name="T12" fmla="*/ 105 w 937"/>
                <a:gd name="T13" fmla="*/ 1170 h 3530"/>
                <a:gd name="T14" fmla="*/ 191 w 937"/>
                <a:gd name="T15" fmla="*/ 776 h 3530"/>
                <a:gd name="T16" fmla="*/ 301 w 937"/>
                <a:gd name="T17" fmla="*/ 402 h 3530"/>
                <a:gd name="T18" fmla="*/ 435 w 937"/>
                <a:gd name="T19" fmla="*/ 52 h 3530"/>
                <a:gd name="T20" fmla="*/ 460 w 937"/>
                <a:gd name="T21" fmla="*/ 19 h 3530"/>
                <a:gd name="T22" fmla="*/ 497 w 937"/>
                <a:gd name="T23" fmla="*/ 1 h 3530"/>
                <a:gd name="T24" fmla="*/ 539 w 937"/>
                <a:gd name="T25" fmla="*/ 4 h 3530"/>
                <a:gd name="T26" fmla="*/ 570 w 937"/>
                <a:gd name="T27" fmla="*/ 22 h 3530"/>
                <a:gd name="T28" fmla="*/ 598 w 937"/>
                <a:gd name="T29" fmla="*/ 81 h 3530"/>
                <a:gd name="T30" fmla="*/ 594 w 937"/>
                <a:gd name="T31" fmla="*/ 202 h 3530"/>
                <a:gd name="T32" fmla="*/ 602 w 937"/>
                <a:gd name="T33" fmla="*/ 486 h 3530"/>
                <a:gd name="T34" fmla="*/ 626 w 937"/>
                <a:gd name="T35" fmla="*/ 810 h 3530"/>
                <a:gd name="T36" fmla="*/ 714 w 937"/>
                <a:gd name="T37" fmla="*/ 1529 h 3530"/>
                <a:gd name="T38" fmla="*/ 822 w 937"/>
                <a:gd name="T39" fmla="*/ 2254 h 3530"/>
                <a:gd name="T40" fmla="*/ 864 w 937"/>
                <a:gd name="T41" fmla="*/ 2531 h 3530"/>
                <a:gd name="T42" fmla="*/ 901 w 937"/>
                <a:gd name="T43" fmla="*/ 2786 h 3530"/>
                <a:gd name="T44" fmla="*/ 932 w 937"/>
                <a:gd name="T45" fmla="*/ 3010 h 3530"/>
                <a:gd name="T46" fmla="*/ 935 w 937"/>
                <a:gd name="T47" fmla="*/ 3080 h 3530"/>
                <a:gd name="T48" fmla="*/ 902 w 937"/>
                <a:gd name="T49" fmla="*/ 3233 h 3530"/>
                <a:gd name="T50" fmla="*/ 855 w 937"/>
                <a:gd name="T51" fmla="*/ 3341 h 3530"/>
                <a:gd name="T52" fmla="*/ 794 w 937"/>
                <a:gd name="T53" fmla="*/ 3413 h 3530"/>
                <a:gd name="T54" fmla="*/ 725 w 937"/>
                <a:gd name="T55" fmla="*/ 3454 h 3530"/>
                <a:gd name="T56" fmla="*/ 649 w 937"/>
                <a:gd name="T57" fmla="*/ 3471 h 3530"/>
                <a:gd name="T58" fmla="*/ 536 w 937"/>
                <a:gd name="T59" fmla="*/ 3467 h 3530"/>
                <a:gd name="T60" fmla="*/ 416 w 937"/>
                <a:gd name="T61" fmla="*/ 3444 h 3530"/>
                <a:gd name="T62" fmla="*/ 331 w 937"/>
                <a:gd name="T63" fmla="*/ 3438 h 3530"/>
                <a:gd name="T64" fmla="*/ 301 w 937"/>
                <a:gd name="T65" fmla="*/ 3460 h 3530"/>
                <a:gd name="T66" fmla="*/ 282 w 937"/>
                <a:gd name="T67" fmla="*/ 3498 h 3530"/>
                <a:gd name="T68" fmla="*/ 250 w 937"/>
                <a:gd name="T69" fmla="*/ 3523 h 3530"/>
                <a:gd name="T70" fmla="*/ 209 w 937"/>
                <a:gd name="T71" fmla="*/ 3530 h 3530"/>
                <a:gd name="T72" fmla="*/ 163 w 937"/>
                <a:gd name="T73" fmla="*/ 3511 h 3530"/>
                <a:gd name="T74" fmla="*/ 133 w 937"/>
                <a:gd name="T75" fmla="*/ 3466 h 3530"/>
                <a:gd name="T76" fmla="*/ 231 w 937"/>
                <a:gd name="T77" fmla="*/ 3099 h 3530"/>
                <a:gd name="T78" fmla="*/ 262 w 937"/>
                <a:gd name="T79" fmla="*/ 3267 h 3530"/>
                <a:gd name="T80" fmla="*/ 336 w 937"/>
                <a:gd name="T81" fmla="*/ 3260 h 3530"/>
                <a:gd name="T82" fmla="*/ 477 w 937"/>
                <a:gd name="T83" fmla="*/ 3282 h 3530"/>
                <a:gd name="T84" fmla="*/ 574 w 937"/>
                <a:gd name="T85" fmla="*/ 3299 h 3530"/>
                <a:gd name="T86" fmla="*/ 639 w 937"/>
                <a:gd name="T87" fmla="*/ 3293 h 3530"/>
                <a:gd name="T88" fmla="*/ 676 w 937"/>
                <a:gd name="T89" fmla="*/ 3274 h 3530"/>
                <a:gd name="T90" fmla="*/ 709 w 937"/>
                <a:gd name="T91" fmla="*/ 3238 h 3530"/>
                <a:gd name="T92" fmla="*/ 738 w 937"/>
                <a:gd name="T93" fmla="*/ 3181 h 3530"/>
                <a:gd name="T94" fmla="*/ 759 w 937"/>
                <a:gd name="T95" fmla="*/ 3101 h 3530"/>
                <a:gd name="T96" fmla="*/ 750 w 937"/>
                <a:gd name="T97" fmla="*/ 2939 h 3530"/>
                <a:gd name="T98" fmla="*/ 718 w 937"/>
                <a:gd name="T99" fmla="*/ 2707 h 3530"/>
                <a:gd name="T100" fmla="*/ 679 w 937"/>
                <a:gd name="T101" fmla="*/ 2446 h 3530"/>
                <a:gd name="T102" fmla="*/ 620 w 937"/>
                <a:gd name="T103" fmla="*/ 2064 h 3530"/>
                <a:gd name="T104" fmla="*/ 539 w 937"/>
                <a:gd name="T105" fmla="*/ 1506 h 3530"/>
                <a:gd name="T106" fmla="*/ 470 w 937"/>
                <a:gd name="T107" fmla="*/ 954 h 3530"/>
                <a:gd name="T108" fmla="*/ 416 w 937"/>
                <a:gd name="T109" fmla="*/ 602 h 3530"/>
                <a:gd name="T110" fmla="*/ 336 w 937"/>
                <a:gd name="T111" fmla="*/ 900 h 3530"/>
                <a:gd name="T112" fmla="*/ 271 w 937"/>
                <a:gd name="T113" fmla="*/ 1209 h 3530"/>
                <a:gd name="T114" fmla="*/ 223 w 937"/>
                <a:gd name="T115" fmla="*/ 1524 h 3530"/>
                <a:gd name="T116" fmla="*/ 189 w 937"/>
                <a:gd name="T117" fmla="*/ 1842 h 3530"/>
                <a:gd name="T118" fmla="*/ 172 w 937"/>
                <a:gd name="T119" fmla="*/ 2160 h 3530"/>
                <a:gd name="T120" fmla="*/ 173 w 937"/>
                <a:gd name="T121" fmla="*/ 2472 h 3530"/>
                <a:gd name="T122" fmla="*/ 190 w 937"/>
                <a:gd name="T123" fmla="*/ 2768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7" h="3530">
                  <a:moveTo>
                    <a:pt x="133" y="3466"/>
                  </a:moveTo>
                  <a:lnTo>
                    <a:pt x="132" y="3462"/>
                  </a:lnTo>
                  <a:lnTo>
                    <a:pt x="119" y="3409"/>
                  </a:lnTo>
                  <a:lnTo>
                    <a:pt x="106" y="3356"/>
                  </a:lnTo>
                  <a:lnTo>
                    <a:pt x="95" y="3301"/>
                  </a:lnTo>
                  <a:lnTo>
                    <a:pt x="84" y="3245"/>
                  </a:lnTo>
                  <a:lnTo>
                    <a:pt x="73" y="3190"/>
                  </a:lnTo>
                  <a:lnTo>
                    <a:pt x="63" y="3133"/>
                  </a:lnTo>
                  <a:lnTo>
                    <a:pt x="55" y="3076"/>
                  </a:lnTo>
                  <a:lnTo>
                    <a:pt x="47" y="3019"/>
                  </a:lnTo>
                  <a:lnTo>
                    <a:pt x="38" y="2961"/>
                  </a:lnTo>
                  <a:lnTo>
                    <a:pt x="31" y="2902"/>
                  </a:lnTo>
                  <a:lnTo>
                    <a:pt x="26" y="2843"/>
                  </a:lnTo>
                  <a:lnTo>
                    <a:pt x="20" y="2783"/>
                  </a:lnTo>
                  <a:lnTo>
                    <a:pt x="15" y="2724"/>
                  </a:lnTo>
                  <a:lnTo>
                    <a:pt x="10" y="2663"/>
                  </a:lnTo>
                  <a:lnTo>
                    <a:pt x="7" y="2602"/>
                  </a:lnTo>
                  <a:lnTo>
                    <a:pt x="4" y="2541"/>
                  </a:lnTo>
                  <a:lnTo>
                    <a:pt x="2" y="2462"/>
                  </a:lnTo>
                  <a:lnTo>
                    <a:pt x="0" y="2382"/>
                  </a:lnTo>
                  <a:lnTo>
                    <a:pt x="0" y="2303"/>
                  </a:lnTo>
                  <a:lnTo>
                    <a:pt x="1" y="2223"/>
                  </a:lnTo>
                  <a:lnTo>
                    <a:pt x="2" y="2142"/>
                  </a:lnTo>
                  <a:lnTo>
                    <a:pt x="5" y="2061"/>
                  </a:lnTo>
                  <a:lnTo>
                    <a:pt x="9" y="1980"/>
                  </a:lnTo>
                  <a:lnTo>
                    <a:pt x="14" y="1899"/>
                  </a:lnTo>
                  <a:lnTo>
                    <a:pt x="20" y="1818"/>
                  </a:lnTo>
                  <a:lnTo>
                    <a:pt x="27" y="1736"/>
                  </a:lnTo>
                  <a:lnTo>
                    <a:pt x="35" y="1655"/>
                  </a:lnTo>
                  <a:lnTo>
                    <a:pt x="44" y="1573"/>
                  </a:lnTo>
                  <a:lnTo>
                    <a:pt x="54" y="1492"/>
                  </a:lnTo>
                  <a:lnTo>
                    <a:pt x="65" y="1411"/>
                  </a:lnTo>
                  <a:lnTo>
                    <a:pt x="77" y="1330"/>
                  </a:lnTo>
                  <a:lnTo>
                    <a:pt x="91" y="1250"/>
                  </a:lnTo>
                  <a:lnTo>
                    <a:pt x="105" y="1170"/>
                  </a:lnTo>
                  <a:lnTo>
                    <a:pt x="120" y="1090"/>
                  </a:lnTo>
                  <a:lnTo>
                    <a:pt x="136" y="1011"/>
                  </a:lnTo>
                  <a:lnTo>
                    <a:pt x="154" y="932"/>
                  </a:lnTo>
                  <a:lnTo>
                    <a:pt x="171" y="855"/>
                  </a:lnTo>
                  <a:lnTo>
                    <a:pt x="191" y="776"/>
                  </a:lnTo>
                  <a:lnTo>
                    <a:pt x="210" y="700"/>
                  </a:lnTo>
                  <a:lnTo>
                    <a:pt x="232" y="624"/>
                  </a:lnTo>
                  <a:lnTo>
                    <a:pt x="254" y="549"/>
                  </a:lnTo>
                  <a:lnTo>
                    <a:pt x="277" y="475"/>
                  </a:lnTo>
                  <a:lnTo>
                    <a:pt x="301" y="402"/>
                  </a:lnTo>
                  <a:lnTo>
                    <a:pt x="326" y="329"/>
                  </a:lnTo>
                  <a:lnTo>
                    <a:pt x="351" y="258"/>
                  </a:lnTo>
                  <a:lnTo>
                    <a:pt x="378" y="188"/>
                  </a:lnTo>
                  <a:lnTo>
                    <a:pt x="406" y="119"/>
                  </a:lnTo>
                  <a:lnTo>
                    <a:pt x="435" y="52"/>
                  </a:lnTo>
                  <a:lnTo>
                    <a:pt x="438" y="43"/>
                  </a:lnTo>
                  <a:lnTo>
                    <a:pt x="443" y="36"/>
                  </a:lnTo>
                  <a:lnTo>
                    <a:pt x="448" y="30"/>
                  </a:lnTo>
                  <a:lnTo>
                    <a:pt x="453" y="24"/>
                  </a:lnTo>
                  <a:lnTo>
                    <a:pt x="460" y="19"/>
                  </a:lnTo>
                  <a:lnTo>
                    <a:pt x="467" y="14"/>
                  </a:lnTo>
                  <a:lnTo>
                    <a:pt x="474" y="9"/>
                  </a:lnTo>
                  <a:lnTo>
                    <a:pt x="481" y="6"/>
                  </a:lnTo>
                  <a:lnTo>
                    <a:pt x="489" y="3"/>
                  </a:lnTo>
                  <a:lnTo>
                    <a:pt x="497" y="1"/>
                  </a:lnTo>
                  <a:lnTo>
                    <a:pt x="505" y="0"/>
                  </a:lnTo>
                  <a:lnTo>
                    <a:pt x="513" y="0"/>
                  </a:lnTo>
                  <a:lnTo>
                    <a:pt x="521" y="1"/>
                  </a:lnTo>
                  <a:lnTo>
                    <a:pt x="531" y="2"/>
                  </a:lnTo>
                  <a:lnTo>
                    <a:pt x="539" y="4"/>
                  </a:lnTo>
                  <a:lnTo>
                    <a:pt x="547" y="7"/>
                  </a:lnTo>
                  <a:lnTo>
                    <a:pt x="553" y="11"/>
                  </a:lnTo>
                  <a:lnTo>
                    <a:pt x="558" y="14"/>
                  </a:lnTo>
                  <a:lnTo>
                    <a:pt x="565" y="18"/>
                  </a:lnTo>
                  <a:lnTo>
                    <a:pt x="570" y="22"/>
                  </a:lnTo>
                  <a:lnTo>
                    <a:pt x="579" y="32"/>
                  </a:lnTo>
                  <a:lnTo>
                    <a:pt x="586" y="42"/>
                  </a:lnTo>
                  <a:lnTo>
                    <a:pt x="592" y="55"/>
                  </a:lnTo>
                  <a:lnTo>
                    <a:pt x="597" y="67"/>
                  </a:lnTo>
                  <a:lnTo>
                    <a:pt x="598" y="81"/>
                  </a:lnTo>
                  <a:lnTo>
                    <a:pt x="598" y="94"/>
                  </a:lnTo>
                  <a:lnTo>
                    <a:pt x="598" y="98"/>
                  </a:lnTo>
                  <a:lnTo>
                    <a:pt x="598" y="102"/>
                  </a:lnTo>
                  <a:lnTo>
                    <a:pt x="595" y="151"/>
                  </a:lnTo>
                  <a:lnTo>
                    <a:pt x="594" y="202"/>
                  </a:lnTo>
                  <a:lnTo>
                    <a:pt x="593" y="255"/>
                  </a:lnTo>
                  <a:lnTo>
                    <a:pt x="594" y="309"/>
                  </a:lnTo>
                  <a:lnTo>
                    <a:pt x="595" y="367"/>
                  </a:lnTo>
                  <a:lnTo>
                    <a:pt x="599" y="426"/>
                  </a:lnTo>
                  <a:lnTo>
                    <a:pt x="602" y="486"/>
                  </a:lnTo>
                  <a:lnTo>
                    <a:pt x="605" y="548"/>
                  </a:lnTo>
                  <a:lnTo>
                    <a:pt x="610" y="611"/>
                  </a:lnTo>
                  <a:lnTo>
                    <a:pt x="615" y="676"/>
                  </a:lnTo>
                  <a:lnTo>
                    <a:pt x="620" y="743"/>
                  </a:lnTo>
                  <a:lnTo>
                    <a:pt x="626" y="810"/>
                  </a:lnTo>
                  <a:lnTo>
                    <a:pt x="641" y="949"/>
                  </a:lnTo>
                  <a:lnTo>
                    <a:pt x="657" y="1091"/>
                  </a:lnTo>
                  <a:lnTo>
                    <a:pt x="675" y="1235"/>
                  </a:lnTo>
                  <a:lnTo>
                    <a:pt x="694" y="1382"/>
                  </a:lnTo>
                  <a:lnTo>
                    <a:pt x="714" y="1529"/>
                  </a:lnTo>
                  <a:lnTo>
                    <a:pt x="736" y="1677"/>
                  </a:lnTo>
                  <a:lnTo>
                    <a:pt x="757" y="1824"/>
                  </a:lnTo>
                  <a:lnTo>
                    <a:pt x="779" y="1970"/>
                  </a:lnTo>
                  <a:lnTo>
                    <a:pt x="800" y="2113"/>
                  </a:lnTo>
                  <a:lnTo>
                    <a:pt x="822" y="2254"/>
                  </a:lnTo>
                  <a:lnTo>
                    <a:pt x="831" y="2311"/>
                  </a:lnTo>
                  <a:lnTo>
                    <a:pt x="840" y="2367"/>
                  </a:lnTo>
                  <a:lnTo>
                    <a:pt x="848" y="2423"/>
                  </a:lnTo>
                  <a:lnTo>
                    <a:pt x="856" y="2477"/>
                  </a:lnTo>
                  <a:lnTo>
                    <a:pt x="864" y="2531"/>
                  </a:lnTo>
                  <a:lnTo>
                    <a:pt x="873" y="2585"/>
                  </a:lnTo>
                  <a:lnTo>
                    <a:pt x="880" y="2636"/>
                  </a:lnTo>
                  <a:lnTo>
                    <a:pt x="888" y="2688"/>
                  </a:lnTo>
                  <a:lnTo>
                    <a:pt x="895" y="2737"/>
                  </a:lnTo>
                  <a:lnTo>
                    <a:pt x="901" y="2786"/>
                  </a:lnTo>
                  <a:lnTo>
                    <a:pt x="909" y="2833"/>
                  </a:lnTo>
                  <a:lnTo>
                    <a:pt x="915" y="2879"/>
                  </a:lnTo>
                  <a:lnTo>
                    <a:pt x="921" y="2925"/>
                  </a:lnTo>
                  <a:lnTo>
                    <a:pt x="926" y="2968"/>
                  </a:lnTo>
                  <a:lnTo>
                    <a:pt x="932" y="3010"/>
                  </a:lnTo>
                  <a:lnTo>
                    <a:pt x="936" y="3051"/>
                  </a:lnTo>
                  <a:lnTo>
                    <a:pt x="937" y="3059"/>
                  </a:lnTo>
                  <a:lnTo>
                    <a:pt x="937" y="3066"/>
                  </a:lnTo>
                  <a:lnTo>
                    <a:pt x="936" y="3073"/>
                  </a:lnTo>
                  <a:lnTo>
                    <a:pt x="935" y="3080"/>
                  </a:lnTo>
                  <a:lnTo>
                    <a:pt x="930" y="3114"/>
                  </a:lnTo>
                  <a:lnTo>
                    <a:pt x="924" y="3146"/>
                  </a:lnTo>
                  <a:lnTo>
                    <a:pt x="918" y="3177"/>
                  </a:lnTo>
                  <a:lnTo>
                    <a:pt x="911" y="3205"/>
                  </a:lnTo>
                  <a:lnTo>
                    <a:pt x="902" y="3233"/>
                  </a:lnTo>
                  <a:lnTo>
                    <a:pt x="894" y="3258"/>
                  </a:lnTo>
                  <a:lnTo>
                    <a:pt x="885" y="3280"/>
                  </a:lnTo>
                  <a:lnTo>
                    <a:pt x="876" y="3302"/>
                  </a:lnTo>
                  <a:lnTo>
                    <a:pt x="865" y="3323"/>
                  </a:lnTo>
                  <a:lnTo>
                    <a:pt x="855" y="3341"/>
                  </a:lnTo>
                  <a:lnTo>
                    <a:pt x="844" y="3359"/>
                  </a:lnTo>
                  <a:lnTo>
                    <a:pt x="832" y="3374"/>
                  </a:lnTo>
                  <a:lnTo>
                    <a:pt x="820" y="3389"/>
                  </a:lnTo>
                  <a:lnTo>
                    <a:pt x="808" y="3401"/>
                  </a:lnTo>
                  <a:lnTo>
                    <a:pt x="794" y="3413"/>
                  </a:lnTo>
                  <a:lnTo>
                    <a:pt x="782" y="3424"/>
                  </a:lnTo>
                  <a:lnTo>
                    <a:pt x="768" y="3433"/>
                  </a:lnTo>
                  <a:lnTo>
                    <a:pt x="754" y="3441"/>
                  </a:lnTo>
                  <a:lnTo>
                    <a:pt x="740" y="3448"/>
                  </a:lnTo>
                  <a:lnTo>
                    <a:pt x="725" y="3454"/>
                  </a:lnTo>
                  <a:lnTo>
                    <a:pt x="710" y="3460"/>
                  </a:lnTo>
                  <a:lnTo>
                    <a:pt x="695" y="3464"/>
                  </a:lnTo>
                  <a:lnTo>
                    <a:pt x="680" y="3467"/>
                  </a:lnTo>
                  <a:lnTo>
                    <a:pt x="665" y="3469"/>
                  </a:lnTo>
                  <a:lnTo>
                    <a:pt x="649" y="3471"/>
                  </a:lnTo>
                  <a:lnTo>
                    <a:pt x="633" y="3472"/>
                  </a:lnTo>
                  <a:lnTo>
                    <a:pt x="617" y="3473"/>
                  </a:lnTo>
                  <a:lnTo>
                    <a:pt x="601" y="3472"/>
                  </a:lnTo>
                  <a:lnTo>
                    <a:pt x="568" y="3471"/>
                  </a:lnTo>
                  <a:lnTo>
                    <a:pt x="536" y="3467"/>
                  </a:lnTo>
                  <a:lnTo>
                    <a:pt x="511" y="3463"/>
                  </a:lnTo>
                  <a:lnTo>
                    <a:pt x="487" y="3459"/>
                  </a:lnTo>
                  <a:lnTo>
                    <a:pt x="465" y="3455"/>
                  </a:lnTo>
                  <a:lnTo>
                    <a:pt x="442" y="3449"/>
                  </a:lnTo>
                  <a:lnTo>
                    <a:pt x="416" y="3444"/>
                  </a:lnTo>
                  <a:lnTo>
                    <a:pt x="393" y="3440"/>
                  </a:lnTo>
                  <a:lnTo>
                    <a:pt x="370" y="3437"/>
                  </a:lnTo>
                  <a:lnTo>
                    <a:pt x="349" y="3436"/>
                  </a:lnTo>
                  <a:lnTo>
                    <a:pt x="339" y="3437"/>
                  </a:lnTo>
                  <a:lnTo>
                    <a:pt x="331" y="3438"/>
                  </a:lnTo>
                  <a:lnTo>
                    <a:pt x="323" y="3441"/>
                  </a:lnTo>
                  <a:lnTo>
                    <a:pt x="316" y="3444"/>
                  </a:lnTo>
                  <a:lnTo>
                    <a:pt x="310" y="3448"/>
                  </a:lnTo>
                  <a:lnTo>
                    <a:pt x="305" y="3454"/>
                  </a:lnTo>
                  <a:lnTo>
                    <a:pt x="301" y="3460"/>
                  </a:lnTo>
                  <a:lnTo>
                    <a:pt x="298" y="3468"/>
                  </a:lnTo>
                  <a:lnTo>
                    <a:pt x="295" y="3476"/>
                  </a:lnTo>
                  <a:lnTo>
                    <a:pt x="292" y="3483"/>
                  </a:lnTo>
                  <a:lnTo>
                    <a:pt x="288" y="3491"/>
                  </a:lnTo>
                  <a:lnTo>
                    <a:pt x="282" y="3498"/>
                  </a:lnTo>
                  <a:lnTo>
                    <a:pt x="277" y="3504"/>
                  </a:lnTo>
                  <a:lnTo>
                    <a:pt x="271" y="3509"/>
                  </a:lnTo>
                  <a:lnTo>
                    <a:pt x="264" y="3514"/>
                  </a:lnTo>
                  <a:lnTo>
                    <a:pt x="258" y="3518"/>
                  </a:lnTo>
                  <a:lnTo>
                    <a:pt x="250" y="3523"/>
                  </a:lnTo>
                  <a:lnTo>
                    <a:pt x="242" y="3526"/>
                  </a:lnTo>
                  <a:lnTo>
                    <a:pt x="234" y="3528"/>
                  </a:lnTo>
                  <a:lnTo>
                    <a:pt x="226" y="3529"/>
                  </a:lnTo>
                  <a:lnTo>
                    <a:pt x="217" y="3530"/>
                  </a:lnTo>
                  <a:lnTo>
                    <a:pt x="209" y="3530"/>
                  </a:lnTo>
                  <a:lnTo>
                    <a:pt x="201" y="3529"/>
                  </a:lnTo>
                  <a:lnTo>
                    <a:pt x="193" y="3527"/>
                  </a:lnTo>
                  <a:lnTo>
                    <a:pt x="181" y="3523"/>
                  </a:lnTo>
                  <a:lnTo>
                    <a:pt x="171" y="3517"/>
                  </a:lnTo>
                  <a:lnTo>
                    <a:pt x="163" y="3511"/>
                  </a:lnTo>
                  <a:lnTo>
                    <a:pt x="155" y="3503"/>
                  </a:lnTo>
                  <a:lnTo>
                    <a:pt x="147" y="3495"/>
                  </a:lnTo>
                  <a:lnTo>
                    <a:pt x="141" y="3485"/>
                  </a:lnTo>
                  <a:lnTo>
                    <a:pt x="137" y="3476"/>
                  </a:lnTo>
                  <a:lnTo>
                    <a:pt x="133" y="3466"/>
                  </a:lnTo>
                  <a:close/>
                  <a:moveTo>
                    <a:pt x="215" y="2996"/>
                  </a:moveTo>
                  <a:lnTo>
                    <a:pt x="221" y="3031"/>
                  </a:lnTo>
                  <a:lnTo>
                    <a:pt x="226" y="3065"/>
                  </a:lnTo>
                  <a:lnTo>
                    <a:pt x="231" y="3099"/>
                  </a:lnTo>
                  <a:lnTo>
                    <a:pt x="237" y="3133"/>
                  </a:lnTo>
                  <a:lnTo>
                    <a:pt x="242" y="3167"/>
                  </a:lnTo>
                  <a:lnTo>
                    <a:pt x="248" y="3201"/>
                  </a:lnTo>
                  <a:lnTo>
                    <a:pt x="256" y="3234"/>
                  </a:lnTo>
                  <a:lnTo>
                    <a:pt x="262" y="3267"/>
                  </a:lnTo>
                  <a:lnTo>
                    <a:pt x="274" y="3264"/>
                  </a:lnTo>
                  <a:lnTo>
                    <a:pt x="285" y="3262"/>
                  </a:lnTo>
                  <a:lnTo>
                    <a:pt x="298" y="3261"/>
                  </a:lnTo>
                  <a:lnTo>
                    <a:pt x="310" y="3260"/>
                  </a:lnTo>
                  <a:lnTo>
                    <a:pt x="336" y="3260"/>
                  </a:lnTo>
                  <a:lnTo>
                    <a:pt x="363" y="3262"/>
                  </a:lnTo>
                  <a:lnTo>
                    <a:pt x="391" y="3266"/>
                  </a:lnTo>
                  <a:lnTo>
                    <a:pt x="418" y="3270"/>
                  </a:lnTo>
                  <a:lnTo>
                    <a:pt x="447" y="3276"/>
                  </a:lnTo>
                  <a:lnTo>
                    <a:pt x="477" y="3282"/>
                  </a:lnTo>
                  <a:lnTo>
                    <a:pt x="498" y="3287"/>
                  </a:lnTo>
                  <a:lnTo>
                    <a:pt x="518" y="3291"/>
                  </a:lnTo>
                  <a:lnTo>
                    <a:pt x="538" y="3295"/>
                  </a:lnTo>
                  <a:lnTo>
                    <a:pt x="557" y="3297"/>
                  </a:lnTo>
                  <a:lnTo>
                    <a:pt x="574" y="3299"/>
                  </a:lnTo>
                  <a:lnTo>
                    <a:pt x="590" y="3300"/>
                  </a:lnTo>
                  <a:lnTo>
                    <a:pt x="607" y="3299"/>
                  </a:lnTo>
                  <a:lnTo>
                    <a:pt x="622" y="3297"/>
                  </a:lnTo>
                  <a:lnTo>
                    <a:pt x="631" y="3296"/>
                  </a:lnTo>
                  <a:lnTo>
                    <a:pt x="639" y="3293"/>
                  </a:lnTo>
                  <a:lnTo>
                    <a:pt x="646" y="3291"/>
                  </a:lnTo>
                  <a:lnTo>
                    <a:pt x="653" y="3288"/>
                  </a:lnTo>
                  <a:lnTo>
                    <a:pt x="661" y="3283"/>
                  </a:lnTo>
                  <a:lnTo>
                    <a:pt x="669" y="3279"/>
                  </a:lnTo>
                  <a:lnTo>
                    <a:pt x="676" y="3274"/>
                  </a:lnTo>
                  <a:lnTo>
                    <a:pt x="683" y="3268"/>
                  </a:lnTo>
                  <a:lnTo>
                    <a:pt x="689" y="3262"/>
                  </a:lnTo>
                  <a:lnTo>
                    <a:pt x="696" y="3255"/>
                  </a:lnTo>
                  <a:lnTo>
                    <a:pt x="703" y="3246"/>
                  </a:lnTo>
                  <a:lnTo>
                    <a:pt x="709" y="3238"/>
                  </a:lnTo>
                  <a:lnTo>
                    <a:pt x="715" y="3229"/>
                  </a:lnTo>
                  <a:lnTo>
                    <a:pt x="721" y="3218"/>
                  </a:lnTo>
                  <a:lnTo>
                    <a:pt x="726" y="3207"/>
                  </a:lnTo>
                  <a:lnTo>
                    <a:pt x="732" y="3195"/>
                  </a:lnTo>
                  <a:lnTo>
                    <a:pt x="738" y="3181"/>
                  </a:lnTo>
                  <a:lnTo>
                    <a:pt x="742" y="3168"/>
                  </a:lnTo>
                  <a:lnTo>
                    <a:pt x="747" y="3153"/>
                  </a:lnTo>
                  <a:lnTo>
                    <a:pt x="751" y="3136"/>
                  </a:lnTo>
                  <a:lnTo>
                    <a:pt x="755" y="3120"/>
                  </a:lnTo>
                  <a:lnTo>
                    <a:pt x="759" y="3101"/>
                  </a:lnTo>
                  <a:lnTo>
                    <a:pt x="762" y="3081"/>
                  </a:lnTo>
                  <a:lnTo>
                    <a:pt x="765" y="3061"/>
                  </a:lnTo>
                  <a:lnTo>
                    <a:pt x="761" y="3022"/>
                  </a:lnTo>
                  <a:lnTo>
                    <a:pt x="756" y="2981"/>
                  </a:lnTo>
                  <a:lnTo>
                    <a:pt x="750" y="2939"/>
                  </a:lnTo>
                  <a:lnTo>
                    <a:pt x="745" y="2895"/>
                  </a:lnTo>
                  <a:lnTo>
                    <a:pt x="739" y="2850"/>
                  </a:lnTo>
                  <a:lnTo>
                    <a:pt x="731" y="2804"/>
                  </a:lnTo>
                  <a:lnTo>
                    <a:pt x="725" y="2756"/>
                  </a:lnTo>
                  <a:lnTo>
                    <a:pt x="718" y="2707"/>
                  </a:lnTo>
                  <a:lnTo>
                    <a:pt x="710" y="2657"/>
                  </a:lnTo>
                  <a:lnTo>
                    <a:pt x="703" y="2606"/>
                  </a:lnTo>
                  <a:lnTo>
                    <a:pt x="694" y="2554"/>
                  </a:lnTo>
                  <a:lnTo>
                    <a:pt x="687" y="2500"/>
                  </a:lnTo>
                  <a:lnTo>
                    <a:pt x="679" y="2446"/>
                  </a:lnTo>
                  <a:lnTo>
                    <a:pt x="670" y="2392"/>
                  </a:lnTo>
                  <a:lnTo>
                    <a:pt x="661" y="2336"/>
                  </a:lnTo>
                  <a:lnTo>
                    <a:pt x="653" y="2279"/>
                  </a:lnTo>
                  <a:lnTo>
                    <a:pt x="637" y="2173"/>
                  </a:lnTo>
                  <a:lnTo>
                    <a:pt x="620" y="2064"/>
                  </a:lnTo>
                  <a:lnTo>
                    <a:pt x="604" y="1955"/>
                  </a:lnTo>
                  <a:lnTo>
                    <a:pt x="587" y="1843"/>
                  </a:lnTo>
                  <a:lnTo>
                    <a:pt x="571" y="1731"/>
                  </a:lnTo>
                  <a:lnTo>
                    <a:pt x="554" y="1619"/>
                  </a:lnTo>
                  <a:lnTo>
                    <a:pt x="539" y="1506"/>
                  </a:lnTo>
                  <a:lnTo>
                    <a:pt x="523" y="1394"/>
                  </a:lnTo>
                  <a:lnTo>
                    <a:pt x="509" y="1283"/>
                  </a:lnTo>
                  <a:lnTo>
                    <a:pt x="495" y="1171"/>
                  </a:lnTo>
                  <a:lnTo>
                    <a:pt x="482" y="1062"/>
                  </a:lnTo>
                  <a:lnTo>
                    <a:pt x="470" y="954"/>
                  </a:lnTo>
                  <a:lnTo>
                    <a:pt x="459" y="848"/>
                  </a:lnTo>
                  <a:lnTo>
                    <a:pt x="449" y="743"/>
                  </a:lnTo>
                  <a:lnTo>
                    <a:pt x="441" y="642"/>
                  </a:lnTo>
                  <a:lnTo>
                    <a:pt x="434" y="544"/>
                  </a:lnTo>
                  <a:lnTo>
                    <a:pt x="416" y="602"/>
                  </a:lnTo>
                  <a:lnTo>
                    <a:pt x="399" y="661"/>
                  </a:lnTo>
                  <a:lnTo>
                    <a:pt x="382" y="720"/>
                  </a:lnTo>
                  <a:lnTo>
                    <a:pt x="366" y="780"/>
                  </a:lnTo>
                  <a:lnTo>
                    <a:pt x="350" y="839"/>
                  </a:lnTo>
                  <a:lnTo>
                    <a:pt x="336" y="900"/>
                  </a:lnTo>
                  <a:lnTo>
                    <a:pt x="322" y="961"/>
                  </a:lnTo>
                  <a:lnTo>
                    <a:pt x="308" y="1023"/>
                  </a:lnTo>
                  <a:lnTo>
                    <a:pt x="295" y="1085"/>
                  </a:lnTo>
                  <a:lnTo>
                    <a:pt x="282" y="1146"/>
                  </a:lnTo>
                  <a:lnTo>
                    <a:pt x="271" y="1209"/>
                  </a:lnTo>
                  <a:lnTo>
                    <a:pt x="260" y="1271"/>
                  </a:lnTo>
                  <a:lnTo>
                    <a:pt x="249" y="1334"/>
                  </a:lnTo>
                  <a:lnTo>
                    <a:pt x="240" y="1397"/>
                  </a:lnTo>
                  <a:lnTo>
                    <a:pt x="231" y="1461"/>
                  </a:lnTo>
                  <a:lnTo>
                    <a:pt x="223" y="1524"/>
                  </a:lnTo>
                  <a:lnTo>
                    <a:pt x="214" y="1588"/>
                  </a:lnTo>
                  <a:lnTo>
                    <a:pt x="207" y="1652"/>
                  </a:lnTo>
                  <a:lnTo>
                    <a:pt x="200" y="1716"/>
                  </a:lnTo>
                  <a:lnTo>
                    <a:pt x="195" y="1778"/>
                  </a:lnTo>
                  <a:lnTo>
                    <a:pt x="189" y="1842"/>
                  </a:lnTo>
                  <a:lnTo>
                    <a:pt x="185" y="1906"/>
                  </a:lnTo>
                  <a:lnTo>
                    <a:pt x="180" y="1969"/>
                  </a:lnTo>
                  <a:lnTo>
                    <a:pt x="177" y="2033"/>
                  </a:lnTo>
                  <a:lnTo>
                    <a:pt x="174" y="2096"/>
                  </a:lnTo>
                  <a:lnTo>
                    <a:pt x="172" y="2160"/>
                  </a:lnTo>
                  <a:lnTo>
                    <a:pt x="171" y="2223"/>
                  </a:lnTo>
                  <a:lnTo>
                    <a:pt x="171" y="2286"/>
                  </a:lnTo>
                  <a:lnTo>
                    <a:pt x="171" y="2348"/>
                  </a:lnTo>
                  <a:lnTo>
                    <a:pt x="171" y="2410"/>
                  </a:lnTo>
                  <a:lnTo>
                    <a:pt x="173" y="2472"/>
                  </a:lnTo>
                  <a:lnTo>
                    <a:pt x="175" y="2534"/>
                  </a:lnTo>
                  <a:lnTo>
                    <a:pt x="178" y="2594"/>
                  </a:lnTo>
                  <a:lnTo>
                    <a:pt x="181" y="2653"/>
                  </a:lnTo>
                  <a:lnTo>
                    <a:pt x="186" y="2710"/>
                  </a:lnTo>
                  <a:lnTo>
                    <a:pt x="190" y="2768"/>
                  </a:lnTo>
                  <a:lnTo>
                    <a:pt x="195" y="2826"/>
                  </a:lnTo>
                  <a:lnTo>
                    <a:pt x="201" y="2883"/>
                  </a:lnTo>
                  <a:lnTo>
                    <a:pt x="208" y="2939"/>
                  </a:lnTo>
                  <a:lnTo>
                    <a:pt x="215" y="299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3" name="Freeform 69"/>
            <p:cNvSpPr>
              <a:spLocks noChangeArrowheads="1"/>
            </p:cNvSpPr>
            <p:nvPr/>
          </p:nvSpPr>
          <p:spPr bwMode="auto">
            <a:xfrm>
              <a:off x="823913" y="2893936"/>
              <a:ext cx="344487" cy="1862176"/>
            </a:xfrm>
            <a:custGeom>
              <a:avLst/>
              <a:gdLst>
                <a:gd name="T0" fmla="*/ 107 w 766"/>
                <a:gd name="T1" fmla="*/ 3265 h 3358"/>
                <a:gd name="T2" fmla="*/ 68 w 766"/>
                <a:gd name="T3" fmla="*/ 3073 h 3358"/>
                <a:gd name="T4" fmla="*/ 38 w 766"/>
                <a:gd name="T5" fmla="*/ 2872 h 3358"/>
                <a:gd name="T6" fmla="*/ 17 w 766"/>
                <a:gd name="T7" fmla="*/ 2664 h 3358"/>
                <a:gd name="T8" fmla="*/ 4 w 766"/>
                <a:gd name="T9" fmla="*/ 2451 h 3358"/>
                <a:gd name="T10" fmla="*/ 0 w 766"/>
                <a:gd name="T11" fmla="*/ 2234 h 3358"/>
                <a:gd name="T12" fmla="*/ 3 w 766"/>
                <a:gd name="T13" fmla="*/ 2013 h 3358"/>
                <a:gd name="T14" fmla="*/ 15 w 766"/>
                <a:gd name="T15" fmla="*/ 1790 h 3358"/>
                <a:gd name="T16" fmla="*/ 35 w 766"/>
                <a:gd name="T17" fmla="*/ 1568 h 3358"/>
                <a:gd name="T18" fmla="*/ 62 w 766"/>
                <a:gd name="T19" fmla="*/ 1345 h 3358"/>
                <a:gd name="T20" fmla="*/ 99 w 766"/>
                <a:gd name="T21" fmla="*/ 1124 h 3358"/>
                <a:gd name="T22" fmla="*/ 141 w 766"/>
                <a:gd name="T23" fmla="*/ 907 h 3358"/>
                <a:gd name="T24" fmla="*/ 191 w 766"/>
                <a:gd name="T25" fmla="*/ 694 h 3358"/>
                <a:gd name="T26" fmla="*/ 250 w 766"/>
                <a:gd name="T27" fmla="*/ 486 h 3358"/>
                <a:gd name="T28" fmla="*/ 315 w 766"/>
                <a:gd name="T29" fmla="*/ 285 h 3358"/>
                <a:gd name="T30" fmla="*/ 388 w 766"/>
                <a:gd name="T31" fmla="*/ 93 h 3358"/>
                <a:gd name="T32" fmla="*/ 424 w 766"/>
                <a:gd name="T33" fmla="*/ 70 h 3358"/>
                <a:gd name="T34" fmla="*/ 423 w 766"/>
                <a:gd name="T35" fmla="*/ 223 h 3358"/>
                <a:gd name="T36" fmla="*/ 429 w 766"/>
                <a:gd name="T37" fmla="*/ 391 h 3358"/>
                <a:gd name="T38" fmla="*/ 442 w 766"/>
                <a:gd name="T39" fmla="*/ 573 h 3358"/>
                <a:gd name="T40" fmla="*/ 459 w 766"/>
                <a:gd name="T41" fmla="*/ 766 h 3358"/>
                <a:gd name="T42" fmla="*/ 481 w 766"/>
                <a:gd name="T43" fmla="*/ 966 h 3358"/>
                <a:gd name="T44" fmla="*/ 505 w 766"/>
                <a:gd name="T45" fmla="*/ 1173 h 3358"/>
                <a:gd name="T46" fmla="*/ 534 w 766"/>
                <a:gd name="T47" fmla="*/ 1382 h 3358"/>
                <a:gd name="T48" fmla="*/ 579 w 766"/>
                <a:gd name="T49" fmla="*/ 1699 h 3358"/>
                <a:gd name="T50" fmla="*/ 641 w 766"/>
                <a:gd name="T51" fmla="*/ 2111 h 3358"/>
                <a:gd name="T52" fmla="*/ 699 w 766"/>
                <a:gd name="T53" fmla="*/ 2494 h 3358"/>
                <a:gd name="T54" fmla="*/ 747 w 766"/>
                <a:gd name="T55" fmla="*/ 2830 h 3358"/>
                <a:gd name="T56" fmla="*/ 757 w 766"/>
                <a:gd name="T57" fmla="*/ 3031 h 3358"/>
                <a:gd name="T58" fmla="*/ 732 w 766"/>
                <a:gd name="T59" fmla="*/ 3125 h 3358"/>
                <a:gd name="T60" fmla="*/ 701 w 766"/>
                <a:gd name="T61" fmla="*/ 3195 h 3358"/>
                <a:gd name="T62" fmla="*/ 663 w 766"/>
                <a:gd name="T63" fmla="*/ 3245 h 3358"/>
                <a:gd name="T64" fmla="*/ 621 w 766"/>
                <a:gd name="T65" fmla="*/ 3277 h 3358"/>
                <a:gd name="T66" fmla="*/ 574 w 766"/>
                <a:gd name="T67" fmla="*/ 3294 h 3358"/>
                <a:gd name="T68" fmla="*/ 525 w 766"/>
                <a:gd name="T69" fmla="*/ 3301 h 3358"/>
                <a:gd name="T70" fmla="*/ 473 w 766"/>
                <a:gd name="T71" fmla="*/ 3297 h 3358"/>
                <a:gd name="T72" fmla="*/ 396 w 766"/>
                <a:gd name="T73" fmla="*/ 3285 h 3358"/>
                <a:gd name="T74" fmla="*/ 321 w 766"/>
                <a:gd name="T75" fmla="*/ 3270 h 3358"/>
                <a:gd name="T76" fmla="*/ 275 w 766"/>
                <a:gd name="T77" fmla="*/ 3263 h 3358"/>
                <a:gd name="T78" fmla="*/ 232 w 766"/>
                <a:gd name="T79" fmla="*/ 3263 h 3358"/>
                <a:gd name="T80" fmla="*/ 194 w 766"/>
                <a:gd name="T81" fmla="*/ 3273 h 3358"/>
                <a:gd name="T82" fmla="*/ 163 w 766"/>
                <a:gd name="T83" fmla="*/ 3295 h 3358"/>
                <a:gd name="T84" fmla="*/ 139 w 766"/>
                <a:gd name="T85" fmla="*/ 3332 h 3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66" h="3358">
                  <a:moveTo>
                    <a:pt x="129" y="3358"/>
                  </a:moveTo>
                  <a:lnTo>
                    <a:pt x="107" y="3265"/>
                  </a:lnTo>
                  <a:lnTo>
                    <a:pt x="86" y="3170"/>
                  </a:lnTo>
                  <a:lnTo>
                    <a:pt x="68" y="3073"/>
                  </a:lnTo>
                  <a:lnTo>
                    <a:pt x="52" y="2973"/>
                  </a:lnTo>
                  <a:lnTo>
                    <a:pt x="38" y="2872"/>
                  </a:lnTo>
                  <a:lnTo>
                    <a:pt x="26" y="2769"/>
                  </a:lnTo>
                  <a:lnTo>
                    <a:pt x="17" y="2664"/>
                  </a:lnTo>
                  <a:lnTo>
                    <a:pt x="9" y="2558"/>
                  </a:lnTo>
                  <a:lnTo>
                    <a:pt x="4" y="2451"/>
                  </a:lnTo>
                  <a:lnTo>
                    <a:pt x="1" y="2343"/>
                  </a:lnTo>
                  <a:lnTo>
                    <a:pt x="0" y="2234"/>
                  </a:lnTo>
                  <a:lnTo>
                    <a:pt x="0" y="2123"/>
                  </a:lnTo>
                  <a:lnTo>
                    <a:pt x="3" y="2013"/>
                  </a:lnTo>
                  <a:lnTo>
                    <a:pt x="8" y="1902"/>
                  </a:lnTo>
                  <a:lnTo>
                    <a:pt x="15" y="1790"/>
                  </a:lnTo>
                  <a:lnTo>
                    <a:pt x="24" y="1679"/>
                  </a:lnTo>
                  <a:lnTo>
                    <a:pt x="35" y="1568"/>
                  </a:lnTo>
                  <a:lnTo>
                    <a:pt x="48" y="1456"/>
                  </a:lnTo>
                  <a:lnTo>
                    <a:pt x="62" y="1345"/>
                  </a:lnTo>
                  <a:lnTo>
                    <a:pt x="79" y="1235"/>
                  </a:lnTo>
                  <a:lnTo>
                    <a:pt x="99" y="1124"/>
                  </a:lnTo>
                  <a:lnTo>
                    <a:pt x="119" y="1015"/>
                  </a:lnTo>
                  <a:lnTo>
                    <a:pt x="141" y="907"/>
                  </a:lnTo>
                  <a:lnTo>
                    <a:pt x="165" y="800"/>
                  </a:lnTo>
                  <a:lnTo>
                    <a:pt x="191" y="694"/>
                  </a:lnTo>
                  <a:lnTo>
                    <a:pt x="220" y="589"/>
                  </a:lnTo>
                  <a:lnTo>
                    <a:pt x="250" y="486"/>
                  </a:lnTo>
                  <a:lnTo>
                    <a:pt x="282" y="384"/>
                  </a:lnTo>
                  <a:lnTo>
                    <a:pt x="315" y="285"/>
                  </a:lnTo>
                  <a:lnTo>
                    <a:pt x="351" y="188"/>
                  </a:lnTo>
                  <a:lnTo>
                    <a:pt x="388" y="93"/>
                  </a:lnTo>
                  <a:lnTo>
                    <a:pt x="427" y="0"/>
                  </a:lnTo>
                  <a:lnTo>
                    <a:pt x="424" y="70"/>
                  </a:lnTo>
                  <a:lnTo>
                    <a:pt x="422" y="144"/>
                  </a:lnTo>
                  <a:lnTo>
                    <a:pt x="423" y="223"/>
                  </a:lnTo>
                  <a:lnTo>
                    <a:pt x="425" y="306"/>
                  </a:lnTo>
                  <a:lnTo>
                    <a:pt x="429" y="391"/>
                  </a:lnTo>
                  <a:lnTo>
                    <a:pt x="434" y="481"/>
                  </a:lnTo>
                  <a:lnTo>
                    <a:pt x="442" y="573"/>
                  </a:lnTo>
                  <a:lnTo>
                    <a:pt x="450" y="668"/>
                  </a:lnTo>
                  <a:lnTo>
                    <a:pt x="459" y="766"/>
                  </a:lnTo>
                  <a:lnTo>
                    <a:pt x="469" y="865"/>
                  </a:lnTo>
                  <a:lnTo>
                    <a:pt x="481" y="966"/>
                  </a:lnTo>
                  <a:lnTo>
                    <a:pt x="493" y="1069"/>
                  </a:lnTo>
                  <a:lnTo>
                    <a:pt x="505" y="1173"/>
                  </a:lnTo>
                  <a:lnTo>
                    <a:pt x="520" y="1277"/>
                  </a:lnTo>
                  <a:lnTo>
                    <a:pt x="534" y="1382"/>
                  </a:lnTo>
                  <a:lnTo>
                    <a:pt x="549" y="1487"/>
                  </a:lnTo>
                  <a:lnTo>
                    <a:pt x="579" y="1699"/>
                  </a:lnTo>
                  <a:lnTo>
                    <a:pt x="610" y="1907"/>
                  </a:lnTo>
                  <a:lnTo>
                    <a:pt x="641" y="2111"/>
                  </a:lnTo>
                  <a:lnTo>
                    <a:pt x="671" y="2307"/>
                  </a:lnTo>
                  <a:lnTo>
                    <a:pt x="699" y="2494"/>
                  </a:lnTo>
                  <a:lnTo>
                    <a:pt x="725" y="2670"/>
                  </a:lnTo>
                  <a:lnTo>
                    <a:pt x="747" y="2830"/>
                  </a:lnTo>
                  <a:lnTo>
                    <a:pt x="766" y="2975"/>
                  </a:lnTo>
                  <a:lnTo>
                    <a:pt x="757" y="3031"/>
                  </a:lnTo>
                  <a:lnTo>
                    <a:pt x="745" y="3082"/>
                  </a:lnTo>
                  <a:lnTo>
                    <a:pt x="732" y="3125"/>
                  </a:lnTo>
                  <a:lnTo>
                    <a:pt x="718" y="3162"/>
                  </a:lnTo>
                  <a:lnTo>
                    <a:pt x="701" y="3195"/>
                  </a:lnTo>
                  <a:lnTo>
                    <a:pt x="683" y="3222"/>
                  </a:lnTo>
                  <a:lnTo>
                    <a:pt x="663" y="3245"/>
                  </a:lnTo>
                  <a:lnTo>
                    <a:pt x="642" y="3262"/>
                  </a:lnTo>
                  <a:lnTo>
                    <a:pt x="621" y="3277"/>
                  </a:lnTo>
                  <a:lnTo>
                    <a:pt x="598" y="3287"/>
                  </a:lnTo>
                  <a:lnTo>
                    <a:pt x="574" y="3294"/>
                  </a:lnTo>
                  <a:lnTo>
                    <a:pt x="550" y="3298"/>
                  </a:lnTo>
                  <a:lnTo>
                    <a:pt x="525" y="3301"/>
                  </a:lnTo>
                  <a:lnTo>
                    <a:pt x="499" y="3299"/>
                  </a:lnTo>
                  <a:lnTo>
                    <a:pt x="473" y="3297"/>
                  </a:lnTo>
                  <a:lnTo>
                    <a:pt x="448" y="3294"/>
                  </a:lnTo>
                  <a:lnTo>
                    <a:pt x="396" y="3285"/>
                  </a:lnTo>
                  <a:lnTo>
                    <a:pt x="346" y="3275"/>
                  </a:lnTo>
                  <a:lnTo>
                    <a:pt x="321" y="3270"/>
                  </a:lnTo>
                  <a:lnTo>
                    <a:pt x="297" y="3265"/>
                  </a:lnTo>
                  <a:lnTo>
                    <a:pt x="275" y="3263"/>
                  </a:lnTo>
                  <a:lnTo>
                    <a:pt x="253" y="3262"/>
                  </a:lnTo>
                  <a:lnTo>
                    <a:pt x="232" y="3263"/>
                  </a:lnTo>
                  <a:lnTo>
                    <a:pt x="213" y="3267"/>
                  </a:lnTo>
                  <a:lnTo>
                    <a:pt x="194" y="3273"/>
                  </a:lnTo>
                  <a:lnTo>
                    <a:pt x="178" y="3282"/>
                  </a:lnTo>
                  <a:lnTo>
                    <a:pt x="163" y="3295"/>
                  </a:lnTo>
                  <a:lnTo>
                    <a:pt x="150" y="3312"/>
                  </a:lnTo>
                  <a:lnTo>
                    <a:pt x="139" y="3332"/>
                  </a:lnTo>
                  <a:lnTo>
                    <a:pt x="129" y="335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6" name="Freeform 72"/>
            <p:cNvSpPr>
              <a:spLocks noChangeArrowheads="1"/>
            </p:cNvSpPr>
            <p:nvPr/>
          </p:nvSpPr>
          <p:spPr bwMode="auto">
            <a:xfrm>
              <a:off x="738188" y="3479735"/>
              <a:ext cx="344487" cy="2049506"/>
            </a:xfrm>
            <a:custGeom>
              <a:avLst/>
              <a:gdLst>
                <a:gd name="T0" fmla="*/ 178 w 761"/>
                <a:gd name="T1" fmla="*/ 3487 h 3698"/>
                <a:gd name="T2" fmla="*/ 82 w 761"/>
                <a:gd name="T3" fmla="*/ 3207 h 3698"/>
                <a:gd name="T4" fmla="*/ 29 w 761"/>
                <a:gd name="T5" fmla="*/ 3014 h 3698"/>
                <a:gd name="T6" fmla="*/ 7 w 761"/>
                <a:gd name="T7" fmla="*/ 147 h 3698"/>
                <a:gd name="T8" fmla="*/ 36 w 761"/>
                <a:gd name="T9" fmla="*/ 46 h 3698"/>
                <a:gd name="T10" fmla="*/ 63 w 761"/>
                <a:gd name="T11" fmla="*/ 15 h 3698"/>
                <a:gd name="T12" fmla="*/ 101 w 761"/>
                <a:gd name="T13" fmla="*/ 0 h 3698"/>
                <a:gd name="T14" fmla="*/ 141 w 761"/>
                <a:gd name="T15" fmla="*/ 5 h 3698"/>
                <a:gd name="T16" fmla="*/ 170 w 761"/>
                <a:gd name="T17" fmla="*/ 22 h 3698"/>
                <a:gd name="T18" fmla="*/ 195 w 761"/>
                <a:gd name="T19" fmla="*/ 61 h 3698"/>
                <a:gd name="T20" fmla="*/ 208 w 761"/>
                <a:gd name="T21" fmla="*/ 219 h 3698"/>
                <a:gd name="T22" fmla="*/ 258 w 761"/>
                <a:gd name="T23" fmla="*/ 589 h 3698"/>
                <a:gd name="T24" fmla="*/ 333 w 761"/>
                <a:gd name="T25" fmla="*/ 989 h 3698"/>
                <a:gd name="T26" fmla="*/ 427 w 761"/>
                <a:gd name="T27" fmla="*/ 1403 h 3698"/>
                <a:gd name="T28" fmla="*/ 534 w 761"/>
                <a:gd name="T29" fmla="*/ 1817 h 3698"/>
                <a:gd name="T30" fmla="*/ 642 w 761"/>
                <a:gd name="T31" fmla="*/ 2211 h 3698"/>
                <a:gd name="T32" fmla="*/ 745 w 761"/>
                <a:gd name="T33" fmla="*/ 2568 h 3698"/>
                <a:gd name="T34" fmla="*/ 759 w 761"/>
                <a:gd name="T35" fmla="*/ 2726 h 3698"/>
                <a:gd name="T36" fmla="*/ 756 w 761"/>
                <a:gd name="T37" fmla="*/ 2922 h 3698"/>
                <a:gd name="T38" fmla="*/ 729 w 761"/>
                <a:gd name="T39" fmla="*/ 3079 h 3698"/>
                <a:gd name="T40" fmla="*/ 687 w 761"/>
                <a:gd name="T41" fmla="*/ 3201 h 3698"/>
                <a:gd name="T42" fmla="*/ 632 w 761"/>
                <a:gd name="T43" fmla="*/ 3298 h 3698"/>
                <a:gd name="T44" fmla="*/ 522 w 761"/>
                <a:gd name="T45" fmla="*/ 3433 h 3698"/>
                <a:gd name="T46" fmla="*/ 442 w 761"/>
                <a:gd name="T47" fmla="*/ 3534 h 3698"/>
                <a:gd name="T48" fmla="*/ 414 w 761"/>
                <a:gd name="T49" fmla="*/ 3596 h 3698"/>
                <a:gd name="T50" fmla="*/ 401 w 761"/>
                <a:gd name="T51" fmla="*/ 3650 h 3698"/>
                <a:gd name="T52" fmla="*/ 375 w 761"/>
                <a:gd name="T53" fmla="*/ 3682 h 3698"/>
                <a:gd name="T54" fmla="*/ 338 w 761"/>
                <a:gd name="T55" fmla="*/ 3697 h 3698"/>
                <a:gd name="T56" fmla="*/ 290 w 761"/>
                <a:gd name="T57" fmla="*/ 3692 h 3698"/>
                <a:gd name="T58" fmla="*/ 251 w 761"/>
                <a:gd name="T59" fmla="*/ 3657 h 3698"/>
                <a:gd name="T60" fmla="*/ 266 w 761"/>
                <a:gd name="T61" fmla="*/ 3219 h 3698"/>
                <a:gd name="T62" fmla="*/ 316 w 761"/>
                <a:gd name="T63" fmla="*/ 3368 h 3698"/>
                <a:gd name="T64" fmla="*/ 396 w 761"/>
                <a:gd name="T65" fmla="*/ 3318 h 3698"/>
                <a:gd name="T66" fmla="*/ 485 w 761"/>
                <a:gd name="T67" fmla="*/ 3208 h 3698"/>
                <a:gd name="T68" fmla="*/ 529 w 761"/>
                <a:gd name="T69" fmla="*/ 3127 h 3698"/>
                <a:gd name="T70" fmla="*/ 564 w 761"/>
                <a:gd name="T71" fmla="*/ 3025 h 3698"/>
                <a:gd name="T72" fmla="*/ 586 w 761"/>
                <a:gd name="T73" fmla="*/ 2894 h 3698"/>
                <a:gd name="T74" fmla="*/ 588 w 761"/>
                <a:gd name="T75" fmla="*/ 2728 h 3698"/>
                <a:gd name="T76" fmla="*/ 538 w 761"/>
                <a:gd name="T77" fmla="*/ 2469 h 3698"/>
                <a:gd name="T78" fmla="*/ 431 w 761"/>
                <a:gd name="T79" fmla="*/ 2092 h 3698"/>
                <a:gd name="T80" fmla="*/ 322 w 761"/>
                <a:gd name="T81" fmla="*/ 1689 h 3698"/>
                <a:gd name="T82" fmla="*/ 230 w 761"/>
                <a:gd name="T83" fmla="*/ 1311 h 3698"/>
                <a:gd name="T84" fmla="*/ 176 w 761"/>
                <a:gd name="T85" fmla="*/ 1073 h 3698"/>
                <a:gd name="T86" fmla="*/ 128 w 761"/>
                <a:gd name="T87" fmla="*/ 839 h 3698"/>
                <a:gd name="T88" fmla="*/ 88 w 761"/>
                <a:gd name="T89" fmla="*/ 610 h 3698"/>
                <a:gd name="T90" fmla="*/ 48 w 761"/>
                <a:gd name="T91" fmla="*/ 924 h 3698"/>
                <a:gd name="T92" fmla="*/ 27 w 761"/>
                <a:gd name="T93" fmla="*/ 1250 h 3698"/>
                <a:gd name="T94" fmla="*/ 22 w 761"/>
                <a:gd name="T95" fmla="*/ 1581 h 3698"/>
                <a:gd name="T96" fmla="*/ 34 w 761"/>
                <a:gd name="T97" fmla="*/ 1913 h 3698"/>
                <a:gd name="T98" fmla="*/ 63 w 761"/>
                <a:gd name="T99" fmla="*/ 2242 h 3698"/>
                <a:gd name="T100" fmla="*/ 108 w 761"/>
                <a:gd name="T101" fmla="*/ 2563 h 3698"/>
                <a:gd name="T102" fmla="*/ 169 w 761"/>
                <a:gd name="T103" fmla="*/ 2868 h 3698"/>
                <a:gd name="T104" fmla="*/ 246 w 761"/>
                <a:gd name="T105" fmla="*/ 3157 h 3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1" h="3698">
                  <a:moveTo>
                    <a:pt x="246" y="3648"/>
                  </a:moveTo>
                  <a:lnTo>
                    <a:pt x="244" y="3643"/>
                  </a:lnTo>
                  <a:lnTo>
                    <a:pt x="221" y="3592"/>
                  </a:lnTo>
                  <a:lnTo>
                    <a:pt x="199" y="3539"/>
                  </a:lnTo>
                  <a:lnTo>
                    <a:pt x="178" y="3487"/>
                  </a:lnTo>
                  <a:lnTo>
                    <a:pt x="158" y="3432"/>
                  </a:lnTo>
                  <a:lnTo>
                    <a:pt x="138" y="3378"/>
                  </a:lnTo>
                  <a:lnTo>
                    <a:pt x="118" y="3321"/>
                  </a:lnTo>
                  <a:lnTo>
                    <a:pt x="100" y="3264"/>
                  </a:lnTo>
                  <a:lnTo>
                    <a:pt x="82" y="3207"/>
                  </a:lnTo>
                  <a:lnTo>
                    <a:pt x="71" y="3169"/>
                  </a:lnTo>
                  <a:lnTo>
                    <a:pt x="60" y="3131"/>
                  </a:lnTo>
                  <a:lnTo>
                    <a:pt x="49" y="3092"/>
                  </a:lnTo>
                  <a:lnTo>
                    <a:pt x="39" y="3053"/>
                  </a:lnTo>
                  <a:lnTo>
                    <a:pt x="29" y="3014"/>
                  </a:lnTo>
                  <a:lnTo>
                    <a:pt x="19" y="2974"/>
                  </a:lnTo>
                  <a:lnTo>
                    <a:pt x="9" y="2934"/>
                  </a:lnTo>
                  <a:lnTo>
                    <a:pt x="0" y="2893"/>
                  </a:lnTo>
                  <a:lnTo>
                    <a:pt x="0" y="176"/>
                  </a:lnTo>
                  <a:lnTo>
                    <a:pt x="7" y="147"/>
                  </a:lnTo>
                  <a:lnTo>
                    <a:pt x="14" y="118"/>
                  </a:lnTo>
                  <a:lnTo>
                    <a:pt x="22" y="90"/>
                  </a:lnTo>
                  <a:lnTo>
                    <a:pt x="30" y="61"/>
                  </a:lnTo>
                  <a:lnTo>
                    <a:pt x="32" y="53"/>
                  </a:lnTo>
                  <a:lnTo>
                    <a:pt x="36" y="46"/>
                  </a:lnTo>
                  <a:lnTo>
                    <a:pt x="40" y="39"/>
                  </a:lnTo>
                  <a:lnTo>
                    <a:pt x="45" y="32"/>
                  </a:lnTo>
                  <a:lnTo>
                    <a:pt x="50" y="25"/>
                  </a:lnTo>
                  <a:lnTo>
                    <a:pt x="57" y="19"/>
                  </a:lnTo>
                  <a:lnTo>
                    <a:pt x="63" y="15"/>
                  </a:lnTo>
                  <a:lnTo>
                    <a:pt x="70" y="10"/>
                  </a:lnTo>
                  <a:lnTo>
                    <a:pt x="77" y="7"/>
                  </a:lnTo>
                  <a:lnTo>
                    <a:pt x="84" y="4"/>
                  </a:lnTo>
                  <a:lnTo>
                    <a:pt x="93" y="2"/>
                  </a:lnTo>
                  <a:lnTo>
                    <a:pt x="101" y="0"/>
                  </a:lnTo>
                  <a:lnTo>
                    <a:pt x="109" y="0"/>
                  </a:lnTo>
                  <a:lnTo>
                    <a:pt x="117" y="0"/>
                  </a:lnTo>
                  <a:lnTo>
                    <a:pt x="126" y="1"/>
                  </a:lnTo>
                  <a:lnTo>
                    <a:pt x="135" y="2"/>
                  </a:lnTo>
                  <a:lnTo>
                    <a:pt x="141" y="5"/>
                  </a:lnTo>
                  <a:lnTo>
                    <a:pt x="147" y="7"/>
                  </a:lnTo>
                  <a:lnTo>
                    <a:pt x="153" y="10"/>
                  </a:lnTo>
                  <a:lnTo>
                    <a:pt x="160" y="14"/>
                  </a:lnTo>
                  <a:lnTo>
                    <a:pt x="165" y="18"/>
                  </a:lnTo>
                  <a:lnTo>
                    <a:pt x="170" y="22"/>
                  </a:lnTo>
                  <a:lnTo>
                    <a:pt x="175" y="27"/>
                  </a:lnTo>
                  <a:lnTo>
                    <a:pt x="179" y="33"/>
                  </a:lnTo>
                  <a:lnTo>
                    <a:pt x="186" y="44"/>
                  </a:lnTo>
                  <a:lnTo>
                    <a:pt x="193" y="55"/>
                  </a:lnTo>
                  <a:lnTo>
                    <a:pt x="195" y="61"/>
                  </a:lnTo>
                  <a:lnTo>
                    <a:pt x="196" y="69"/>
                  </a:lnTo>
                  <a:lnTo>
                    <a:pt x="197" y="75"/>
                  </a:lnTo>
                  <a:lnTo>
                    <a:pt x="198" y="82"/>
                  </a:lnTo>
                  <a:lnTo>
                    <a:pt x="202" y="149"/>
                  </a:lnTo>
                  <a:lnTo>
                    <a:pt x="208" y="219"/>
                  </a:lnTo>
                  <a:lnTo>
                    <a:pt x="215" y="290"/>
                  </a:lnTo>
                  <a:lnTo>
                    <a:pt x="225" y="362"/>
                  </a:lnTo>
                  <a:lnTo>
                    <a:pt x="234" y="437"/>
                  </a:lnTo>
                  <a:lnTo>
                    <a:pt x="245" y="513"/>
                  </a:lnTo>
                  <a:lnTo>
                    <a:pt x="258" y="589"/>
                  </a:lnTo>
                  <a:lnTo>
                    <a:pt x="271" y="668"/>
                  </a:lnTo>
                  <a:lnTo>
                    <a:pt x="285" y="747"/>
                  </a:lnTo>
                  <a:lnTo>
                    <a:pt x="300" y="826"/>
                  </a:lnTo>
                  <a:lnTo>
                    <a:pt x="316" y="908"/>
                  </a:lnTo>
                  <a:lnTo>
                    <a:pt x="333" y="989"/>
                  </a:lnTo>
                  <a:lnTo>
                    <a:pt x="350" y="1071"/>
                  </a:lnTo>
                  <a:lnTo>
                    <a:pt x="369" y="1153"/>
                  </a:lnTo>
                  <a:lnTo>
                    <a:pt x="388" y="1236"/>
                  </a:lnTo>
                  <a:lnTo>
                    <a:pt x="407" y="1319"/>
                  </a:lnTo>
                  <a:lnTo>
                    <a:pt x="427" y="1403"/>
                  </a:lnTo>
                  <a:lnTo>
                    <a:pt x="448" y="1486"/>
                  </a:lnTo>
                  <a:lnTo>
                    <a:pt x="469" y="1570"/>
                  </a:lnTo>
                  <a:lnTo>
                    <a:pt x="490" y="1653"/>
                  </a:lnTo>
                  <a:lnTo>
                    <a:pt x="512" y="1736"/>
                  </a:lnTo>
                  <a:lnTo>
                    <a:pt x="534" y="1817"/>
                  </a:lnTo>
                  <a:lnTo>
                    <a:pt x="555" y="1897"/>
                  </a:lnTo>
                  <a:lnTo>
                    <a:pt x="577" y="1978"/>
                  </a:lnTo>
                  <a:lnTo>
                    <a:pt x="598" y="2056"/>
                  </a:lnTo>
                  <a:lnTo>
                    <a:pt x="620" y="2133"/>
                  </a:lnTo>
                  <a:lnTo>
                    <a:pt x="642" y="2211"/>
                  </a:lnTo>
                  <a:lnTo>
                    <a:pt x="663" y="2285"/>
                  </a:lnTo>
                  <a:lnTo>
                    <a:pt x="684" y="2359"/>
                  </a:lnTo>
                  <a:lnTo>
                    <a:pt x="705" y="2430"/>
                  </a:lnTo>
                  <a:lnTo>
                    <a:pt x="725" y="2500"/>
                  </a:lnTo>
                  <a:lnTo>
                    <a:pt x="745" y="2568"/>
                  </a:lnTo>
                  <a:lnTo>
                    <a:pt x="747" y="2577"/>
                  </a:lnTo>
                  <a:lnTo>
                    <a:pt x="748" y="2585"/>
                  </a:lnTo>
                  <a:lnTo>
                    <a:pt x="753" y="2634"/>
                  </a:lnTo>
                  <a:lnTo>
                    <a:pt x="757" y="2681"/>
                  </a:lnTo>
                  <a:lnTo>
                    <a:pt x="759" y="2726"/>
                  </a:lnTo>
                  <a:lnTo>
                    <a:pt x="760" y="2768"/>
                  </a:lnTo>
                  <a:lnTo>
                    <a:pt x="761" y="2810"/>
                  </a:lnTo>
                  <a:lnTo>
                    <a:pt x="760" y="2849"/>
                  </a:lnTo>
                  <a:lnTo>
                    <a:pt x="758" y="2887"/>
                  </a:lnTo>
                  <a:lnTo>
                    <a:pt x="756" y="2922"/>
                  </a:lnTo>
                  <a:lnTo>
                    <a:pt x="752" y="2957"/>
                  </a:lnTo>
                  <a:lnTo>
                    <a:pt x="748" y="2989"/>
                  </a:lnTo>
                  <a:lnTo>
                    <a:pt x="743" y="3021"/>
                  </a:lnTo>
                  <a:lnTo>
                    <a:pt x="736" y="3050"/>
                  </a:lnTo>
                  <a:lnTo>
                    <a:pt x="729" y="3079"/>
                  </a:lnTo>
                  <a:lnTo>
                    <a:pt x="722" y="3105"/>
                  </a:lnTo>
                  <a:lnTo>
                    <a:pt x="714" y="3131"/>
                  </a:lnTo>
                  <a:lnTo>
                    <a:pt x="706" y="3156"/>
                  </a:lnTo>
                  <a:lnTo>
                    <a:pt x="696" y="3179"/>
                  </a:lnTo>
                  <a:lnTo>
                    <a:pt x="687" y="3201"/>
                  </a:lnTo>
                  <a:lnTo>
                    <a:pt x="677" y="3223"/>
                  </a:lnTo>
                  <a:lnTo>
                    <a:pt x="666" y="3243"/>
                  </a:lnTo>
                  <a:lnTo>
                    <a:pt x="655" y="3262"/>
                  </a:lnTo>
                  <a:lnTo>
                    <a:pt x="644" y="3281"/>
                  </a:lnTo>
                  <a:lnTo>
                    <a:pt x="632" y="3298"/>
                  </a:lnTo>
                  <a:lnTo>
                    <a:pt x="620" y="3316"/>
                  </a:lnTo>
                  <a:lnTo>
                    <a:pt x="596" y="3348"/>
                  </a:lnTo>
                  <a:lnTo>
                    <a:pt x="572" y="3378"/>
                  </a:lnTo>
                  <a:lnTo>
                    <a:pt x="547" y="3406"/>
                  </a:lnTo>
                  <a:lnTo>
                    <a:pt x="522" y="3433"/>
                  </a:lnTo>
                  <a:lnTo>
                    <a:pt x="502" y="3456"/>
                  </a:lnTo>
                  <a:lnTo>
                    <a:pt x="483" y="3478"/>
                  </a:lnTo>
                  <a:lnTo>
                    <a:pt x="466" y="3499"/>
                  </a:lnTo>
                  <a:lnTo>
                    <a:pt x="449" y="3522"/>
                  </a:lnTo>
                  <a:lnTo>
                    <a:pt x="442" y="3534"/>
                  </a:lnTo>
                  <a:lnTo>
                    <a:pt x="435" y="3546"/>
                  </a:lnTo>
                  <a:lnTo>
                    <a:pt x="428" y="3558"/>
                  </a:lnTo>
                  <a:lnTo>
                    <a:pt x="423" y="3570"/>
                  </a:lnTo>
                  <a:lnTo>
                    <a:pt x="418" y="3583"/>
                  </a:lnTo>
                  <a:lnTo>
                    <a:pt x="414" y="3596"/>
                  </a:lnTo>
                  <a:lnTo>
                    <a:pt x="411" y="3611"/>
                  </a:lnTo>
                  <a:lnTo>
                    <a:pt x="409" y="3625"/>
                  </a:lnTo>
                  <a:lnTo>
                    <a:pt x="407" y="3633"/>
                  </a:lnTo>
                  <a:lnTo>
                    <a:pt x="404" y="3642"/>
                  </a:lnTo>
                  <a:lnTo>
                    <a:pt x="401" y="3650"/>
                  </a:lnTo>
                  <a:lnTo>
                    <a:pt x="397" y="3657"/>
                  </a:lnTo>
                  <a:lnTo>
                    <a:pt x="392" y="3664"/>
                  </a:lnTo>
                  <a:lnTo>
                    <a:pt x="387" y="3670"/>
                  </a:lnTo>
                  <a:lnTo>
                    <a:pt x="381" y="3677"/>
                  </a:lnTo>
                  <a:lnTo>
                    <a:pt x="375" y="3682"/>
                  </a:lnTo>
                  <a:lnTo>
                    <a:pt x="368" y="3686"/>
                  </a:lnTo>
                  <a:lnTo>
                    <a:pt x="362" y="3690"/>
                  </a:lnTo>
                  <a:lnTo>
                    <a:pt x="353" y="3693"/>
                  </a:lnTo>
                  <a:lnTo>
                    <a:pt x="346" y="3695"/>
                  </a:lnTo>
                  <a:lnTo>
                    <a:pt x="338" y="3697"/>
                  </a:lnTo>
                  <a:lnTo>
                    <a:pt x="329" y="3698"/>
                  </a:lnTo>
                  <a:lnTo>
                    <a:pt x="320" y="3698"/>
                  </a:lnTo>
                  <a:lnTo>
                    <a:pt x="312" y="3697"/>
                  </a:lnTo>
                  <a:lnTo>
                    <a:pt x="301" y="3695"/>
                  </a:lnTo>
                  <a:lnTo>
                    <a:pt x="290" y="3692"/>
                  </a:lnTo>
                  <a:lnTo>
                    <a:pt x="281" y="3687"/>
                  </a:lnTo>
                  <a:lnTo>
                    <a:pt x="272" y="3681"/>
                  </a:lnTo>
                  <a:lnTo>
                    <a:pt x="264" y="3673"/>
                  </a:lnTo>
                  <a:lnTo>
                    <a:pt x="258" y="3666"/>
                  </a:lnTo>
                  <a:lnTo>
                    <a:pt x="251" y="3657"/>
                  </a:lnTo>
                  <a:lnTo>
                    <a:pt x="246" y="3648"/>
                  </a:lnTo>
                  <a:close/>
                  <a:moveTo>
                    <a:pt x="246" y="3157"/>
                  </a:moveTo>
                  <a:lnTo>
                    <a:pt x="255" y="3189"/>
                  </a:lnTo>
                  <a:lnTo>
                    <a:pt x="266" y="3219"/>
                  </a:lnTo>
                  <a:lnTo>
                    <a:pt x="275" y="3250"/>
                  </a:lnTo>
                  <a:lnTo>
                    <a:pt x="285" y="3280"/>
                  </a:lnTo>
                  <a:lnTo>
                    <a:pt x="296" y="3310"/>
                  </a:lnTo>
                  <a:lnTo>
                    <a:pt x="306" y="3339"/>
                  </a:lnTo>
                  <a:lnTo>
                    <a:pt x="316" y="3368"/>
                  </a:lnTo>
                  <a:lnTo>
                    <a:pt x="328" y="3397"/>
                  </a:lnTo>
                  <a:lnTo>
                    <a:pt x="344" y="3378"/>
                  </a:lnTo>
                  <a:lnTo>
                    <a:pt x="361" y="3357"/>
                  </a:lnTo>
                  <a:lnTo>
                    <a:pt x="378" y="3337"/>
                  </a:lnTo>
                  <a:lnTo>
                    <a:pt x="396" y="3318"/>
                  </a:lnTo>
                  <a:lnTo>
                    <a:pt x="416" y="3296"/>
                  </a:lnTo>
                  <a:lnTo>
                    <a:pt x="436" y="3272"/>
                  </a:lnTo>
                  <a:lnTo>
                    <a:pt x="456" y="3248"/>
                  </a:lnTo>
                  <a:lnTo>
                    <a:pt x="476" y="3222"/>
                  </a:lnTo>
                  <a:lnTo>
                    <a:pt x="485" y="3208"/>
                  </a:lnTo>
                  <a:lnTo>
                    <a:pt x="494" y="3193"/>
                  </a:lnTo>
                  <a:lnTo>
                    <a:pt x="504" y="3178"/>
                  </a:lnTo>
                  <a:lnTo>
                    <a:pt x="513" y="3162"/>
                  </a:lnTo>
                  <a:lnTo>
                    <a:pt x="521" y="3146"/>
                  </a:lnTo>
                  <a:lnTo>
                    <a:pt x="529" y="3127"/>
                  </a:lnTo>
                  <a:lnTo>
                    <a:pt x="538" y="3110"/>
                  </a:lnTo>
                  <a:lnTo>
                    <a:pt x="545" y="3090"/>
                  </a:lnTo>
                  <a:lnTo>
                    <a:pt x="552" y="3069"/>
                  </a:lnTo>
                  <a:lnTo>
                    <a:pt x="558" y="3048"/>
                  </a:lnTo>
                  <a:lnTo>
                    <a:pt x="564" y="3025"/>
                  </a:lnTo>
                  <a:lnTo>
                    <a:pt x="570" y="3001"/>
                  </a:lnTo>
                  <a:lnTo>
                    <a:pt x="575" y="2977"/>
                  </a:lnTo>
                  <a:lnTo>
                    <a:pt x="579" y="2951"/>
                  </a:lnTo>
                  <a:lnTo>
                    <a:pt x="583" y="2923"/>
                  </a:lnTo>
                  <a:lnTo>
                    <a:pt x="586" y="2894"/>
                  </a:lnTo>
                  <a:lnTo>
                    <a:pt x="588" y="2864"/>
                  </a:lnTo>
                  <a:lnTo>
                    <a:pt x="589" y="2832"/>
                  </a:lnTo>
                  <a:lnTo>
                    <a:pt x="589" y="2799"/>
                  </a:lnTo>
                  <a:lnTo>
                    <a:pt x="589" y="2764"/>
                  </a:lnTo>
                  <a:lnTo>
                    <a:pt x="588" y="2728"/>
                  </a:lnTo>
                  <a:lnTo>
                    <a:pt x="586" y="2690"/>
                  </a:lnTo>
                  <a:lnTo>
                    <a:pt x="583" y="2651"/>
                  </a:lnTo>
                  <a:lnTo>
                    <a:pt x="579" y="2609"/>
                  </a:lnTo>
                  <a:lnTo>
                    <a:pt x="558" y="2540"/>
                  </a:lnTo>
                  <a:lnTo>
                    <a:pt x="538" y="2469"/>
                  </a:lnTo>
                  <a:lnTo>
                    <a:pt x="517" y="2396"/>
                  </a:lnTo>
                  <a:lnTo>
                    <a:pt x="495" y="2322"/>
                  </a:lnTo>
                  <a:lnTo>
                    <a:pt x="475" y="2247"/>
                  </a:lnTo>
                  <a:lnTo>
                    <a:pt x="453" y="2171"/>
                  </a:lnTo>
                  <a:lnTo>
                    <a:pt x="431" y="2092"/>
                  </a:lnTo>
                  <a:lnTo>
                    <a:pt x="409" y="2013"/>
                  </a:lnTo>
                  <a:lnTo>
                    <a:pt x="387" y="1933"/>
                  </a:lnTo>
                  <a:lnTo>
                    <a:pt x="366" y="1852"/>
                  </a:lnTo>
                  <a:lnTo>
                    <a:pt x="344" y="1771"/>
                  </a:lnTo>
                  <a:lnTo>
                    <a:pt x="322" y="1689"/>
                  </a:lnTo>
                  <a:lnTo>
                    <a:pt x="302" y="1607"/>
                  </a:lnTo>
                  <a:lnTo>
                    <a:pt x="281" y="1524"/>
                  </a:lnTo>
                  <a:lnTo>
                    <a:pt x="261" y="1441"/>
                  </a:lnTo>
                  <a:lnTo>
                    <a:pt x="241" y="1358"/>
                  </a:lnTo>
                  <a:lnTo>
                    <a:pt x="230" y="1311"/>
                  </a:lnTo>
                  <a:lnTo>
                    <a:pt x="218" y="1263"/>
                  </a:lnTo>
                  <a:lnTo>
                    <a:pt x="207" y="1216"/>
                  </a:lnTo>
                  <a:lnTo>
                    <a:pt x="197" y="1168"/>
                  </a:lnTo>
                  <a:lnTo>
                    <a:pt x="186" y="1120"/>
                  </a:lnTo>
                  <a:lnTo>
                    <a:pt x="176" y="1073"/>
                  </a:lnTo>
                  <a:lnTo>
                    <a:pt x="166" y="1025"/>
                  </a:lnTo>
                  <a:lnTo>
                    <a:pt x="157" y="979"/>
                  </a:lnTo>
                  <a:lnTo>
                    <a:pt x="146" y="931"/>
                  </a:lnTo>
                  <a:lnTo>
                    <a:pt x="137" y="885"/>
                  </a:lnTo>
                  <a:lnTo>
                    <a:pt x="128" y="839"/>
                  </a:lnTo>
                  <a:lnTo>
                    <a:pt x="119" y="792"/>
                  </a:lnTo>
                  <a:lnTo>
                    <a:pt x="111" y="746"/>
                  </a:lnTo>
                  <a:lnTo>
                    <a:pt x="103" y="701"/>
                  </a:lnTo>
                  <a:lnTo>
                    <a:pt x="95" y="654"/>
                  </a:lnTo>
                  <a:lnTo>
                    <a:pt x="88" y="610"/>
                  </a:lnTo>
                  <a:lnTo>
                    <a:pt x="78" y="672"/>
                  </a:lnTo>
                  <a:lnTo>
                    <a:pt x="70" y="734"/>
                  </a:lnTo>
                  <a:lnTo>
                    <a:pt x="62" y="797"/>
                  </a:lnTo>
                  <a:lnTo>
                    <a:pt x="55" y="860"/>
                  </a:lnTo>
                  <a:lnTo>
                    <a:pt x="48" y="924"/>
                  </a:lnTo>
                  <a:lnTo>
                    <a:pt x="43" y="989"/>
                  </a:lnTo>
                  <a:lnTo>
                    <a:pt x="38" y="1054"/>
                  </a:lnTo>
                  <a:lnTo>
                    <a:pt x="34" y="1119"/>
                  </a:lnTo>
                  <a:lnTo>
                    <a:pt x="30" y="1184"/>
                  </a:lnTo>
                  <a:lnTo>
                    <a:pt x="27" y="1250"/>
                  </a:lnTo>
                  <a:lnTo>
                    <a:pt x="25" y="1316"/>
                  </a:lnTo>
                  <a:lnTo>
                    <a:pt x="23" y="1382"/>
                  </a:lnTo>
                  <a:lnTo>
                    <a:pt x="22" y="1448"/>
                  </a:lnTo>
                  <a:lnTo>
                    <a:pt x="22" y="1514"/>
                  </a:lnTo>
                  <a:lnTo>
                    <a:pt x="22" y="1581"/>
                  </a:lnTo>
                  <a:lnTo>
                    <a:pt x="24" y="1647"/>
                  </a:lnTo>
                  <a:lnTo>
                    <a:pt x="25" y="1714"/>
                  </a:lnTo>
                  <a:lnTo>
                    <a:pt x="28" y="1780"/>
                  </a:lnTo>
                  <a:lnTo>
                    <a:pt x="31" y="1847"/>
                  </a:lnTo>
                  <a:lnTo>
                    <a:pt x="34" y="1913"/>
                  </a:lnTo>
                  <a:lnTo>
                    <a:pt x="38" y="1979"/>
                  </a:lnTo>
                  <a:lnTo>
                    <a:pt x="43" y="2045"/>
                  </a:lnTo>
                  <a:lnTo>
                    <a:pt x="49" y="2111"/>
                  </a:lnTo>
                  <a:lnTo>
                    <a:pt x="56" y="2177"/>
                  </a:lnTo>
                  <a:lnTo>
                    <a:pt x="63" y="2242"/>
                  </a:lnTo>
                  <a:lnTo>
                    <a:pt x="71" y="2307"/>
                  </a:lnTo>
                  <a:lnTo>
                    <a:pt x="79" y="2372"/>
                  </a:lnTo>
                  <a:lnTo>
                    <a:pt x="89" y="2435"/>
                  </a:lnTo>
                  <a:lnTo>
                    <a:pt x="98" y="2499"/>
                  </a:lnTo>
                  <a:lnTo>
                    <a:pt x="108" y="2563"/>
                  </a:lnTo>
                  <a:lnTo>
                    <a:pt x="119" y="2626"/>
                  </a:lnTo>
                  <a:lnTo>
                    <a:pt x="131" y="2688"/>
                  </a:lnTo>
                  <a:lnTo>
                    <a:pt x="143" y="2749"/>
                  </a:lnTo>
                  <a:lnTo>
                    <a:pt x="156" y="2810"/>
                  </a:lnTo>
                  <a:lnTo>
                    <a:pt x="169" y="2868"/>
                  </a:lnTo>
                  <a:lnTo>
                    <a:pt x="183" y="2927"/>
                  </a:lnTo>
                  <a:lnTo>
                    <a:pt x="198" y="2986"/>
                  </a:lnTo>
                  <a:lnTo>
                    <a:pt x="213" y="3044"/>
                  </a:lnTo>
                  <a:lnTo>
                    <a:pt x="230" y="3101"/>
                  </a:lnTo>
                  <a:lnTo>
                    <a:pt x="246" y="315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7" name="Freeform 73"/>
            <p:cNvSpPr>
              <a:spLocks noChangeArrowheads="1"/>
            </p:cNvSpPr>
            <p:nvPr/>
          </p:nvSpPr>
          <p:spPr bwMode="auto">
            <a:xfrm>
              <a:off x="738188" y="3532125"/>
              <a:ext cx="301625" cy="1951078"/>
            </a:xfrm>
            <a:custGeom>
              <a:avLst/>
              <a:gdLst>
                <a:gd name="T0" fmla="*/ 296 w 675"/>
                <a:gd name="T1" fmla="*/ 3465 h 3529"/>
                <a:gd name="T2" fmla="*/ 242 w 675"/>
                <a:gd name="T3" fmla="*/ 3332 h 3529"/>
                <a:gd name="T4" fmla="*/ 194 w 675"/>
                <a:gd name="T5" fmla="*/ 3192 h 3529"/>
                <a:gd name="T6" fmla="*/ 148 w 675"/>
                <a:gd name="T7" fmla="*/ 3046 h 3529"/>
                <a:gd name="T8" fmla="*/ 108 w 675"/>
                <a:gd name="T9" fmla="*/ 2896 h 3529"/>
                <a:gd name="T10" fmla="*/ 72 w 675"/>
                <a:gd name="T11" fmla="*/ 2740 h 3529"/>
                <a:gd name="T12" fmla="*/ 40 w 675"/>
                <a:gd name="T13" fmla="*/ 2581 h 3529"/>
                <a:gd name="T14" fmla="*/ 12 w 675"/>
                <a:gd name="T15" fmla="*/ 2418 h 3529"/>
                <a:gd name="T16" fmla="*/ 0 w 675"/>
                <a:gd name="T17" fmla="*/ 535 h 3529"/>
                <a:gd name="T18" fmla="*/ 23 w 675"/>
                <a:gd name="T19" fmla="*/ 397 h 3529"/>
                <a:gd name="T20" fmla="*/ 48 w 675"/>
                <a:gd name="T21" fmla="*/ 261 h 3529"/>
                <a:gd name="T22" fmla="*/ 78 w 675"/>
                <a:gd name="T23" fmla="*/ 129 h 3529"/>
                <a:gd name="T24" fmla="*/ 112 w 675"/>
                <a:gd name="T25" fmla="*/ 0 h 3529"/>
                <a:gd name="T26" fmla="*/ 123 w 675"/>
                <a:gd name="T27" fmla="*/ 140 h 3529"/>
                <a:gd name="T28" fmla="*/ 139 w 675"/>
                <a:gd name="T29" fmla="*/ 287 h 3529"/>
                <a:gd name="T30" fmla="*/ 161 w 675"/>
                <a:gd name="T31" fmla="*/ 438 h 3529"/>
                <a:gd name="T32" fmla="*/ 186 w 675"/>
                <a:gd name="T33" fmla="*/ 596 h 3529"/>
                <a:gd name="T34" fmla="*/ 215 w 675"/>
                <a:gd name="T35" fmla="*/ 757 h 3529"/>
                <a:gd name="T36" fmla="*/ 249 w 675"/>
                <a:gd name="T37" fmla="*/ 921 h 3529"/>
                <a:gd name="T38" fmla="*/ 285 w 675"/>
                <a:gd name="T39" fmla="*/ 1088 h 3529"/>
                <a:gd name="T40" fmla="*/ 324 w 675"/>
                <a:gd name="T41" fmla="*/ 1255 h 3529"/>
                <a:gd name="T42" fmla="*/ 407 w 675"/>
                <a:gd name="T43" fmla="*/ 1588 h 3529"/>
                <a:gd name="T44" fmla="*/ 493 w 675"/>
                <a:gd name="T45" fmla="*/ 1913 h 3529"/>
                <a:gd name="T46" fmla="*/ 580 w 675"/>
                <a:gd name="T47" fmla="*/ 2223 h 3529"/>
                <a:gd name="T48" fmla="*/ 663 w 675"/>
                <a:gd name="T49" fmla="*/ 2508 h 3529"/>
                <a:gd name="T50" fmla="*/ 674 w 675"/>
                <a:gd name="T51" fmla="*/ 2643 h 3529"/>
                <a:gd name="T52" fmla="*/ 675 w 675"/>
                <a:gd name="T53" fmla="*/ 2760 h 3529"/>
                <a:gd name="T54" fmla="*/ 666 w 675"/>
                <a:gd name="T55" fmla="*/ 2862 h 3529"/>
                <a:gd name="T56" fmla="*/ 652 w 675"/>
                <a:gd name="T57" fmla="*/ 2949 h 3529"/>
                <a:gd name="T58" fmla="*/ 630 w 675"/>
                <a:gd name="T59" fmla="*/ 3025 h 3529"/>
                <a:gd name="T60" fmla="*/ 605 w 675"/>
                <a:gd name="T61" fmla="*/ 3090 h 3529"/>
                <a:gd name="T62" fmla="*/ 574 w 675"/>
                <a:gd name="T63" fmla="*/ 3145 h 3529"/>
                <a:gd name="T64" fmla="*/ 541 w 675"/>
                <a:gd name="T65" fmla="*/ 3194 h 3529"/>
                <a:gd name="T66" fmla="*/ 507 w 675"/>
                <a:gd name="T67" fmla="*/ 3237 h 3529"/>
                <a:gd name="T68" fmla="*/ 472 w 675"/>
                <a:gd name="T69" fmla="*/ 3277 h 3529"/>
                <a:gd name="T70" fmla="*/ 407 w 675"/>
                <a:gd name="T71" fmla="*/ 3351 h 3529"/>
                <a:gd name="T72" fmla="*/ 378 w 675"/>
                <a:gd name="T73" fmla="*/ 3390 h 3529"/>
                <a:gd name="T74" fmla="*/ 354 w 675"/>
                <a:gd name="T75" fmla="*/ 3431 h 3529"/>
                <a:gd name="T76" fmla="*/ 336 w 675"/>
                <a:gd name="T77" fmla="*/ 3477 h 3529"/>
                <a:gd name="T78" fmla="*/ 323 w 675"/>
                <a:gd name="T79" fmla="*/ 3529 h 3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75" h="3529">
                  <a:moveTo>
                    <a:pt x="323" y="3529"/>
                  </a:moveTo>
                  <a:lnTo>
                    <a:pt x="296" y="3465"/>
                  </a:lnTo>
                  <a:lnTo>
                    <a:pt x="269" y="3399"/>
                  </a:lnTo>
                  <a:lnTo>
                    <a:pt x="242" y="3332"/>
                  </a:lnTo>
                  <a:lnTo>
                    <a:pt x="217" y="3263"/>
                  </a:lnTo>
                  <a:lnTo>
                    <a:pt x="194" y="3192"/>
                  </a:lnTo>
                  <a:lnTo>
                    <a:pt x="171" y="3119"/>
                  </a:lnTo>
                  <a:lnTo>
                    <a:pt x="148" y="3046"/>
                  </a:lnTo>
                  <a:lnTo>
                    <a:pt x="128" y="2971"/>
                  </a:lnTo>
                  <a:lnTo>
                    <a:pt x="108" y="2896"/>
                  </a:lnTo>
                  <a:lnTo>
                    <a:pt x="90" y="2818"/>
                  </a:lnTo>
                  <a:lnTo>
                    <a:pt x="72" y="2740"/>
                  </a:lnTo>
                  <a:lnTo>
                    <a:pt x="56" y="2661"/>
                  </a:lnTo>
                  <a:lnTo>
                    <a:pt x="40" y="2581"/>
                  </a:lnTo>
                  <a:lnTo>
                    <a:pt x="26" y="2500"/>
                  </a:lnTo>
                  <a:lnTo>
                    <a:pt x="12" y="2418"/>
                  </a:lnTo>
                  <a:lnTo>
                    <a:pt x="0" y="2336"/>
                  </a:lnTo>
                  <a:lnTo>
                    <a:pt x="0" y="535"/>
                  </a:lnTo>
                  <a:lnTo>
                    <a:pt x="10" y="466"/>
                  </a:lnTo>
                  <a:lnTo>
                    <a:pt x="23" y="397"/>
                  </a:lnTo>
                  <a:lnTo>
                    <a:pt x="35" y="328"/>
                  </a:lnTo>
                  <a:lnTo>
                    <a:pt x="48" y="261"/>
                  </a:lnTo>
                  <a:lnTo>
                    <a:pt x="63" y="194"/>
                  </a:lnTo>
                  <a:lnTo>
                    <a:pt x="78" y="129"/>
                  </a:lnTo>
                  <a:lnTo>
                    <a:pt x="95" y="64"/>
                  </a:lnTo>
                  <a:lnTo>
                    <a:pt x="112" y="0"/>
                  </a:lnTo>
                  <a:lnTo>
                    <a:pt x="116" y="69"/>
                  </a:lnTo>
                  <a:lnTo>
                    <a:pt x="123" y="140"/>
                  </a:lnTo>
                  <a:lnTo>
                    <a:pt x="130" y="212"/>
                  </a:lnTo>
                  <a:lnTo>
                    <a:pt x="139" y="287"/>
                  </a:lnTo>
                  <a:lnTo>
                    <a:pt x="149" y="362"/>
                  </a:lnTo>
                  <a:lnTo>
                    <a:pt x="161" y="438"/>
                  </a:lnTo>
                  <a:lnTo>
                    <a:pt x="173" y="517"/>
                  </a:lnTo>
                  <a:lnTo>
                    <a:pt x="186" y="596"/>
                  </a:lnTo>
                  <a:lnTo>
                    <a:pt x="201" y="676"/>
                  </a:lnTo>
                  <a:lnTo>
                    <a:pt x="215" y="757"/>
                  </a:lnTo>
                  <a:lnTo>
                    <a:pt x="232" y="839"/>
                  </a:lnTo>
                  <a:lnTo>
                    <a:pt x="249" y="921"/>
                  </a:lnTo>
                  <a:lnTo>
                    <a:pt x="267" y="1004"/>
                  </a:lnTo>
                  <a:lnTo>
                    <a:pt x="285" y="1088"/>
                  </a:lnTo>
                  <a:lnTo>
                    <a:pt x="304" y="1171"/>
                  </a:lnTo>
                  <a:lnTo>
                    <a:pt x="324" y="1255"/>
                  </a:lnTo>
                  <a:lnTo>
                    <a:pt x="365" y="1422"/>
                  </a:lnTo>
                  <a:lnTo>
                    <a:pt x="407" y="1588"/>
                  </a:lnTo>
                  <a:lnTo>
                    <a:pt x="450" y="1753"/>
                  </a:lnTo>
                  <a:lnTo>
                    <a:pt x="493" y="1913"/>
                  </a:lnTo>
                  <a:lnTo>
                    <a:pt x="537" y="2071"/>
                  </a:lnTo>
                  <a:lnTo>
                    <a:pt x="580" y="2223"/>
                  </a:lnTo>
                  <a:lnTo>
                    <a:pt x="622" y="2369"/>
                  </a:lnTo>
                  <a:lnTo>
                    <a:pt x="663" y="2508"/>
                  </a:lnTo>
                  <a:lnTo>
                    <a:pt x="670" y="2578"/>
                  </a:lnTo>
                  <a:lnTo>
                    <a:pt x="674" y="2643"/>
                  </a:lnTo>
                  <a:lnTo>
                    <a:pt x="675" y="2704"/>
                  </a:lnTo>
                  <a:lnTo>
                    <a:pt x="675" y="2760"/>
                  </a:lnTo>
                  <a:lnTo>
                    <a:pt x="672" y="2812"/>
                  </a:lnTo>
                  <a:lnTo>
                    <a:pt x="666" y="2862"/>
                  </a:lnTo>
                  <a:lnTo>
                    <a:pt x="660" y="2907"/>
                  </a:lnTo>
                  <a:lnTo>
                    <a:pt x="652" y="2949"/>
                  </a:lnTo>
                  <a:lnTo>
                    <a:pt x="642" y="2989"/>
                  </a:lnTo>
                  <a:lnTo>
                    <a:pt x="630" y="3025"/>
                  </a:lnTo>
                  <a:lnTo>
                    <a:pt x="618" y="3059"/>
                  </a:lnTo>
                  <a:lnTo>
                    <a:pt x="605" y="3090"/>
                  </a:lnTo>
                  <a:lnTo>
                    <a:pt x="589" y="3118"/>
                  </a:lnTo>
                  <a:lnTo>
                    <a:pt x="574" y="3145"/>
                  </a:lnTo>
                  <a:lnTo>
                    <a:pt x="558" y="3170"/>
                  </a:lnTo>
                  <a:lnTo>
                    <a:pt x="541" y="3194"/>
                  </a:lnTo>
                  <a:lnTo>
                    <a:pt x="524" y="3216"/>
                  </a:lnTo>
                  <a:lnTo>
                    <a:pt x="507" y="3237"/>
                  </a:lnTo>
                  <a:lnTo>
                    <a:pt x="489" y="3258"/>
                  </a:lnTo>
                  <a:lnTo>
                    <a:pt x="472" y="3277"/>
                  </a:lnTo>
                  <a:lnTo>
                    <a:pt x="438" y="3314"/>
                  </a:lnTo>
                  <a:lnTo>
                    <a:pt x="407" y="3351"/>
                  </a:lnTo>
                  <a:lnTo>
                    <a:pt x="391" y="3370"/>
                  </a:lnTo>
                  <a:lnTo>
                    <a:pt x="378" y="3390"/>
                  </a:lnTo>
                  <a:lnTo>
                    <a:pt x="366" y="3410"/>
                  </a:lnTo>
                  <a:lnTo>
                    <a:pt x="354" y="3431"/>
                  </a:lnTo>
                  <a:lnTo>
                    <a:pt x="344" y="3453"/>
                  </a:lnTo>
                  <a:lnTo>
                    <a:pt x="336" y="3477"/>
                  </a:lnTo>
                  <a:lnTo>
                    <a:pt x="329" y="3502"/>
                  </a:lnTo>
                  <a:lnTo>
                    <a:pt x="323" y="352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8" name="Freeform 74"/>
            <p:cNvSpPr>
              <a:spLocks noChangeArrowheads="1"/>
            </p:cNvSpPr>
            <p:nvPr/>
          </p:nvSpPr>
          <p:spPr bwMode="auto">
            <a:xfrm>
              <a:off x="738188" y="4533858"/>
              <a:ext cx="315912" cy="1747875"/>
            </a:xfrm>
            <a:custGeom>
              <a:avLst/>
              <a:gdLst>
                <a:gd name="T0" fmla="*/ 507 w 707"/>
                <a:gd name="T1" fmla="*/ 3062 h 3163"/>
                <a:gd name="T2" fmla="*/ 385 w 707"/>
                <a:gd name="T3" fmla="*/ 2869 h 3163"/>
                <a:gd name="T4" fmla="*/ 272 w 707"/>
                <a:gd name="T5" fmla="*/ 2666 h 3163"/>
                <a:gd name="T6" fmla="*/ 172 w 707"/>
                <a:gd name="T7" fmla="*/ 2464 h 3163"/>
                <a:gd name="T8" fmla="*/ 82 w 707"/>
                <a:gd name="T9" fmla="*/ 2261 h 3163"/>
                <a:gd name="T10" fmla="*/ 0 w 707"/>
                <a:gd name="T11" fmla="*/ 2052 h 3163"/>
                <a:gd name="T12" fmla="*/ 34 w 707"/>
                <a:gd name="T13" fmla="*/ 1619 h 3163"/>
                <a:gd name="T14" fmla="*/ 88 w 707"/>
                <a:gd name="T15" fmla="*/ 1789 h 3163"/>
                <a:gd name="T16" fmla="*/ 147 w 707"/>
                <a:gd name="T17" fmla="*/ 1956 h 3163"/>
                <a:gd name="T18" fmla="*/ 231 w 707"/>
                <a:gd name="T19" fmla="*/ 2173 h 3163"/>
                <a:gd name="T20" fmla="*/ 323 w 707"/>
                <a:gd name="T21" fmla="*/ 2384 h 3163"/>
                <a:gd name="T22" fmla="*/ 405 w 707"/>
                <a:gd name="T23" fmla="*/ 2552 h 3163"/>
                <a:gd name="T24" fmla="*/ 455 w 707"/>
                <a:gd name="T25" fmla="*/ 2645 h 3163"/>
                <a:gd name="T26" fmla="*/ 507 w 707"/>
                <a:gd name="T27" fmla="*/ 2738 h 3163"/>
                <a:gd name="T28" fmla="*/ 518 w 707"/>
                <a:gd name="T29" fmla="*/ 2664 h 3163"/>
                <a:gd name="T30" fmla="*/ 506 w 707"/>
                <a:gd name="T31" fmla="*/ 2503 h 3163"/>
                <a:gd name="T32" fmla="*/ 493 w 707"/>
                <a:gd name="T33" fmla="*/ 2339 h 3163"/>
                <a:gd name="T34" fmla="*/ 481 w 707"/>
                <a:gd name="T35" fmla="*/ 2194 h 3163"/>
                <a:gd name="T36" fmla="*/ 471 w 707"/>
                <a:gd name="T37" fmla="*/ 2051 h 3163"/>
                <a:gd name="T38" fmla="*/ 461 w 707"/>
                <a:gd name="T39" fmla="*/ 1910 h 3163"/>
                <a:gd name="T40" fmla="*/ 454 w 707"/>
                <a:gd name="T41" fmla="*/ 1775 h 3163"/>
                <a:gd name="T42" fmla="*/ 451 w 707"/>
                <a:gd name="T43" fmla="*/ 1649 h 3163"/>
                <a:gd name="T44" fmla="*/ 388 w 707"/>
                <a:gd name="T45" fmla="*/ 1474 h 3163"/>
                <a:gd name="T46" fmla="*/ 298 w 707"/>
                <a:gd name="T47" fmla="*/ 1272 h 3163"/>
                <a:gd name="T48" fmla="*/ 212 w 707"/>
                <a:gd name="T49" fmla="*/ 1069 h 3163"/>
                <a:gd name="T50" fmla="*/ 130 w 707"/>
                <a:gd name="T51" fmla="*/ 865 h 3163"/>
                <a:gd name="T52" fmla="*/ 50 w 707"/>
                <a:gd name="T53" fmla="*/ 660 h 3163"/>
                <a:gd name="T54" fmla="*/ 0 w 707"/>
                <a:gd name="T55" fmla="*/ 0 h 3163"/>
                <a:gd name="T56" fmla="*/ 25 w 707"/>
                <a:gd name="T57" fmla="*/ 74 h 3163"/>
                <a:gd name="T58" fmla="*/ 49 w 707"/>
                <a:gd name="T59" fmla="*/ 147 h 3163"/>
                <a:gd name="T60" fmla="*/ 96 w 707"/>
                <a:gd name="T61" fmla="*/ 282 h 3163"/>
                <a:gd name="T62" fmla="*/ 188 w 707"/>
                <a:gd name="T63" fmla="*/ 539 h 3163"/>
                <a:gd name="T64" fmla="*/ 285 w 707"/>
                <a:gd name="T65" fmla="*/ 795 h 3163"/>
                <a:gd name="T66" fmla="*/ 388 w 707"/>
                <a:gd name="T67" fmla="*/ 1050 h 3163"/>
                <a:gd name="T68" fmla="*/ 497 w 707"/>
                <a:gd name="T69" fmla="*/ 1302 h 3163"/>
                <a:gd name="T70" fmla="*/ 613 w 707"/>
                <a:gd name="T71" fmla="*/ 1552 h 3163"/>
                <a:gd name="T72" fmla="*/ 621 w 707"/>
                <a:gd name="T73" fmla="*/ 1583 h 3163"/>
                <a:gd name="T74" fmla="*/ 622 w 707"/>
                <a:gd name="T75" fmla="*/ 1673 h 3163"/>
                <a:gd name="T76" fmla="*/ 627 w 707"/>
                <a:gd name="T77" fmla="*/ 1802 h 3163"/>
                <a:gd name="T78" fmla="*/ 634 w 707"/>
                <a:gd name="T79" fmla="*/ 1939 h 3163"/>
                <a:gd name="T80" fmla="*/ 645 w 707"/>
                <a:gd name="T81" fmla="*/ 2082 h 3163"/>
                <a:gd name="T82" fmla="*/ 656 w 707"/>
                <a:gd name="T83" fmla="*/ 2228 h 3163"/>
                <a:gd name="T84" fmla="*/ 667 w 707"/>
                <a:gd name="T85" fmla="*/ 2376 h 3163"/>
                <a:gd name="T86" fmla="*/ 679 w 707"/>
                <a:gd name="T87" fmla="*/ 2526 h 3163"/>
                <a:gd name="T88" fmla="*/ 689 w 707"/>
                <a:gd name="T89" fmla="*/ 2673 h 3163"/>
                <a:gd name="T90" fmla="*/ 698 w 707"/>
                <a:gd name="T91" fmla="*/ 2816 h 3163"/>
                <a:gd name="T92" fmla="*/ 703 w 707"/>
                <a:gd name="T93" fmla="*/ 2951 h 3163"/>
                <a:gd name="T94" fmla="*/ 707 w 707"/>
                <a:gd name="T95" fmla="*/ 3077 h 3163"/>
                <a:gd name="T96" fmla="*/ 702 w 707"/>
                <a:gd name="T97" fmla="*/ 3103 h 3163"/>
                <a:gd name="T98" fmla="*/ 691 w 707"/>
                <a:gd name="T99" fmla="*/ 3125 h 3163"/>
                <a:gd name="T100" fmla="*/ 675 w 707"/>
                <a:gd name="T101" fmla="*/ 3143 h 3163"/>
                <a:gd name="T102" fmla="*/ 654 w 707"/>
                <a:gd name="T103" fmla="*/ 3156 h 3163"/>
                <a:gd name="T104" fmla="*/ 629 w 707"/>
                <a:gd name="T105" fmla="*/ 3163 h 3163"/>
                <a:gd name="T106" fmla="*/ 599 w 707"/>
                <a:gd name="T107" fmla="*/ 3160 h 3163"/>
                <a:gd name="T108" fmla="*/ 572 w 707"/>
                <a:gd name="T109" fmla="*/ 3147 h 3163"/>
                <a:gd name="T110" fmla="*/ 551 w 707"/>
                <a:gd name="T111" fmla="*/ 3126 h 3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7" h="3163">
                  <a:moveTo>
                    <a:pt x="551" y="3126"/>
                  </a:moveTo>
                  <a:lnTo>
                    <a:pt x="549" y="3124"/>
                  </a:lnTo>
                  <a:lnTo>
                    <a:pt x="507" y="3062"/>
                  </a:lnTo>
                  <a:lnTo>
                    <a:pt x="466" y="2999"/>
                  </a:lnTo>
                  <a:lnTo>
                    <a:pt x="424" y="2934"/>
                  </a:lnTo>
                  <a:lnTo>
                    <a:pt x="385" y="2869"/>
                  </a:lnTo>
                  <a:lnTo>
                    <a:pt x="346" y="2802"/>
                  </a:lnTo>
                  <a:lnTo>
                    <a:pt x="309" y="2735"/>
                  </a:lnTo>
                  <a:lnTo>
                    <a:pt x="272" y="2666"/>
                  </a:lnTo>
                  <a:lnTo>
                    <a:pt x="237" y="2597"/>
                  </a:lnTo>
                  <a:lnTo>
                    <a:pt x="204" y="2531"/>
                  </a:lnTo>
                  <a:lnTo>
                    <a:pt x="172" y="2464"/>
                  </a:lnTo>
                  <a:lnTo>
                    <a:pt x="141" y="2397"/>
                  </a:lnTo>
                  <a:lnTo>
                    <a:pt x="111" y="2329"/>
                  </a:lnTo>
                  <a:lnTo>
                    <a:pt x="82" y="2261"/>
                  </a:lnTo>
                  <a:lnTo>
                    <a:pt x="55" y="2191"/>
                  </a:lnTo>
                  <a:lnTo>
                    <a:pt x="27" y="2122"/>
                  </a:lnTo>
                  <a:lnTo>
                    <a:pt x="0" y="2052"/>
                  </a:lnTo>
                  <a:lnTo>
                    <a:pt x="0" y="1504"/>
                  </a:lnTo>
                  <a:lnTo>
                    <a:pt x="16" y="1562"/>
                  </a:lnTo>
                  <a:lnTo>
                    <a:pt x="34" y="1619"/>
                  </a:lnTo>
                  <a:lnTo>
                    <a:pt x="52" y="1675"/>
                  </a:lnTo>
                  <a:lnTo>
                    <a:pt x="70" y="1732"/>
                  </a:lnTo>
                  <a:lnTo>
                    <a:pt x="88" y="1789"/>
                  </a:lnTo>
                  <a:lnTo>
                    <a:pt x="107" y="1844"/>
                  </a:lnTo>
                  <a:lnTo>
                    <a:pt x="127" y="1900"/>
                  </a:lnTo>
                  <a:lnTo>
                    <a:pt x="147" y="1956"/>
                  </a:lnTo>
                  <a:lnTo>
                    <a:pt x="174" y="2029"/>
                  </a:lnTo>
                  <a:lnTo>
                    <a:pt x="202" y="2101"/>
                  </a:lnTo>
                  <a:lnTo>
                    <a:pt x="231" y="2173"/>
                  </a:lnTo>
                  <a:lnTo>
                    <a:pt x="261" y="2243"/>
                  </a:lnTo>
                  <a:lnTo>
                    <a:pt x="291" y="2315"/>
                  </a:lnTo>
                  <a:lnTo>
                    <a:pt x="323" y="2384"/>
                  </a:lnTo>
                  <a:lnTo>
                    <a:pt x="355" y="2453"/>
                  </a:lnTo>
                  <a:lnTo>
                    <a:pt x="389" y="2520"/>
                  </a:lnTo>
                  <a:lnTo>
                    <a:pt x="405" y="2552"/>
                  </a:lnTo>
                  <a:lnTo>
                    <a:pt x="421" y="2584"/>
                  </a:lnTo>
                  <a:lnTo>
                    <a:pt x="438" y="2615"/>
                  </a:lnTo>
                  <a:lnTo>
                    <a:pt x="455" y="2645"/>
                  </a:lnTo>
                  <a:lnTo>
                    <a:pt x="472" y="2676"/>
                  </a:lnTo>
                  <a:lnTo>
                    <a:pt x="489" y="2707"/>
                  </a:lnTo>
                  <a:lnTo>
                    <a:pt x="507" y="2738"/>
                  </a:lnTo>
                  <a:lnTo>
                    <a:pt x="524" y="2768"/>
                  </a:lnTo>
                  <a:lnTo>
                    <a:pt x="521" y="2717"/>
                  </a:lnTo>
                  <a:lnTo>
                    <a:pt x="518" y="2664"/>
                  </a:lnTo>
                  <a:lnTo>
                    <a:pt x="514" y="2611"/>
                  </a:lnTo>
                  <a:lnTo>
                    <a:pt x="510" y="2558"/>
                  </a:lnTo>
                  <a:lnTo>
                    <a:pt x="506" y="2503"/>
                  </a:lnTo>
                  <a:lnTo>
                    <a:pt x="502" y="2450"/>
                  </a:lnTo>
                  <a:lnTo>
                    <a:pt x="497" y="2395"/>
                  </a:lnTo>
                  <a:lnTo>
                    <a:pt x="493" y="2339"/>
                  </a:lnTo>
                  <a:lnTo>
                    <a:pt x="489" y="2291"/>
                  </a:lnTo>
                  <a:lnTo>
                    <a:pt x="485" y="2242"/>
                  </a:lnTo>
                  <a:lnTo>
                    <a:pt x="481" y="2194"/>
                  </a:lnTo>
                  <a:lnTo>
                    <a:pt x="478" y="2145"/>
                  </a:lnTo>
                  <a:lnTo>
                    <a:pt x="474" y="2098"/>
                  </a:lnTo>
                  <a:lnTo>
                    <a:pt x="471" y="2051"/>
                  </a:lnTo>
                  <a:lnTo>
                    <a:pt x="468" y="2003"/>
                  </a:lnTo>
                  <a:lnTo>
                    <a:pt x="465" y="1956"/>
                  </a:lnTo>
                  <a:lnTo>
                    <a:pt x="461" y="1910"/>
                  </a:lnTo>
                  <a:lnTo>
                    <a:pt x="458" y="1865"/>
                  </a:lnTo>
                  <a:lnTo>
                    <a:pt x="456" y="1820"/>
                  </a:lnTo>
                  <a:lnTo>
                    <a:pt x="454" y="1775"/>
                  </a:lnTo>
                  <a:lnTo>
                    <a:pt x="453" y="1732"/>
                  </a:lnTo>
                  <a:lnTo>
                    <a:pt x="451" y="1690"/>
                  </a:lnTo>
                  <a:lnTo>
                    <a:pt x="451" y="1649"/>
                  </a:lnTo>
                  <a:lnTo>
                    <a:pt x="450" y="1608"/>
                  </a:lnTo>
                  <a:lnTo>
                    <a:pt x="419" y="1541"/>
                  </a:lnTo>
                  <a:lnTo>
                    <a:pt x="388" y="1474"/>
                  </a:lnTo>
                  <a:lnTo>
                    <a:pt x="357" y="1407"/>
                  </a:lnTo>
                  <a:lnTo>
                    <a:pt x="328" y="1340"/>
                  </a:lnTo>
                  <a:lnTo>
                    <a:pt x="298" y="1272"/>
                  </a:lnTo>
                  <a:lnTo>
                    <a:pt x="269" y="1205"/>
                  </a:lnTo>
                  <a:lnTo>
                    <a:pt x="240" y="1137"/>
                  </a:lnTo>
                  <a:lnTo>
                    <a:pt x="212" y="1069"/>
                  </a:lnTo>
                  <a:lnTo>
                    <a:pt x="184" y="1001"/>
                  </a:lnTo>
                  <a:lnTo>
                    <a:pt x="157" y="933"/>
                  </a:lnTo>
                  <a:lnTo>
                    <a:pt x="130" y="865"/>
                  </a:lnTo>
                  <a:lnTo>
                    <a:pt x="103" y="797"/>
                  </a:lnTo>
                  <a:lnTo>
                    <a:pt x="76" y="728"/>
                  </a:lnTo>
                  <a:lnTo>
                    <a:pt x="50" y="660"/>
                  </a:lnTo>
                  <a:lnTo>
                    <a:pt x="25" y="591"/>
                  </a:lnTo>
                  <a:lnTo>
                    <a:pt x="0" y="523"/>
                  </a:lnTo>
                  <a:lnTo>
                    <a:pt x="0" y="0"/>
                  </a:lnTo>
                  <a:lnTo>
                    <a:pt x="8" y="25"/>
                  </a:lnTo>
                  <a:lnTo>
                    <a:pt x="16" y="50"/>
                  </a:lnTo>
                  <a:lnTo>
                    <a:pt x="25" y="74"/>
                  </a:lnTo>
                  <a:lnTo>
                    <a:pt x="33" y="98"/>
                  </a:lnTo>
                  <a:lnTo>
                    <a:pt x="41" y="123"/>
                  </a:lnTo>
                  <a:lnTo>
                    <a:pt x="49" y="147"/>
                  </a:lnTo>
                  <a:lnTo>
                    <a:pt x="58" y="171"/>
                  </a:lnTo>
                  <a:lnTo>
                    <a:pt x="66" y="196"/>
                  </a:lnTo>
                  <a:lnTo>
                    <a:pt x="96" y="282"/>
                  </a:lnTo>
                  <a:lnTo>
                    <a:pt x="126" y="367"/>
                  </a:lnTo>
                  <a:lnTo>
                    <a:pt x="157" y="454"/>
                  </a:lnTo>
                  <a:lnTo>
                    <a:pt x="188" y="539"/>
                  </a:lnTo>
                  <a:lnTo>
                    <a:pt x="220" y="625"/>
                  </a:lnTo>
                  <a:lnTo>
                    <a:pt x="252" y="711"/>
                  </a:lnTo>
                  <a:lnTo>
                    <a:pt x="285" y="795"/>
                  </a:lnTo>
                  <a:lnTo>
                    <a:pt x="319" y="880"/>
                  </a:lnTo>
                  <a:lnTo>
                    <a:pt x="354" y="965"/>
                  </a:lnTo>
                  <a:lnTo>
                    <a:pt x="388" y="1050"/>
                  </a:lnTo>
                  <a:lnTo>
                    <a:pt x="424" y="1134"/>
                  </a:lnTo>
                  <a:lnTo>
                    <a:pt x="460" y="1218"/>
                  </a:lnTo>
                  <a:lnTo>
                    <a:pt x="497" y="1302"/>
                  </a:lnTo>
                  <a:lnTo>
                    <a:pt x="536" y="1386"/>
                  </a:lnTo>
                  <a:lnTo>
                    <a:pt x="574" y="1469"/>
                  </a:lnTo>
                  <a:lnTo>
                    <a:pt x="613" y="1552"/>
                  </a:lnTo>
                  <a:lnTo>
                    <a:pt x="617" y="1562"/>
                  </a:lnTo>
                  <a:lnTo>
                    <a:pt x="620" y="1572"/>
                  </a:lnTo>
                  <a:lnTo>
                    <a:pt x="621" y="1583"/>
                  </a:lnTo>
                  <a:lnTo>
                    <a:pt x="621" y="1592"/>
                  </a:lnTo>
                  <a:lnTo>
                    <a:pt x="622" y="1632"/>
                  </a:lnTo>
                  <a:lnTo>
                    <a:pt x="622" y="1673"/>
                  </a:lnTo>
                  <a:lnTo>
                    <a:pt x="623" y="1716"/>
                  </a:lnTo>
                  <a:lnTo>
                    <a:pt x="625" y="1758"/>
                  </a:lnTo>
                  <a:lnTo>
                    <a:pt x="627" y="1802"/>
                  </a:lnTo>
                  <a:lnTo>
                    <a:pt x="629" y="1848"/>
                  </a:lnTo>
                  <a:lnTo>
                    <a:pt x="631" y="1893"/>
                  </a:lnTo>
                  <a:lnTo>
                    <a:pt x="634" y="1939"/>
                  </a:lnTo>
                  <a:lnTo>
                    <a:pt x="638" y="1987"/>
                  </a:lnTo>
                  <a:lnTo>
                    <a:pt x="641" y="2034"/>
                  </a:lnTo>
                  <a:lnTo>
                    <a:pt x="645" y="2082"/>
                  </a:lnTo>
                  <a:lnTo>
                    <a:pt x="648" y="2130"/>
                  </a:lnTo>
                  <a:lnTo>
                    <a:pt x="652" y="2180"/>
                  </a:lnTo>
                  <a:lnTo>
                    <a:pt x="656" y="2228"/>
                  </a:lnTo>
                  <a:lnTo>
                    <a:pt x="659" y="2277"/>
                  </a:lnTo>
                  <a:lnTo>
                    <a:pt x="663" y="2326"/>
                  </a:lnTo>
                  <a:lnTo>
                    <a:pt x="667" y="2376"/>
                  </a:lnTo>
                  <a:lnTo>
                    <a:pt x="672" y="2427"/>
                  </a:lnTo>
                  <a:lnTo>
                    <a:pt x="675" y="2476"/>
                  </a:lnTo>
                  <a:lnTo>
                    <a:pt x="679" y="2526"/>
                  </a:lnTo>
                  <a:lnTo>
                    <a:pt x="683" y="2575"/>
                  </a:lnTo>
                  <a:lnTo>
                    <a:pt x="686" y="2625"/>
                  </a:lnTo>
                  <a:lnTo>
                    <a:pt x="689" y="2673"/>
                  </a:lnTo>
                  <a:lnTo>
                    <a:pt x="693" y="2721"/>
                  </a:lnTo>
                  <a:lnTo>
                    <a:pt x="695" y="2768"/>
                  </a:lnTo>
                  <a:lnTo>
                    <a:pt x="698" y="2816"/>
                  </a:lnTo>
                  <a:lnTo>
                    <a:pt x="700" y="2861"/>
                  </a:lnTo>
                  <a:lnTo>
                    <a:pt x="702" y="2906"/>
                  </a:lnTo>
                  <a:lnTo>
                    <a:pt x="703" y="2951"/>
                  </a:lnTo>
                  <a:lnTo>
                    <a:pt x="706" y="2994"/>
                  </a:lnTo>
                  <a:lnTo>
                    <a:pt x="706" y="3036"/>
                  </a:lnTo>
                  <a:lnTo>
                    <a:pt x="707" y="3077"/>
                  </a:lnTo>
                  <a:lnTo>
                    <a:pt x="706" y="3086"/>
                  </a:lnTo>
                  <a:lnTo>
                    <a:pt x="705" y="3095"/>
                  </a:lnTo>
                  <a:lnTo>
                    <a:pt x="702" y="3103"/>
                  </a:lnTo>
                  <a:lnTo>
                    <a:pt x="699" y="3110"/>
                  </a:lnTo>
                  <a:lnTo>
                    <a:pt x="695" y="3119"/>
                  </a:lnTo>
                  <a:lnTo>
                    <a:pt x="691" y="3125"/>
                  </a:lnTo>
                  <a:lnTo>
                    <a:pt x="686" y="3132"/>
                  </a:lnTo>
                  <a:lnTo>
                    <a:pt x="681" y="3138"/>
                  </a:lnTo>
                  <a:lnTo>
                    <a:pt x="675" y="3143"/>
                  </a:lnTo>
                  <a:lnTo>
                    <a:pt x="668" y="3149"/>
                  </a:lnTo>
                  <a:lnTo>
                    <a:pt x="661" y="3153"/>
                  </a:lnTo>
                  <a:lnTo>
                    <a:pt x="654" y="3156"/>
                  </a:lnTo>
                  <a:lnTo>
                    <a:pt x="646" y="3159"/>
                  </a:lnTo>
                  <a:lnTo>
                    <a:pt x="638" y="3161"/>
                  </a:lnTo>
                  <a:lnTo>
                    <a:pt x="629" y="3163"/>
                  </a:lnTo>
                  <a:lnTo>
                    <a:pt x="621" y="3163"/>
                  </a:lnTo>
                  <a:lnTo>
                    <a:pt x="610" y="3162"/>
                  </a:lnTo>
                  <a:lnTo>
                    <a:pt x="599" y="3160"/>
                  </a:lnTo>
                  <a:lnTo>
                    <a:pt x="590" y="3157"/>
                  </a:lnTo>
                  <a:lnTo>
                    <a:pt x="581" y="3153"/>
                  </a:lnTo>
                  <a:lnTo>
                    <a:pt x="572" y="3147"/>
                  </a:lnTo>
                  <a:lnTo>
                    <a:pt x="564" y="3141"/>
                  </a:lnTo>
                  <a:lnTo>
                    <a:pt x="557" y="3134"/>
                  </a:lnTo>
                  <a:lnTo>
                    <a:pt x="551" y="31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9" name="Freeform 75"/>
            <p:cNvSpPr>
              <a:spLocks noChangeArrowheads="1"/>
            </p:cNvSpPr>
            <p:nvPr/>
          </p:nvSpPr>
          <p:spPr bwMode="auto">
            <a:xfrm>
              <a:off x="738188" y="4676736"/>
              <a:ext cx="279400" cy="1562133"/>
            </a:xfrm>
            <a:custGeom>
              <a:avLst/>
              <a:gdLst>
                <a:gd name="T0" fmla="*/ 621 w 621"/>
                <a:gd name="T1" fmla="*/ 2810 h 2810"/>
                <a:gd name="T2" fmla="*/ 596 w 621"/>
                <a:gd name="T3" fmla="*/ 2775 h 2810"/>
                <a:gd name="T4" fmla="*/ 572 w 621"/>
                <a:gd name="T5" fmla="*/ 2739 h 2810"/>
                <a:gd name="T6" fmla="*/ 548 w 621"/>
                <a:gd name="T7" fmla="*/ 2703 h 2810"/>
                <a:gd name="T8" fmla="*/ 525 w 621"/>
                <a:gd name="T9" fmla="*/ 2667 h 2810"/>
                <a:gd name="T10" fmla="*/ 479 w 621"/>
                <a:gd name="T11" fmla="*/ 2593 h 2810"/>
                <a:gd name="T12" fmla="*/ 435 w 621"/>
                <a:gd name="T13" fmla="*/ 2519 h 2810"/>
                <a:gd name="T14" fmla="*/ 391 w 621"/>
                <a:gd name="T15" fmla="*/ 2441 h 2810"/>
                <a:gd name="T16" fmla="*/ 350 w 621"/>
                <a:gd name="T17" fmla="*/ 2364 h 2810"/>
                <a:gd name="T18" fmla="*/ 310 w 621"/>
                <a:gd name="T19" fmla="*/ 2285 h 2810"/>
                <a:gd name="T20" fmla="*/ 271 w 621"/>
                <a:gd name="T21" fmla="*/ 2204 h 2810"/>
                <a:gd name="T22" fmla="*/ 233 w 621"/>
                <a:gd name="T23" fmla="*/ 2123 h 2810"/>
                <a:gd name="T24" fmla="*/ 196 w 621"/>
                <a:gd name="T25" fmla="*/ 2040 h 2810"/>
                <a:gd name="T26" fmla="*/ 160 w 621"/>
                <a:gd name="T27" fmla="*/ 1957 h 2810"/>
                <a:gd name="T28" fmla="*/ 126 w 621"/>
                <a:gd name="T29" fmla="*/ 1872 h 2810"/>
                <a:gd name="T30" fmla="*/ 93 w 621"/>
                <a:gd name="T31" fmla="*/ 1788 h 2810"/>
                <a:gd name="T32" fmla="*/ 61 w 621"/>
                <a:gd name="T33" fmla="*/ 1701 h 2810"/>
                <a:gd name="T34" fmla="*/ 30 w 621"/>
                <a:gd name="T35" fmla="*/ 1615 h 2810"/>
                <a:gd name="T36" fmla="*/ 0 w 621"/>
                <a:gd name="T37" fmla="*/ 1526 h 2810"/>
                <a:gd name="T38" fmla="*/ 0 w 621"/>
                <a:gd name="T39" fmla="*/ 0 h 2810"/>
                <a:gd name="T40" fmla="*/ 29 w 621"/>
                <a:gd name="T41" fmla="*/ 84 h 2810"/>
                <a:gd name="T42" fmla="*/ 59 w 621"/>
                <a:gd name="T43" fmla="*/ 167 h 2810"/>
                <a:gd name="T44" fmla="*/ 90 w 621"/>
                <a:gd name="T45" fmla="*/ 251 h 2810"/>
                <a:gd name="T46" fmla="*/ 121 w 621"/>
                <a:gd name="T47" fmla="*/ 334 h 2810"/>
                <a:gd name="T48" fmla="*/ 151 w 621"/>
                <a:gd name="T49" fmla="*/ 418 h 2810"/>
                <a:gd name="T50" fmla="*/ 183 w 621"/>
                <a:gd name="T51" fmla="*/ 501 h 2810"/>
                <a:gd name="T52" fmla="*/ 216 w 621"/>
                <a:gd name="T53" fmla="*/ 584 h 2810"/>
                <a:gd name="T54" fmla="*/ 249 w 621"/>
                <a:gd name="T55" fmla="*/ 667 h 2810"/>
                <a:gd name="T56" fmla="*/ 282 w 621"/>
                <a:gd name="T57" fmla="*/ 750 h 2810"/>
                <a:gd name="T58" fmla="*/ 317 w 621"/>
                <a:gd name="T59" fmla="*/ 832 h 2810"/>
                <a:gd name="T60" fmla="*/ 351 w 621"/>
                <a:gd name="T61" fmla="*/ 914 h 2810"/>
                <a:gd name="T62" fmla="*/ 387 w 621"/>
                <a:gd name="T63" fmla="*/ 996 h 2810"/>
                <a:gd name="T64" fmla="*/ 423 w 621"/>
                <a:gd name="T65" fmla="*/ 1078 h 2810"/>
                <a:gd name="T66" fmla="*/ 460 w 621"/>
                <a:gd name="T67" fmla="*/ 1160 h 2810"/>
                <a:gd name="T68" fmla="*/ 497 w 621"/>
                <a:gd name="T69" fmla="*/ 1241 h 2810"/>
                <a:gd name="T70" fmla="*/ 536 w 621"/>
                <a:gd name="T71" fmla="*/ 1322 h 2810"/>
                <a:gd name="T72" fmla="*/ 537 w 621"/>
                <a:gd name="T73" fmla="*/ 1404 h 2810"/>
                <a:gd name="T74" fmla="*/ 540 w 621"/>
                <a:gd name="T75" fmla="*/ 1491 h 2810"/>
                <a:gd name="T76" fmla="*/ 544 w 621"/>
                <a:gd name="T77" fmla="*/ 1581 h 2810"/>
                <a:gd name="T78" fmla="*/ 549 w 621"/>
                <a:gd name="T79" fmla="*/ 1674 h 2810"/>
                <a:gd name="T80" fmla="*/ 555 w 621"/>
                <a:gd name="T81" fmla="*/ 1770 h 2810"/>
                <a:gd name="T82" fmla="*/ 562 w 621"/>
                <a:gd name="T83" fmla="*/ 1868 h 2810"/>
                <a:gd name="T84" fmla="*/ 571 w 621"/>
                <a:gd name="T85" fmla="*/ 1967 h 2810"/>
                <a:gd name="T86" fmla="*/ 578 w 621"/>
                <a:gd name="T87" fmla="*/ 2066 h 2810"/>
                <a:gd name="T88" fmla="*/ 586 w 621"/>
                <a:gd name="T89" fmla="*/ 2166 h 2810"/>
                <a:gd name="T90" fmla="*/ 593 w 621"/>
                <a:gd name="T91" fmla="*/ 2265 h 2810"/>
                <a:gd name="T92" fmla="*/ 600 w 621"/>
                <a:gd name="T93" fmla="*/ 2362 h 2810"/>
                <a:gd name="T94" fmla="*/ 608 w 621"/>
                <a:gd name="T95" fmla="*/ 2458 h 2810"/>
                <a:gd name="T96" fmla="*/ 613 w 621"/>
                <a:gd name="T97" fmla="*/ 2552 h 2810"/>
                <a:gd name="T98" fmla="*/ 617 w 621"/>
                <a:gd name="T99" fmla="*/ 2641 h 2810"/>
                <a:gd name="T100" fmla="*/ 620 w 621"/>
                <a:gd name="T101" fmla="*/ 2728 h 2810"/>
                <a:gd name="T102" fmla="*/ 621 w 621"/>
                <a:gd name="T103" fmla="*/ 2810 h 2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2810">
                  <a:moveTo>
                    <a:pt x="621" y="2810"/>
                  </a:moveTo>
                  <a:lnTo>
                    <a:pt x="596" y="2775"/>
                  </a:lnTo>
                  <a:lnTo>
                    <a:pt x="572" y="2739"/>
                  </a:lnTo>
                  <a:lnTo>
                    <a:pt x="548" y="2703"/>
                  </a:lnTo>
                  <a:lnTo>
                    <a:pt x="525" y="2667"/>
                  </a:lnTo>
                  <a:lnTo>
                    <a:pt x="479" y="2593"/>
                  </a:lnTo>
                  <a:lnTo>
                    <a:pt x="435" y="2519"/>
                  </a:lnTo>
                  <a:lnTo>
                    <a:pt x="391" y="2441"/>
                  </a:lnTo>
                  <a:lnTo>
                    <a:pt x="350" y="2364"/>
                  </a:lnTo>
                  <a:lnTo>
                    <a:pt x="310" y="2285"/>
                  </a:lnTo>
                  <a:lnTo>
                    <a:pt x="271" y="2204"/>
                  </a:lnTo>
                  <a:lnTo>
                    <a:pt x="233" y="2123"/>
                  </a:lnTo>
                  <a:lnTo>
                    <a:pt x="196" y="2040"/>
                  </a:lnTo>
                  <a:lnTo>
                    <a:pt x="160" y="1957"/>
                  </a:lnTo>
                  <a:lnTo>
                    <a:pt x="126" y="1872"/>
                  </a:lnTo>
                  <a:lnTo>
                    <a:pt x="93" y="1788"/>
                  </a:lnTo>
                  <a:lnTo>
                    <a:pt x="61" y="1701"/>
                  </a:lnTo>
                  <a:lnTo>
                    <a:pt x="30" y="1615"/>
                  </a:lnTo>
                  <a:lnTo>
                    <a:pt x="0" y="1526"/>
                  </a:lnTo>
                  <a:lnTo>
                    <a:pt x="0" y="0"/>
                  </a:lnTo>
                  <a:lnTo>
                    <a:pt x="29" y="84"/>
                  </a:lnTo>
                  <a:lnTo>
                    <a:pt x="59" y="167"/>
                  </a:lnTo>
                  <a:lnTo>
                    <a:pt x="90" y="251"/>
                  </a:lnTo>
                  <a:lnTo>
                    <a:pt x="121" y="334"/>
                  </a:lnTo>
                  <a:lnTo>
                    <a:pt x="151" y="418"/>
                  </a:lnTo>
                  <a:lnTo>
                    <a:pt x="183" y="501"/>
                  </a:lnTo>
                  <a:lnTo>
                    <a:pt x="216" y="584"/>
                  </a:lnTo>
                  <a:lnTo>
                    <a:pt x="249" y="667"/>
                  </a:lnTo>
                  <a:lnTo>
                    <a:pt x="282" y="750"/>
                  </a:lnTo>
                  <a:lnTo>
                    <a:pt x="317" y="832"/>
                  </a:lnTo>
                  <a:lnTo>
                    <a:pt x="351" y="914"/>
                  </a:lnTo>
                  <a:lnTo>
                    <a:pt x="387" y="996"/>
                  </a:lnTo>
                  <a:lnTo>
                    <a:pt x="423" y="1078"/>
                  </a:lnTo>
                  <a:lnTo>
                    <a:pt x="460" y="1160"/>
                  </a:lnTo>
                  <a:lnTo>
                    <a:pt x="497" y="1241"/>
                  </a:lnTo>
                  <a:lnTo>
                    <a:pt x="536" y="1322"/>
                  </a:lnTo>
                  <a:lnTo>
                    <a:pt x="537" y="1404"/>
                  </a:lnTo>
                  <a:lnTo>
                    <a:pt x="540" y="1491"/>
                  </a:lnTo>
                  <a:lnTo>
                    <a:pt x="544" y="1581"/>
                  </a:lnTo>
                  <a:lnTo>
                    <a:pt x="549" y="1674"/>
                  </a:lnTo>
                  <a:lnTo>
                    <a:pt x="555" y="1770"/>
                  </a:lnTo>
                  <a:lnTo>
                    <a:pt x="562" y="1868"/>
                  </a:lnTo>
                  <a:lnTo>
                    <a:pt x="571" y="1967"/>
                  </a:lnTo>
                  <a:lnTo>
                    <a:pt x="578" y="2066"/>
                  </a:lnTo>
                  <a:lnTo>
                    <a:pt x="586" y="2166"/>
                  </a:lnTo>
                  <a:lnTo>
                    <a:pt x="593" y="2265"/>
                  </a:lnTo>
                  <a:lnTo>
                    <a:pt x="600" y="2362"/>
                  </a:lnTo>
                  <a:lnTo>
                    <a:pt x="608" y="2458"/>
                  </a:lnTo>
                  <a:lnTo>
                    <a:pt x="613" y="2552"/>
                  </a:lnTo>
                  <a:lnTo>
                    <a:pt x="617" y="2641"/>
                  </a:lnTo>
                  <a:lnTo>
                    <a:pt x="620" y="2728"/>
                  </a:lnTo>
                  <a:lnTo>
                    <a:pt x="621" y="28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3" name="Freeform 79"/>
            <p:cNvSpPr>
              <a:spLocks noChangeArrowheads="1"/>
            </p:cNvSpPr>
            <p:nvPr/>
          </p:nvSpPr>
          <p:spPr bwMode="auto">
            <a:xfrm>
              <a:off x="1760538" y="1144474"/>
              <a:ext cx="1065212" cy="1322415"/>
            </a:xfrm>
            <a:custGeom>
              <a:avLst/>
              <a:gdLst>
                <a:gd name="T0" fmla="*/ 42 w 2374"/>
                <a:gd name="T1" fmla="*/ 2295 h 2380"/>
                <a:gd name="T2" fmla="*/ 135 w 2374"/>
                <a:gd name="T3" fmla="*/ 2127 h 2380"/>
                <a:gd name="T4" fmla="*/ 240 w 2374"/>
                <a:gd name="T5" fmla="*/ 1957 h 2380"/>
                <a:gd name="T6" fmla="*/ 357 w 2374"/>
                <a:gd name="T7" fmla="*/ 1787 h 2380"/>
                <a:gd name="T8" fmla="*/ 484 w 2374"/>
                <a:gd name="T9" fmla="*/ 1619 h 2380"/>
                <a:gd name="T10" fmla="*/ 620 w 2374"/>
                <a:gd name="T11" fmla="*/ 1451 h 2380"/>
                <a:gd name="T12" fmla="*/ 766 w 2374"/>
                <a:gd name="T13" fmla="*/ 1287 h 2380"/>
                <a:gd name="T14" fmla="*/ 918 w 2374"/>
                <a:gd name="T15" fmla="*/ 1125 h 2380"/>
                <a:gd name="T16" fmla="*/ 1077 w 2374"/>
                <a:gd name="T17" fmla="*/ 968 h 2380"/>
                <a:gd name="T18" fmla="*/ 1241 w 2374"/>
                <a:gd name="T19" fmla="*/ 815 h 2380"/>
                <a:gd name="T20" fmla="*/ 1409 w 2374"/>
                <a:gd name="T21" fmla="*/ 669 h 2380"/>
                <a:gd name="T22" fmla="*/ 1582 w 2374"/>
                <a:gd name="T23" fmla="*/ 528 h 2380"/>
                <a:gd name="T24" fmla="*/ 1756 w 2374"/>
                <a:gd name="T25" fmla="*/ 395 h 2380"/>
                <a:gd name="T26" fmla="*/ 1934 w 2374"/>
                <a:gd name="T27" fmla="*/ 271 h 2380"/>
                <a:gd name="T28" fmla="*/ 2110 w 2374"/>
                <a:gd name="T29" fmla="*/ 154 h 2380"/>
                <a:gd name="T30" fmla="*/ 2286 w 2374"/>
                <a:gd name="T31" fmla="*/ 48 h 2380"/>
                <a:gd name="T32" fmla="*/ 2330 w 2374"/>
                <a:gd name="T33" fmla="*/ 48 h 2380"/>
                <a:gd name="T34" fmla="*/ 2244 w 2374"/>
                <a:gd name="T35" fmla="*/ 148 h 2380"/>
                <a:gd name="T36" fmla="*/ 2158 w 2374"/>
                <a:gd name="T37" fmla="*/ 253 h 2380"/>
                <a:gd name="T38" fmla="*/ 2074 w 2374"/>
                <a:gd name="T39" fmla="*/ 361 h 2380"/>
                <a:gd name="T40" fmla="*/ 1990 w 2374"/>
                <a:gd name="T41" fmla="*/ 474 h 2380"/>
                <a:gd name="T42" fmla="*/ 1908 w 2374"/>
                <a:gd name="T43" fmla="*/ 588 h 2380"/>
                <a:gd name="T44" fmla="*/ 1786 w 2374"/>
                <a:gd name="T45" fmla="*/ 766 h 2380"/>
                <a:gd name="T46" fmla="*/ 1628 w 2374"/>
                <a:gd name="T47" fmla="*/ 1009 h 2380"/>
                <a:gd name="T48" fmla="*/ 1472 w 2374"/>
                <a:gd name="T49" fmla="*/ 1256 h 2380"/>
                <a:gd name="T50" fmla="*/ 1322 w 2374"/>
                <a:gd name="T51" fmla="*/ 1504 h 2380"/>
                <a:gd name="T52" fmla="*/ 1174 w 2374"/>
                <a:gd name="T53" fmla="*/ 1749 h 2380"/>
                <a:gd name="T54" fmla="*/ 1078 w 2374"/>
                <a:gd name="T55" fmla="*/ 1886 h 2380"/>
                <a:gd name="T56" fmla="*/ 1023 w 2374"/>
                <a:gd name="T57" fmla="*/ 1918 h 2380"/>
                <a:gd name="T58" fmla="*/ 928 w 2374"/>
                <a:gd name="T59" fmla="*/ 1969 h 2380"/>
                <a:gd name="T60" fmla="*/ 785 w 2374"/>
                <a:gd name="T61" fmla="*/ 2038 h 2380"/>
                <a:gd name="T62" fmla="*/ 631 w 2374"/>
                <a:gd name="T63" fmla="*/ 2107 h 2380"/>
                <a:gd name="T64" fmla="*/ 472 w 2374"/>
                <a:gd name="T65" fmla="*/ 2175 h 2380"/>
                <a:gd name="T66" fmla="*/ 317 w 2374"/>
                <a:gd name="T67" fmla="*/ 2240 h 2380"/>
                <a:gd name="T68" fmla="*/ 175 w 2374"/>
                <a:gd name="T69" fmla="*/ 2299 h 2380"/>
                <a:gd name="T70" fmla="*/ 52 w 2374"/>
                <a:gd name="T71" fmla="*/ 2355 h 2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74" h="2380">
                  <a:moveTo>
                    <a:pt x="0" y="2380"/>
                  </a:moveTo>
                  <a:lnTo>
                    <a:pt x="42" y="2295"/>
                  </a:lnTo>
                  <a:lnTo>
                    <a:pt x="87" y="2212"/>
                  </a:lnTo>
                  <a:lnTo>
                    <a:pt x="135" y="2127"/>
                  </a:lnTo>
                  <a:lnTo>
                    <a:pt x="186" y="2042"/>
                  </a:lnTo>
                  <a:lnTo>
                    <a:pt x="240" y="1957"/>
                  </a:lnTo>
                  <a:lnTo>
                    <a:pt x="297" y="1873"/>
                  </a:lnTo>
                  <a:lnTo>
                    <a:pt x="357" y="1787"/>
                  </a:lnTo>
                  <a:lnTo>
                    <a:pt x="419" y="1703"/>
                  </a:lnTo>
                  <a:lnTo>
                    <a:pt x="484" y="1619"/>
                  </a:lnTo>
                  <a:lnTo>
                    <a:pt x="551" y="1535"/>
                  </a:lnTo>
                  <a:lnTo>
                    <a:pt x="620" y="1451"/>
                  </a:lnTo>
                  <a:lnTo>
                    <a:pt x="692" y="1369"/>
                  </a:lnTo>
                  <a:lnTo>
                    <a:pt x="766" y="1287"/>
                  </a:lnTo>
                  <a:lnTo>
                    <a:pt x="841" y="1206"/>
                  </a:lnTo>
                  <a:lnTo>
                    <a:pt x="918" y="1125"/>
                  </a:lnTo>
                  <a:lnTo>
                    <a:pt x="996" y="1046"/>
                  </a:lnTo>
                  <a:lnTo>
                    <a:pt x="1077" y="968"/>
                  </a:lnTo>
                  <a:lnTo>
                    <a:pt x="1158" y="891"/>
                  </a:lnTo>
                  <a:lnTo>
                    <a:pt x="1241" y="815"/>
                  </a:lnTo>
                  <a:lnTo>
                    <a:pt x="1325" y="741"/>
                  </a:lnTo>
                  <a:lnTo>
                    <a:pt x="1409" y="669"/>
                  </a:lnTo>
                  <a:lnTo>
                    <a:pt x="1496" y="598"/>
                  </a:lnTo>
                  <a:lnTo>
                    <a:pt x="1582" y="528"/>
                  </a:lnTo>
                  <a:lnTo>
                    <a:pt x="1669" y="460"/>
                  </a:lnTo>
                  <a:lnTo>
                    <a:pt x="1756" y="395"/>
                  </a:lnTo>
                  <a:lnTo>
                    <a:pt x="1845" y="332"/>
                  </a:lnTo>
                  <a:lnTo>
                    <a:pt x="1934" y="271"/>
                  </a:lnTo>
                  <a:lnTo>
                    <a:pt x="2021" y="211"/>
                  </a:lnTo>
                  <a:lnTo>
                    <a:pt x="2110" y="154"/>
                  </a:lnTo>
                  <a:lnTo>
                    <a:pt x="2198" y="101"/>
                  </a:lnTo>
                  <a:lnTo>
                    <a:pt x="2286" y="48"/>
                  </a:lnTo>
                  <a:lnTo>
                    <a:pt x="2374" y="0"/>
                  </a:lnTo>
                  <a:lnTo>
                    <a:pt x="2330" y="48"/>
                  </a:lnTo>
                  <a:lnTo>
                    <a:pt x="2287" y="98"/>
                  </a:lnTo>
                  <a:lnTo>
                    <a:pt x="2244" y="148"/>
                  </a:lnTo>
                  <a:lnTo>
                    <a:pt x="2201" y="200"/>
                  </a:lnTo>
                  <a:lnTo>
                    <a:pt x="2158" y="253"/>
                  </a:lnTo>
                  <a:lnTo>
                    <a:pt x="2116" y="307"/>
                  </a:lnTo>
                  <a:lnTo>
                    <a:pt x="2074" y="361"/>
                  </a:lnTo>
                  <a:lnTo>
                    <a:pt x="2032" y="417"/>
                  </a:lnTo>
                  <a:lnTo>
                    <a:pt x="1990" y="474"/>
                  </a:lnTo>
                  <a:lnTo>
                    <a:pt x="1949" y="531"/>
                  </a:lnTo>
                  <a:lnTo>
                    <a:pt x="1908" y="588"/>
                  </a:lnTo>
                  <a:lnTo>
                    <a:pt x="1868" y="647"/>
                  </a:lnTo>
                  <a:lnTo>
                    <a:pt x="1786" y="766"/>
                  </a:lnTo>
                  <a:lnTo>
                    <a:pt x="1707" y="886"/>
                  </a:lnTo>
                  <a:lnTo>
                    <a:pt x="1628" y="1009"/>
                  </a:lnTo>
                  <a:lnTo>
                    <a:pt x="1549" y="1133"/>
                  </a:lnTo>
                  <a:lnTo>
                    <a:pt x="1472" y="1256"/>
                  </a:lnTo>
                  <a:lnTo>
                    <a:pt x="1397" y="1380"/>
                  </a:lnTo>
                  <a:lnTo>
                    <a:pt x="1322" y="1504"/>
                  </a:lnTo>
                  <a:lnTo>
                    <a:pt x="1248" y="1627"/>
                  </a:lnTo>
                  <a:lnTo>
                    <a:pt x="1174" y="1749"/>
                  </a:lnTo>
                  <a:lnTo>
                    <a:pt x="1102" y="1870"/>
                  </a:lnTo>
                  <a:lnTo>
                    <a:pt x="1078" y="1886"/>
                  </a:lnTo>
                  <a:lnTo>
                    <a:pt x="1051" y="1902"/>
                  </a:lnTo>
                  <a:lnTo>
                    <a:pt x="1023" y="1918"/>
                  </a:lnTo>
                  <a:lnTo>
                    <a:pt x="993" y="1936"/>
                  </a:lnTo>
                  <a:lnTo>
                    <a:pt x="928" y="1969"/>
                  </a:lnTo>
                  <a:lnTo>
                    <a:pt x="859" y="2003"/>
                  </a:lnTo>
                  <a:lnTo>
                    <a:pt x="785" y="2038"/>
                  </a:lnTo>
                  <a:lnTo>
                    <a:pt x="709" y="2072"/>
                  </a:lnTo>
                  <a:lnTo>
                    <a:pt x="631" y="2107"/>
                  </a:lnTo>
                  <a:lnTo>
                    <a:pt x="551" y="2141"/>
                  </a:lnTo>
                  <a:lnTo>
                    <a:pt x="472" y="2175"/>
                  </a:lnTo>
                  <a:lnTo>
                    <a:pt x="394" y="2207"/>
                  </a:lnTo>
                  <a:lnTo>
                    <a:pt x="317" y="2240"/>
                  </a:lnTo>
                  <a:lnTo>
                    <a:pt x="244" y="2271"/>
                  </a:lnTo>
                  <a:lnTo>
                    <a:pt x="175" y="2299"/>
                  </a:lnTo>
                  <a:lnTo>
                    <a:pt x="110" y="2328"/>
                  </a:lnTo>
                  <a:lnTo>
                    <a:pt x="52" y="2355"/>
                  </a:lnTo>
                  <a:lnTo>
                    <a:pt x="0" y="23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4" name="Freeform 80"/>
            <p:cNvSpPr>
              <a:spLocks noChangeArrowheads="1"/>
            </p:cNvSpPr>
            <p:nvPr/>
          </p:nvSpPr>
          <p:spPr bwMode="auto">
            <a:xfrm>
              <a:off x="1377950" y="1357204"/>
              <a:ext cx="898525" cy="1792325"/>
            </a:xfrm>
            <a:custGeom>
              <a:avLst/>
              <a:gdLst>
                <a:gd name="T0" fmla="*/ 26 w 1993"/>
                <a:gd name="T1" fmla="*/ 3020 h 3232"/>
                <a:gd name="T2" fmla="*/ 108 w 1993"/>
                <a:gd name="T3" fmla="*/ 2743 h 3232"/>
                <a:gd name="T4" fmla="*/ 213 w 1993"/>
                <a:gd name="T5" fmla="*/ 2456 h 3232"/>
                <a:gd name="T6" fmla="*/ 347 w 1993"/>
                <a:gd name="T7" fmla="*/ 2144 h 3232"/>
                <a:gd name="T8" fmla="*/ 538 w 1993"/>
                <a:gd name="T9" fmla="*/ 1762 h 3232"/>
                <a:gd name="T10" fmla="*/ 757 w 1993"/>
                <a:gd name="T11" fmla="*/ 1383 h 3232"/>
                <a:gd name="T12" fmla="*/ 997 w 1993"/>
                <a:gd name="T13" fmla="*/ 1015 h 3232"/>
                <a:gd name="T14" fmla="*/ 1253 w 1993"/>
                <a:gd name="T15" fmla="*/ 669 h 3232"/>
                <a:gd name="T16" fmla="*/ 1521 w 1993"/>
                <a:gd name="T17" fmla="*/ 352 h 3232"/>
                <a:gd name="T18" fmla="*/ 1795 w 1993"/>
                <a:gd name="T19" fmla="*/ 72 h 3232"/>
                <a:gd name="T20" fmla="*/ 1879 w 1993"/>
                <a:gd name="T21" fmla="*/ 5 h 3232"/>
                <a:gd name="T22" fmla="*/ 1919 w 1993"/>
                <a:gd name="T23" fmla="*/ 1 h 3232"/>
                <a:gd name="T24" fmla="*/ 1958 w 1993"/>
                <a:gd name="T25" fmla="*/ 18 h 3232"/>
                <a:gd name="T26" fmla="*/ 1982 w 1993"/>
                <a:gd name="T27" fmla="*/ 46 h 3232"/>
                <a:gd name="T28" fmla="*/ 1993 w 1993"/>
                <a:gd name="T29" fmla="*/ 78 h 3232"/>
                <a:gd name="T30" fmla="*/ 1988 w 1993"/>
                <a:gd name="T31" fmla="*/ 112 h 3232"/>
                <a:gd name="T32" fmla="*/ 1917 w 1993"/>
                <a:gd name="T33" fmla="*/ 250 h 3232"/>
                <a:gd name="T34" fmla="*/ 1767 w 1993"/>
                <a:gd name="T35" fmla="*/ 559 h 3232"/>
                <a:gd name="T36" fmla="*/ 1622 w 1993"/>
                <a:gd name="T37" fmla="*/ 881 h 3232"/>
                <a:gd name="T38" fmla="*/ 1482 w 1993"/>
                <a:gd name="T39" fmla="*/ 1210 h 3232"/>
                <a:gd name="T40" fmla="*/ 1349 w 1993"/>
                <a:gd name="T41" fmla="*/ 1541 h 3232"/>
                <a:gd name="T42" fmla="*/ 1222 w 1993"/>
                <a:gd name="T43" fmla="*/ 1867 h 3232"/>
                <a:gd name="T44" fmla="*/ 1103 w 1993"/>
                <a:gd name="T45" fmla="*/ 2183 h 3232"/>
                <a:gd name="T46" fmla="*/ 1073 w 1993"/>
                <a:gd name="T47" fmla="*/ 2408 h 3232"/>
                <a:gd name="T48" fmla="*/ 998 w 1993"/>
                <a:gd name="T49" fmla="*/ 2590 h 3232"/>
                <a:gd name="T50" fmla="*/ 887 w 1993"/>
                <a:gd name="T51" fmla="*/ 2736 h 3232"/>
                <a:gd name="T52" fmla="*/ 753 w 1993"/>
                <a:gd name="T53" fmla="*/ 2853 h 3232"/>
                <a:gd name="T54" fmla="*/ 606 w 1993"/>
                <a:gd name="T55" fmla="*/ 2948 h 3232"/>
                <a:gd name="T56" fmla="*/ 399 w 1993"/>
                <a:gd name="T57" fmla="*/ 3057 h 3232"/>
                <a:gd name="T58" fmla="*/ 219 w 1993"/>
                <a:gd name="T59" fmla="*/ 3151 h 3232"/>
                <a:gd name="T60" fmla="*/ 145 w 1993"/>
                <a:gd name="T61" fmla="*/ 3207 h 3232"/>
                <a:gd name="T62" fmla="*/ 109 w 1993"/>
                <a:gd name="T63" fmla="*/ 3229 h 3232"/>
                <a:gd name="T64" fmla="*/ 69 w 1993"/>
                <a:gd name="T65" fmla="*/ 3231 h 3232"/>
                <a:gd name="T66" fmla="*/ 30 w 1993"/>
                <a:gd name="T67" fmla="*/ 3213 h 3232"/>
                <a:gd name="T68" fmla="*/ 3 w 1993"/>
                <a:gd name="T69" fmla="*/ 3169 h 3232"/>
                <a:gd name="T70" fmla="*/ 2 w 1993"/>
                <a:gd name="T71" fmla="*/ 3127 h 3232"/>
                <a:gd name="T72" fmla="*/ 253 w 1993"/>
                <a:gd name="T73" fmla="*/ 2848 h 3232"/>
                <a:gd name="T74" fmla="*/ 246 w 1993"/>
                <a:gd name="T75" fmla="*/ 2941 h 3232"/>
                <a:gd name="T76" fmla="*/ 426 w 1993"/>
                <a:gd name="T77" fmla="*/ 2851 h 3232"/>
                <a:gd name="T78" fmla="*/ 607 w 1993"/>
                <a:gd name="T79" fmla="*/ 2744 h 3232"/>
                <a:gd name="T80" fmla="*/ 728 w 1993"/>
                <a:gd name="T81" fmla="*/ 2648 h 3232"/>
                <a:gd name="T82" fmla="*/ 827 w 1993"/>
                <a:gd name="T83" fmla="*/ 2531 h 3232"/>
                <a:gd name="T84" fmla="*/ 898 w 1993"/>
                <a:gd name="T85" fmla="*/ 2386 h 3232"/>
                <a:gd name="T86" fmla="*/ 931 w 1993"/>
                <a:gd name="T87" fmla="*/ 2208 h 3232"/>
                <a:gd name="T88" fmla="*/ 935 w 1993"/>
                <a:gd name="T89" fmla="*/ 2146 h 3232"/>
                <a:gd name="T90" fmla="*/ 1036 w 1993"/>
                <a:gd name="T91" fmla="*/ 1878 h 3232"/>
                <a:gd name="T92" fmla="*/ 1163 w 1993"/>
                <a:gd name="T93" fmla="*/ 1546 h 3232"/>
                <a:gd name="T94" fmla="*/ 1296 w 1993"/>
                <a:gd name="T95" fmla="*/ 1211 h 3232"/>
                <a:gd name="T96" fmla="*/ 1440 w 1993"/>
                <a:gd name="T97" fmla="*/ 869 h 3232"/>
                <a:gd name="T98" fmla="*/ 1594 w 1993"/>
                <a:gd name="T99" fmla="*/ 526 h 3232"/>
                <a:gd name="T100" fmla="*/ 1391 w 1993"/>
                <a:gd name="T101" fmla="*/ 770 h 3232"/>
                <a:gd name="T102" fmla="*/ 1194 w 1993"/>
                <a:gd name="T103" fmla="*/ 1032 h 3232"/>
                <a:gd name="T104" fmla="*/ 1007 w 1993"/>
                <a:gd name="T105" fmla="*/ 1307 h 3232"/>
                <a:gd name="T106" fmla="*/ 831 w 1993"/>
                <a:gd name="T107" fmla="*/ 1592 h 3232"/>
                <a:gd name="T108" fmla="*/ 668 w 1993"/>
                <a:gd name="T109" fmla="*/ 1882 h 3232"/>
                <a:gd name="T110" fmla="*/ 522 w 1993"/>
                <a:gd name="T111" fmla="*/ 2174 h 3232"/>
                <a:gd name="T112" fmla="*/ 394 w 1993"/>
                <a:gd name="T113" fmla="*/ 2463 h 3232"/>
                <a:gd name="T114" fmla="*/ 288 w 1993"/>
                <a:gd name="T115" fmla="*/ 2741 h 3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93" h="3232">
                  <a:moveTo>
                    <a:pt x="2" y="3127"/>
                  </a:moveTo>
                  <a:lnTo>
                    <a:pt x="2" y="3127"/>
                  </a:lnTo>
                  <a:lnTo>
                    <a:pt x="13" y="3074"/>
                  </a:lnTo>
                  <a:lnTo>
                    <a:pt x="26" y="3020"/>
                  </a:lnTo>
                  <a:lnTo>
                    <a:pt x="41" y="2967"/>
                  </a:lnTo>
                  <a:lnTo>
                    <a:pt x="56" y="2911"/>
                  </a:lnTo>
                  <a:lnTo>
                    <a:pt x="72" y="2857"/>
                  </a:lnTo>
                  <a:lnTo>
                    <a:pt x="89" y="2800"/>
                  </a:lnTo>
                  <a:lnTo>
                    <a:pt x="108" y="2743"/>
                  </a:lnTo>
                  <a:lnTo>
                    <a:pt x="127" y="2685"/>
                  </a:lnTo>
                  <a:lnTo>
                    <a:pt x="147" y="2629"/>
                  </a:lnTo>
                  <a:lnTo>
                    <a:pt x="168" y="2571"/>
                  </a:lnTo>
                  <a:lnTo>
                    <a:pt x="190" y="2513"/>
                  </a:lnTo>
                  <a:lnTo>
                    <a:pt x="213" y="2456"/>
                  </a:lnTo>
                  <a:lnTo>
                    <a:pt x="236" y="2397"/>
                  </a:lnTo>
                  <a:lnTo>
                    <a:pt x="261" y="2338"/>
                  </a:lnTo>
                  <a:lnTo>
                    <a:pt x="286" y="2279"/>
                  </a:lnTo>
                  <a:lnTo>
                    <a:pt x="313" y="2221"/>
                  </a:lnTo>
                  <a:lnTo>
                    <a:pt x="347" y="2144"/>
                  </a:lnTo>
                  <a:lnTo>
                    <a:pt x="383" y="2068"/>
                  </a:lnTo>
                  <a:lnTo>
                    <a:pt x="420" y="1992"/>
                  </a:lnTo>
                  <a:lnTo>
                    <a:pt x="458" y="1915"/>
                  </a:lnTo>
                  <a:lnTo>
                    <a:pt x="498" y="1839"/>
                  </a:lnTo>
                  <a:lnTo>
                    <a:pt x="538" y="1762"/>
                  </a:lnTo>
                  <a:lnTo>
                    <a:pt x="580" y="1685"/>
                  </a:lnTo>
                  <a:lnTo>
                    <a:pt x="623" y="1609"/>
                  </a:lnTo>
                  <a:lnTo>
                    <a:pt x="667" y="1534"/>
                  </a:lnTo>
                  <a:lnTo>
                    <a:pt x="711" y="1459"/>
                  </a:lnTo>
                  <a:lnTo>
                    <a:pt x="757" y="1383"/>
                  </a:lnTo>
                  <a:lnTo>
                    <a:pt x="803" y="1308"/>
                  </a:lnTo>
                  <a:lnTo>
                    <a:pt x="850" y="1234"/>
                  </a:lnTo>
                  <a:lnTo>
                    <a:pt x="899" y="1161"/>
                  </a:lnTo>
                  <a:lnTo>
                    <a:pt x="947" y="1088"/>
                  </a:lnTo>
                  <a:lnTo>
                    <a:pt x="997" y="1015"/>
                  </a:lnTo>
                  <a:lnTo>
                    <a:pt x="1047" y="944"/>
                  </a:lnTo>
                  <a:lnTo>
                    <a:pt x="1098" y="874"/>
                  </a:lnTo>
                  <a:lnTo>
                    <a:pt x="1149" y="804"/>
                  </a:lnTo>
                  <a:lnTo>
                    <a:pt x="1201" y="736"/>
                  </a:lnTo>
                  <a:lnTo>
                    <a:pt x="1253" y="669"/>
                  </a:lnTo>
                  <a:lnTo>
                    <a:pt x="1307" y="603"/>
                  </a:lnTo>
                  <a:lnTo>
                    <a:pt x="1359" y="538"/>
                  </a:lnTo>
                  <a:lnTo>
                    <a:pt x="1413" y="474"/>
                  </a:lnTo>
                  <a:lnTo>
                    <a:pt x="1467" y="412"/>
                  </a:lnTo>
                  <a:lnTo>
                    <a:pt x="1521" y="352"/>
                  </a:lnTo>
                  <a:lnTo>
                    <a:pt x="1575" y="293"/>
                  </a:lnTo>
                  <a:lnTo>
                    <a:pt x="1630" y="235"/>
                  </a:lnTo>
                  <a:lnTo>
                    <a:pt x="1686" y="179"/>
                  </a:lnTo>
                  <a:lnTo>
                    <a:pt x="1740" y="125"/>
                  </a:lnTo>
                  <a:lnTo>
                    <a:pt x="1795" y="72"/>
                  </a:lnTo>
                  <a:lnTo>
                    <a:pt x="1850" y="22"/>
                  </a:lnTo>
                  <a:lnTo>
                    <a:pt x="1857" y="17"/>
                  </a:lnTo>
                  <a:lnTo>
                    <a:pt x="1864" y="11"/>
                  </a:lnTo>
                  <a:lnTo>
                    <a:pt x="1872" y="8"/>
                  </a:lnTo>
                  <a:lnTo>
                    <a:pt x="1879" y="5"/>
                  </a:lnTo>
                  <a:lnTo>
                    <a:pt x="1888" y="3"/>
                  </a:lnTo>
                  <a:lnTo>
                    <a:pt x="1896" y="1"/>
                  </a:lnTo>
                  <a:lnTo>
                    <a:pt x="1904" y="0"/>
                  </a:lnTo>
                  <a:lnTo>
                    <a:pt x="1912" y="0"/>
                  </a:lnTo>
                  <a:lnTo>
                    <a:pt x="1919" y="1"/>
                  </a:lnTo>
                  <a:lnTo>
                    <a:pt x="1928" y="3"/>
                  </a:lnTo>
                  <a:lnTo>
                    <a:pt x="1936" y="5"/>
                  </a:lnTo>
                  <a:lnTo>
                    <a:pt x="1943" y="8"/>
                  </a:lnTo>
                  <a:lnTo>
                    <a:pt x="1951" y="12"/>
                  </a:lnTo>
                  <a:lnTo>
                    <a:pt x="1958" y="18"/>
                  </a:lnTo>
                  <a:lnTo>
                    <a:pt x="1965" y="23"/>
                  </a:lnTo>
                  <a:lnTo>
                    <a:pt x="1971" y="29"/>
                  </a:lnTo>
                  <a:lnTo>
                    <a:pt x="1975" y="34"/>
                  </a:lnTo>
                  <a:lnTo>
                    <a:pt x="1979" y="40"/>
                  </a:lnTo>
                  <a:lnTo>
                    <a:pt x="1982" y="46"/>
                  </a:lnTo>
                  <a:lnTo>
                    <a:pt x="1985" y="53"/>
                  </a:lnTo>
                  <a:lnTo>
                    <a:pt x="1988" y="59"/>
                  </a:lnTo>
                  <a:lnTo>
                    <a:pt x="1989" y="65"/>
                  </a:lnTo>
                  <a:lnTo>
                    <a:pt x="1992" y="72"/>
                  </a:lnTo>
                  <a:lnTo>
                    <a:pt x="1993" y="78"/>
                  </a:lnTo>
                  <a:lnTo>
                    <a:pt x="1993" y="86"/>
                  </a:lnTo>
                  <a:lnTo>
                    <a:pt x="1993" y="93"/>
                  </a:lnTo>
                  <a:lnTo>
                    <a:pt x="1992" y="99"/>
                  </a:lnTo>
                  <a:lnTo>
                    <a:pt x="1991" y="105"/>
                  </a:lnTo>
                  <a:lnTo>
                    <a:pt x="1988" y="112"/>
                  </a:lnTo>
                  <a:lnTo>
                    <a:pt x="1986" y="119"/>
                  </a:lnTo>
                  <a:lnTo>
                    <a:pt x="1983" y="125"/>
                  </a:lnTo>
                  <a:lnTo>
                    <a:pt x="1980" y="131"/>
                  </a:lnTo>
                  <a:lnTo>
                    <a:pt x="1948" y="190"/>
                  </a:lnTo>
                  <a:lnTo>
                    <a:pt x="1917" y="250"/>
                  </a:lnTo>
                  <a:lnTo>
                    <a:pt x="1888" y="310"/>
                  </a:lnTo>
                  <a:lnTo>
                    <a:pt x="1857" y="372"/>
                  </a:lnTo>
                  <a:lnTo>
                    <a:pt x="1827" y="434"/>
                  </a:lnTo>
                  <a:lnTo>
                    <a:pt x="1797" y="496"/>
                  </a:lnTo>
                  <a:lnTo>
                    <a:pt x="1767" y="559"/>
                  </a:lnTo>
                  <a:lnTo>
                    <a:pt x="1737" y="623"/>
                  </a:lnTo>
                  <a:lnTo>
                    <a:pt x="1708" y="687"/>
                  </a:lnTo>
                  <a:lnTo>
                    <a:pt x="1678" y="752"/>
                  </a:lnTo>
                  <a:lnTo>
                    <a:pt x="1650" y="815"/>
                  </a:lnTo>
                  <a:lnTo>
                    <a:pt x="1622" y="881"/>
                  </a:lnTo>
                  <a:lnTo>
                    <a:pt x="1593" y="946"/>
                  </a:lnTo>
                  <a:lnTo>
                    <a:pt x="1565" y="1012"/>
                  </a:lnTo>
                  <a:lnTo>
                    <a:pt x="1537" y="1078"/>
                  </a:lnTo>
                  <a:lnTo>
                    <a:pt x="1510" y="1144"/>
                  </a:lnTo>
                  <a:lnTo>
                    <a:pt x="1482" y="1210"/>
                  </a:lnTo>
                  <a:lnTo>
                    <a:pt x="1455" y="1276"/>
                  </a:lnTo>
                  <a:lnTo>
                    <a:pt x="1428" y="1343"/>
                  </a:lnTo>
                  <a:lnTo>
                    <a:pt x="1401" y="1409"/>
                  </a:lnTo>
                  <a:lnTo>
                    <a:pt x="1375" y="1475"/>
                  </a:lnTo>
                  <a:lnTo>
                    <a:pt x="1349" y="1541"/>
                  </a:lnTo>
                  <a:lnTo>
                    <a:pt x="1323" y="1606"/>
                  </a:lnTo>
                  <a:lnTo>
                    <a:pt x="1297" y="1672"/>
                  </a:lnTo>
                  <a:lnTo>
                    <a:pt x="1272" y="1737"/>
                  </a:lnTo>
                  <a:lnTo>
                    <a:pt x="1247" y="1802"/>
                  </a:lnTo>
                  <a:lnTo>
                    <a:pt x="1222" y="1867"/>
                  </a:lnTo>
                  <a:lnTo>
                    <a:pt x="1197" y="1931"/>
                  </a:lnTo>
                  <a:lnTo>
                    <a:pt x="1174" y="1995"/>
                  </a:lnTo>
                  <a:lnTo>
                    <a:pt x="1150" y="2058"/>
                  </a:lnTo>
                  <a:lnTo>
                    <a:pt x="1126" y="2122"/>
                  </a:lnTo>
                  <a:lnTo>
                    <a:pt x="1103" y="2183"/>
                  </a:lnTo>
                  <a:lnTo>
                    <a:pt x="1101" y="2232"/>
                  </a:lnTo>
                  <a:lnTo>
                    <a:pt x="1096" y="2279"/>
                  </a:lnTo>
                  <a:lnTo>
                    <a:pt x="1090" y="2324"/>
                  </a:lnTo>
                  <a:lnTo>
                    <a:pt x="1083" y="2367"/>
                  </a:lnTo>
                  <a:lnTo>
                    <a:pt x="1073" y="2408"/>
                  </a:lnTo>
                  <a:lnTo>
                    <a:pt x="1061" y="2447"/>
                  </a:lnTo>
                  <a:lnTo>
                    <a:pt x="1047" y="2485"/>
                  </a:lnTo>
                  <a:lnTo>
                    <a:pt x="1033" y="2522"/>
                  </a:lnTo>
                  <a:lnTo>
                    <a:pt x="1015" y="2557"/>
                  </a:lnTo>
                  <a:lnTo>
                    <a:pt x="998" y="2590"/>
                  </a:lnTo>
                  <a:lnTo>
                    <a:pt x="978" y="2622"/>
                  </a:lnTo>
                  <a:lnTo>
                    <a:pt x="957" y="2652"/>
                  </a:lnTo>
                  <a:lnTo>
                    <a:pt x="935" y="2681"/>
                  </a:lnTo>
                  <a:lnTo>
                    <a:pt x="912" y="2709"/>
                  </a:lnTo>
                  <a:lnTo>
                    <a:pt x="887" y="2736"/>
                  </a:lnTo>
                  <a:lnTo>
                    <a:pt x="863" y="2762"/>
                  </a:lnTo>
                  <a:lnTo>
                    <a:pt x="836" y="2786"/>
                  </a:lnTo>
                  <a:lnTo>
                    <a:pt x="809" y="2809"/>
                  </a:lnTo>
                  <a:lnTo>
                    <a:pt x="781" y="2832"/>
                  </a:lnTo>
                  <a:lnTo>
                    <a:pt x="753" y="2853"/>
                  </a:lnTo>
                  <a:lnTo>
                    <a:pt x="725" y="2874"/>
                  </a:lnTo>
                  <a:lnTo>
                    <a:pt x="696" y="2894"/>
                  </a:lnTo>
                  <a:lnTo>
                    <a:pt x="666" y="2912"/>
                  </a:lnTo>
                  <a:lnTo>
                    <a:pt x="636" y="2931"/>
                  </a:lnTo>
                  <a:lnTo>
                    <a:pt x="606" y="2948"/>
                  </a:lnTo>
                  <a:lnTo>
                    <a:pt x="576" y="2965"/>
                  </a:lnTo>
                  <a:lnTo>
                    <a:pt x="546" y="2981"/>
                  </a:lnTo>
                  <a:lnTo>
                    <a:pt x="517" y="2997"/>
                  </a:lnTo>
                  <a:lnTo>
                    <a:pt x="457" y="3028"/>
                  </a:lnTo>
                  <a:lnTo>
                    <a:pt x="399" y="3057"/>
                  </a:lnTo>
                  <a:lnTo>
                    <a:pt x="359" y="3076"/>
                  </a:lnTo>
                  <a:lnTo>
                    <a:pt x="321" y="3095"/>
                  </a:lnTo>
                  <a:lnTo>
                    <a:pt x="285" y="3114"/>
                  </a:lnTo>
                  <a:lnTo>
                    <a:pt x="251" y="3133"/>
                  </a:lnTo>
                  <a:lnTo>
                    <a:pt x="219" y="3151"/>
                  </a:lnTo>
                  <a:lnTo>
                    <a:pt x="191" y="3170"/>
                  </a:lnTo>
                  <a:lnTo>
                    <a:pt x="178" y="3179"/>
                  </a:lnTo>
                  <a:lnTo>
                    <a:pt x="166" y="3188"/>
                  </a:lnTo>
                  <a:lnTo>
                    <a:pt x="155" y="3198"/>
                  </a:lnTo>
                  <a:lnTo>
                    <a:pt x="145" y="3207"/>
                  </a:lnTo>
                  <a:lnTo>
                    <a:pt x="139" y="3213"/>
                  </a:lnTo>
                  <a:lnTo>
                    <a:pt x="131" y="3218"/>
                  </a:lnTo>
                  <a:lnTo>
                    <a:pt x="124" y="3222"/>
                  </a:lnTo>
                  <a:lnTo>
                    <a:pt x="117" y="3226"/>
                  </a:lnTo>
                  <a:lnTo>
                    <a:pt x="109" y="3229"/>
                  </a:lnTo>
                  <a:lnTo>
                    <a:pt x="100" y="3231"/>
                  </a:lnTo>
                  <a:lnTo>
                    <a:pt x="92" y="3232"/>
                  </a:lnTo>
                  <a:lnTo>
                    <a:pt x="85" y="3232"/>
                  </a:lnTo>
                  <a:lnTo>
                    <a:pt x="77" y="3232"/>
                  </a:lnTo>
                  <a:lnTo>
                    <a:pt x="69" y="3231"/>
                  </a:lnTo>
                  <a:lnTo>
                    <a:pt x="60" y="3229"/>
                  </a:lnTo>
                  <a:lnTo>
                    <a:pt x="52" y="3226"/>
                  </a:lnTo>
                  <a:lnTo>
                    <a:pt x="45" y="3222"/>
                  </a:lnTo>
                  <a:lnTo>
                    <a:pt x="38" y="3218"/>
                  </a:lnTo>
                  <a:lnTo>
                    <a:pt x="30" y="3213"/>
                  </a:lnTo>
                  <a:lnTo>
                    <a:pt x="24" y="3207"/>
                  </a:lnTo>
                  <a:lnTo>
                    <a:pt x="17" y="3199"/>
                  </a:lnTo>
                  <a:lnTo>
                    <a:pt x="11" y="3189"/>
                  </a:lnTo>
                  <a:lnTo>
                    <a:pt x="6" y="3179"/>
                  </a:lnTo>
                  <a:lnTo>
                    <a:pt x="3" y="3169"/>
                  </a:lnTo>
                  <a:lnTo>
                    <a:pt x="0" y="3159"/>
                  </a:lnTo>
                  <a:lnTo>
                    <a:pt x="0" y="3147"/>
                  </a:lnTo>
                  <a:lnTo>
                    <a:pt x="0" y="3137"/>
                  </a:lnTo>
                  <a:lnTo>
                    <a:pt x="2" y="3127"/>
                  </a:lnTo>
                  <a:close/>
                  <a:moveTo>
                    <a:pt x="288" y="2741"/>
                  </a:moveTo>
                  <a:lnTo>
                    <a:pt x="279" y="2769"/>
                  </a:lnTo>
                  <a:lnTo>
                    <a:pt x="270" y="2795"/>
                  </a:lnTo>
                  <a:lnTo>
                    <a:pt x="261" y="2821"/>
                  </a:lnTo>
                  <a:lnTo>
                    <a:pt x="253" y="2848"/>
                  </a:lnTo>
                  <a:lnTo>
                    <a:pt x="245" y="2875"/>
                  </a:lnTo>
                  <a:lnTo>
                    <a:pt x="236" y="2901"/>
                  </a:lnTo>
                  <a:lnTo>
                    <a:pt x="229" y="2928"/>
                  </a:lnTo>
                  <a:lnTo>
                    <a:pt x="222" y="2953"/>
                  </a:lnTo>
                  <a:lnTo>
                    <a:pt x="246" y="2941"/>
                  </a:lnTo>
                  <a:lnTo>
                    <a:pt x="271" y="2928"/>
                  </a:lnTo>
                  <a:lnTo>
                    <a:pt x="297" y="2915"/>
                  </a:lnTo>
                  <a:lnTo>
                    <a:pt x="323" y="2902"/>
                  </a:lnTo>
                  <a:lnTo>
                    <a:pt x="374" y="2877"/>
                  </a:lnTo>
                  <a:lnTo>
                    <a:pt x="426" y="2851"/>
                  </a:lnTo>
                  <a:lnTo>
                    <a:pt x="478" y="2824"/>
                  </a:lnTo>
                  <a:lnTo>
                    <a:pt x="531" y="2794"/>
                  </a:lnTo>
                  <a:lnTo>
                    <a:pt x="557" y="2777"/>
                  </a:lnTo>
                  <a:lnTo>
                    <a:pt x="583" y="2762"/>
                  </a:lnTo>
                  <a:lnTo>
                    <a:pt x="607" y="2744"/>
                  </a:lnTo>
                  <a:lnTo>
                    <a:pt x="633" y="2727"/>
                  </a:lnTo>
                  <a:lnTo>
                    <a:pt x="658" y="2708"/>
                  </a:lnTo>
                  <a:lnTo>
                    <a:pt x="681" y="2690"/>
                  </a:lnTo>
                  <a:lnTo>
                    <a:pt x="705" y="2670"/>
                  </a:lnTo>
                  <a:lnTo>
                    <a:pt x="728" y="2648"/>
                  </a:lnTo>
                  <a:lnTo>
                    <a:pt x="749" y="2628"/>
                  </a:lnTo>
                  <a:lnTo>
                    <a:pt x="770" y="2605"/>
                  </a:lnTo>
                  <a:lnTo>
                    <a:pt x="791" y="2581"/>
                  </a:lnTo>
                  <a:lnTo>
                    <a:pt x="809" y="2557"/>
                  </a:lnTo>
                  <a:lnTo>
                    <a:pt x="827" y="2531"/>
                  </a:lnTo>
                  <a:lnTo>
                    <a:pt x="844" y="2504"/>
                  </a:lnTo>
                  <a:lnTo>
                    <a:pt x="860" y="2477"/>
                  </a:lnTo>
                  <a:lnTo>
                    <a:pt x="874" y="2447"/>
                  </a:lnTo>
                  <a:lnTo>
                    <a:pt x="886" y="2417"/>
                  </a:lnTo>
                  <a:lnTo>
                    <a:pt x="898" y="2386"/>
                  </a:lnTo>
                  <a:lnTo>
                    <a:pt x="908" y="2353"/>
                  </a:lnTo>
                  <a:lnTo>
                    <a:pt x="916" y="2319"/>
                  </a:lnTo>
                  <a:lnTo>
                    <a:pt x="922" y="2283"/>
                  </a:lnTo>
                  <a:lnTo>
                    <a:pt x="928" y="2247"/>
                  </a:lnTo>
                  <a:lnTo>
                    <a:pt x="931" y="2208"/>
                  </a:lnTo>
                  <a:lnTo>
                    <a:pt x="932" y="2169"/>
                  </a:lnTo>
                  <a:lnTo>
                    <a:pt x="933" y="2161"/>
                  </a:lnTo>
                  <a:lnTo>
                    <a:pt x="934" y="2153"/>
                  </a:lnTo>
                  <a:lnTo>
                    <a:pt x="935" y="2146"/>
                  </a:lnTo>
                  <a:lnTo>
                    <a:pt x="937" y="2139"/>
                  </a:lnTo>
                  <a:lnTo>
                    <a:pt x="962" y="2074"/>
                  </a:lnTo>
                  <a:lnTo>
                    <a:pt x="985" y="2009"/>
                  </a:lnTo>
                  <a:lnTo>
                    <a:pt x="1010" y="1944"/>
                  </a:lnTo>
                  <a:lnTo>
                    <a:pt x="1036" y="1878"/>
                  </a:lnTo>
                  <a:lnTo>
                    <a:pt x="1060" y="1812"/>
                  </a:lnTo>
                  <a:lnTo>
                    <a:pt x="1086" y="1746"/>
                  </a:lnTo>
                  <a:lnTo>
                    <a:pt x="1111" y="1679"/>
                  </a:lnTo>
                  <a:lnTo>
                    <a:pt x="1138" y="1612"/>
                  </a:lnTo>
                  <a:lnTo>
                    <a:pt x="1163" y="1546"/>
                  </a:lnTo>
                  <a:lnTo>
                    <a:pt x="1189" y="1479"/>
                  </a:lnTo>
                  <a:lnTo>
                    <a:pt x="1216" y="1412"/>
                  </a:lnTo>
                  <a:lnTo>
                    <a:pt x="1243" y="1345"/>
                  </a:lnTo>
                  <a:lnTo>
                    <a:pt x="1270" y="1278"/>
                  </a:lnTo>
                  <a:lnTo>
                    <a:pt x="1296" y="1211"/>
                  </a:lnTo>
                  <a:lnTo>
                    <a:pt x="1324" y="1145"/>
                  </a:lnTo>
                  <a:lnTo>
                    <a:pt x="1352" y="1078"/>
                  </a:lnTo>
                  <a:lnTo>
                    <a:pt x="1381" y="1008"/>
                  </a:lnTo>
                  <a:lnTo>
                    <a:pt x="1411" y="939"/>
                  </a:lnTo>
                  <a:lnTo>
                    <a:pt x="1440" y="869"/>
                  </a:lnTo>
                  <a:lnTo>
                    <a:pt x="1470" y="800"/>
                  </a:lnTo>
                  <a:lnTo>
                    <a:pt x="1501" y="731"/>
                  </a:lnTo>
                  <a:lnTo>
                    <a:pt x="1531" y="663"/>
                  </a:lnTo>
                  <a:lnTo>
                    <a:pt x="1563" y="594"/>
                  </a:lnTo>
                  <a:lnTo>
                    <a:pt x="1594" y="526"/>
                  </a:lnTo>
                  <a:lnTo>
                    <a:pt x="1553" y="573"/>
                  </a:lnTo>
                  <a:lnTo>
                    <a:pt x="1512" y="622"/>
                  </a:lnTo>
                  <a:lnTo>
                    <a:pt x="1471" y="670"/>
                  </a:lnTo>
                  <a:lnTo>
                    <a:pt x="1431" y="720"/>
                  </a:lnTo>
                  <a:lnTo>
                    <a:pt x="1391" y="770"/>
                  </a:lnTo>
                  <a:lnTo>
                    <a:pt x="1351" y="822"/>
                  </a:lnTo>
                  <a:lnTo>
                    <a:pt x="1311" y="873"/>
                  </a:lnTo>
                  <a:lnTo>
                    <a:pt x="1272" y="925"/>
                  </a:lnTo>
                  <a:lnTo>
                    <a:pt x="1232" y="978"/>
                  </a:lnTo>
                  <a:lnTo>
                    <a:pt x="1194" y="1032"/>
                  </a:lnTo>
                  <a:lnTo>
                    <a:pt x="1156" y="1086"/>
                  </a:lnTo>
                  <a:lnTo>
                    <a:pt x="1118" y="1140"/>
                  </a:lnTo>
                  <a:lnTo>
                    <a:pt x="1080" y="1196"/>
                  </a:lnTo>
                  <a:lnTo>
                    <a:pt x="1043" y="1250"/>
                  </a:lnTo>
                  <a:lnTo>
                    <a:pt x="1007" y="1307"/>
                  </a:lnTo>
                  <a:lnTo>
                    <a:pt x="971" y="1363"/>
                  </a:lnTo>
                  <a:lnTo>
                    <a:pt x="935" y="1420"/>
                  </a:lnTo>
                  <a:lnTo>
                    <a:pt x="900" y="1477"/>
                  </a:lnTo>
                  <a:lnTo>
                    <a:pt x="865" y="1534"/>
                  </a:lnTo>
                  <a:lnTo>
                    <a:pt x="831" y="1592"/>
                  </a:lnTo>
                  <a:lnTo>
                    <a:pt x="797" y="1649"/>
                  </a:lnTo>
                  <a:lnTo>
                    <a:pt x="764" y="1707"/>
                  </a:lnTo>
                  <a:lnTo>
                    <a:pt x="731" y="1766"/>
                  </a:lnTo>
                  <a:lnTo>
                    <a:pt x="699" y="1824"/>
                  </a:lnTo>
                  <a:lnTo>
                    <a:pt x="668" y="1882"/>
                  </a:lnTo>
                  <a:lnTo>
                    <a:pt x="637" y="1941"/>
                  </a:lnTo>
                  <a:lnTo>
                    <a:pt x="607" y="1999"/>
                  </a:lnTo>
                  <a:lnTo>
                    <a:pt x="578" y="2058"/>
                  </a:lnTo>
                  <a:lnTo>
                    <a:pt x="550" y="2115"/>
                  </a:lnTo>
                  <a:lnTo>
                    <a:pt x="522" y="2174"/>
                  </a:lnTo>
                  <a:lnTo>
                    <a:pt x="494" y="2232"/>
                  </a:lnTo>
                  <a:lnTo>
                    <a:pt x="468" y="2291"/>
                  </a:lnTo>
                  <a:lnTo>
                    <a:pt x="442" y="2347"/>
                  </a:lnTo>
                  <a:lnTo>
                    <a:pt x="418" y="2405"/>
                  </a:lnTo>
                  <a:lnTo>
                    <a:pt x="394" y="2463"/>
                  </a:lnTo>
                  <a:lnTo>
                    <a:pt x="371" y="2519"/>
                  </a:lnTo>
                  <a:lnTo>
                    <a:pt x="349" y="2575"/>
                  </a:lnTo>
                  <a:lnTo>
                    <a:pt x="328" y="2631"/>
                  </a:lnTo>
                  <a:lnTo>
                    <a:pt x="307" y="2686"/>
                  </a:lnTo>
                  <a:lnTo>
                    <a:pt x="288" y="274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5" name="Freeform 81"/>
            <p:cNvSpPr>
              <a:spLocks noChangeArrowheads="1"/>
            </p:cNvSpPr>
            <p:nvPr/>
          </p:nvSpPr>
          <p:spPr bwMode="auto">
            <a:xfrm>
              <a:off x="1414463" y="1401654"/>
              <a:ext cx="820737" cy="1703423"/>
            </a:xfrm>
            <a:custGeom>
              <a:avLst/>
              <a:gdLst>
                <a:gd name="T0" fmla="*/ 22 w 1822"/>
                <a:gd name="T1" fmla="*/ 2967 h 3060"/>
                <a:gd name="T2" fmla="*/ 74 w 1822"/>
                <a:gd name="T3" fmla="*/ 2777 h 3060"/>
                <a:gd name="T4" fmla="*/ 140 w 1822"/>
                <a:gd name="T5" fmla="*/ 2578 h 3060"/>
                <a:gd name="T6" fmla="*/ 217 w 1822"/>
                <a:gd name="T7" fmla="*/ 2375 h 3060"/>
                <a:gd name="T8" fmla="*/ 306 w 1822"/>
                <a:gd name="T9" fmla="*/ 2167 h 3060"/>
                <a:gd name="T10" fmla="*/ 405 w 1822"/>
                <a:gd name="T11" fmla="*/ 1958 h 3060"/>
                <a:gd name="T12" fmla="*/ 512 w 1822"/>
                <a:gd name="T13" fmla="*/ 1748 h 3060"/>
                <a:gd name="T14" fmla="*/ 627 w 1822"/>
                <a:gd name="T15" fmla="*/ 1539 h 3060"/>
                <a:gd name="T16" fmla="*/ 751 w 1822"/>
                <a:gd name="T17" fmla="*/ 1331 h 3060"/>
                <a:gd name="T18" fmla="*/ 881 w 1822"/>
                <a:gd name="T19" fmla="*/ 1128 h 3060"/>
                <a:gd name="T20" fmla="*/ 1016 w 1822"/>
                <a:gd name="T21" fmla="*/ 929 h 3060"/>
                <a:gd name="T22" fmla="*/ 1156 w 1822"/>
                <a:gd name="T23" fmla="*/ 739 h 3060"/>
                <a:gd name="T24" fmla="*/ 1300 w 1822"/>
                <a:gd name="T25" fmla="*/ 555 h 3060"/>
                <a:gd name="T26" fmla="*/ 1447 w 1822"/>
                <a:gd name="T27" fmla="*/ 381 h 3060"/>
                <a:gd name="T28" fmla="*/ 1597 w 1822"/>
                <a:gd name="T29" fmla="*/ 219 h 3060"/>
                <a:gd name="T30" fmla="*/ 1747 w 1822"/>
                <a:gd name="T31" fmla="*/ 70 h 3060"/>
                <a:gd name="T32" fmla="*/ 1790 w 1822"/>
                <a:gd name="T33" fmla="*/ 60 h 3060"/>
                <a:gd name="T34" fmla="*/ 1728 w 1822"/>
                <a:gd name="T35" fmla="*/ 182 h 3060"/>
                <a:gd name="T36" fmla="*/ 1636 w 1822"/>
                <a:gd name="T37" fmla="*/ 371 h 3060"/>
                <a:gd name="T38" fmla="*/ 1517 w 1822"/>
                <a:gd name="T39" fmla="*/ 628 h 3060"/>
                <a:gd name="T40" fmla="*/ 1402 w 1822"/>
                <a:gd name="T41" fmla="*/ 892 h 3060"/>
                <a:gd name="T42" fmla="*/ 1291 w 1822"/>
                <a:gd name="T43" fmla="*/ 1159 h 3060"/>
                <a:gd name="T44" fmla="*/ 1182 w 1822"/>
                <a:gd name="T45" fmla="*/ 1426 h 3060"/>
                <a:gd name="T46" fmla="*/ 1079 w 1822"/>
                <a:gd name="T47" fmla="*/ 1692 h 3060"/>
                <a:gd name="T48" fmla="*/ 981 w 1822"/>
                <a:gd name="T49" fmla="*/ 1954 h 3060"/>
                <a:gd name="T50" fmla="*/ 930 w 1822"/>
                <a:gd name="T51" fmla="*/ 2145 h 3060"/>
                <a:gd name="T52" fmla="*/ 914 w 1822"/>
                <a:gd name="T53" fmla="*/ 2259 h 3060"/>
                <a:gd name="T54" fmla="*/ 884 w 1822"/>
                <a:gd name="T55" fmla="*/ 2361 h 3060"/>
                <a:gd name="T56" fmla="*/ 842 w 1822"/>
                <a:gd name="T57" fmla="*/ 2451 h 3060"/>
                <a:gd name="T58" fmla="*/ 788 w 1822"/>
                <a:gd name="T59" fmla="*/ 2531 h 3060"/>
                <a:gd name="T60" fmla="*/ 726 w 1822"/>
                <a:gd name="T61" fmla="*/ 2603 h 3060"/>
                <a:gd name="T62" fmla="*/ 657 w 1822"/>
                <a:gd name="T63" fmla="*/ 2665 h 3060"/>
                <a:gd name="T64" fmla="*/ 584 w 1822"/>
                <a:gd name="T65" fmla="*/ 2721 h 3060"/>
                <a:gd name="T66" fmla="*/ 506 w 1822"/>
                <a:gd name="T67" fmla="*/ 2772 h 3060"/>
                <a:gd name="T68" fmla="*/ 427 w 1822"/>
                <a:gd name="T69" fmla="*/ 2816 h 3060"/>
                <a:gd name="T70" fmla="*/ 310 w 1822"/>
                <a:gd name="T71" fmla="*/ 2877 h 3060"/>
                <a:gd name="T72" fmla="*/ 199 w 1822"/>
                <a:gd name="T73" fmla="*/ 2932 h 3060"/>
                <a:gd name="T74" fmla="*/ 132 w 1822"/>
                <a:gd name="T75" fmla="*/ 2967 h 3060"/>
                <a:gd name="T76" fmla="*/ 71 w 1822"/>
                <a:gd name="T77" fmla="*/ 3004 h 3060"/>
                <a:gd name="T78" fmla="*/ 21 w 1822"/>
                <a:gd name="T79" fmla="*/ 3041 h 3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22" h="3060">
                  <a:moveTo>
                    <a:pt x="0" y="3060"/>
                  </a:moveTo>
                  <a:lnTo>
                    <a:pt x="22" y="2967"/>
                  </a:lnTo>
                  <a:lnTo>
                    <a:pt x="46" y="2873"/>
                  </a:lnTo>
                  <a:lnTo>
                    <a:pt x="74" y="2777"/>
                  </a:lnTo>
                  <a:lnTo>
                    <a:pt x="106" y="2678"/>
                  </a:lnTo>
                  <a:lnTo>
                    <a:pt x="140" y="2578"/>
                  </a:lnTo>
                  <a:lnTo>
                    <a:pt x="177" y="2477"/>
                  </a:lnTo>
                  <a:lnTo>
                    <a:pt x="217" y="2375"/>
                  </a:lnTo>
                  <a:lnTo>
                    <a:pt x="261" y="2272"/>
                  </a:lnTo>
                  <a:lnTo>
                    <a:pt x="306" y="2167"/>
                  </a:lnTo>
                  <a:lnTo>
                    <a:pt x="354" y="2063"/>
                  </a:lnTo>
                  <a:lnTo>
                    <a:pt x="405" y="1958"/>
                  </a:lnTo>
                  <a:lnTo>
                    <a:pt x="457" y="1853"/>
                  </a:lnTo>
                  <a:lnTo>
                    <a:pt x="512" y="1748"/>
                  </a:lnTo>
                  <a:lnTo>
                    <a:pt x="569" y="1643"/>
                  </a:lnTo>
                  <a:lnTo>
                    <a:pt x="627" y="1539"/>
                  </a:lnTo>
                  <a:lnTo>
                    <a:pt x="688" y="1435"/>
                  </a:lnTo>
                  <a:lnTo>
                    <a:pt x="751" y="1331"/>
                  </a:lnTo>
                  <a:lnTo>
                    <a:pt x="815" y="1229"/>
                  </a:lnTo>
                  <a:lnTo>
                    <a:pt x="881" y="1128"/>
                  </a:lnTo>
                  <a:lnTo>
                    <a:pt x="948" y="1028"/>
                  </a:lnTo>
                  <a:lnTo>
                    <a:pt x="1016" y="929"/>
                  </a:lnTo>
                  <a:lnTo>
                    <a:pt x="1086" y="834"/>
                  </a:lnTo>
                  <a:lnTo>
                    <a:pt x="1156" y="739"/>
                  </a:lnTo>
                  <a:lnTo>
                    <a:pt x="1228" y="645"/>
                  </a:lnTo>
                  <a:lnTo>
                    <a:pt x="1300" y="555"/>
                  </a:lnTo>
                  <a:lnTo>
                    <a:pt x="1373" y="467"/>
                  </a:lnTo>
                  <a:lnTo>
                    <a:pt x="1447" y="381"/>
                  </a:lnTo>
                  <a:lnTo>
                    <a:pt x="1521" y="299"/>
                  </a:lnTo>
                  <a:lnTo>
                    <a:pt x="1597" y="219"/>
                  </a:lnTo>
                  <a:lnTo>
                    <a:pt x="1672" y="143"/>
                  </a:lnTo>
                  <a:lnTo>
                    <a:pt x="1747" y="70"/>
                  </a:lnTo>
                  <a:lnTo>
                    <a:pt x="1822" y="0"/>
                  </a:lnTo>
                  <a:lnTo>
                    <a:pt x="1790" y="60"/>
                  </a:lnTo>
                  <a:lnTo>
                    <a:pt x="1759" y="121"/>
                  </a:lnTo>
                  <a:lnTo>
                    <a:pt x="1728" y="182"/>
                  </a:lnTo>
                  <a:lnTo>
                    <a:pt x="1697" y="245"/>
                  </a:lnTo>
                  <a:lnTo>
                    <a:pt x="1636" y="371"/>
                  </a:lnTo>
                  <a:lnTo>
                    <a:pt x="1576" y="499"/>
                  </a:lnTo>
                  <a:lnTo>
                    <a:pt x="1517" y="628"/>
                  </a:lnTo>
                  <a:lnTo>
                    <a:pt x="1458" y="759"/>
                  </a:lnTo>
                  <a:lnTo>
                    <a:pt x="1402" y="892"/>
                  </a:lnTo>
                  <a:lnTo>
                    <a:pt x="1345" y="1025"/>
                  </a:lnTo>
                  <a:lnTo>
                    <a:pt x="1291" y="1159"/>
                  </a:lnTo>
                  <a:lnTo>
                    <a:pt x="1236" y="1293"/>
                  </a:lnTo>
                  <a:lnTo>
                    <a:pt x="1182" y="1426"/>
                  </a:lnTo>
                  <a:lnTo>
                    <a:pt x="1131" y="1560"/>
                  </a:lnTo>
                  <a:lnTo>
                    <a:pt x="1079" y="1692"/>
                  </a:lnTo>
                  <a:lnTo>
                    <a:pt x="1029" y="1824"/>
                  </a:lnTo>
                  <a:lnTo>
                    <a:pt x="981" y="1954"/>
                  </a:lnTo>
                  <a:lnTo>
                    <a:pt x="932" y="2083"/>
                  </a:lnTo>
                  <a:lnTo>
                    <a:pt x="930" y="2145"/>
                  </a:lnTo>
                  <a:lnTo>
                    <a:pt x="924" y="2204"/>
                  </a:lnTo>
                  <a:lnTo>
                    <a:pt x="914" y="2259"/>
                  </a:lnTo>
                  <a:lnTo>
                    <a:pt x="900" y="2311"/>
                  </a:lnTo>
                  <a:lnTo>
                    <a:pt x="884" y="2361"/>
                  </a:lnTo>
                  <a:lnTo>
                    <a:pt x="864" y="2408"/>
                  </a:lnTo>
                  <a:lnTo>
                    <a:pt x="842" y="2451"/>
                  </a:lnTo>
                  <a:lnTo>
                    <a:pt x="816" y="2492"/>
                  </a:lnTo>
                  <a:lnTo>
                    <a:pt x="788" y="2531"/>
                  </a:lnTo>
                  <a:lnTo>
                    <a:pt x="758" y="2568"/>
                  </a:lnTo>
                  <a:lnTo>
                    <a:pt x="726" y="2603"/>
                  </a:lnTo>
                  <a:lnTo>
                    <a:pt x="693" y="2635"/>
                  </a:lnTo>
                  <a:lnTo>
                    <a:pt x="657" y="2665"/>
                  </a:lnTo>
                  <a:lnTo>
                    <a:pt x="621" y="2694"/>
                  </a:lnTo>
                  <a:lnTo>
                    <a:pt x="584" y="2721"/>
                  </a:lnTo>
                  <a:lnTo>
                    <a:pt x="545" y="2747"/>
                  </a:lnTo>
                  <a:lnTo>
                    <a:pt x="506" y="2772"/>
                  </a:lnTo>
                  <a:lnTo>
                    <a:pt x="467" y="2794"/>
                  </a:lnTo>
                  <a:lnTo>
                    <a:pt x="427" y="2816"/>
                  </a:lnTo>
                  <a:lnTo>
                    <a:pt x="387" y="2838"/>
                  </a:lnTo>
                  <a:lnTo>
                    <a:pt x="310" y="2877"/>
                  </a:lnTo>
                  <a:lnTo>
                    <a:pt x="235" y="2914"/>
                  </a:lnTo>
                  <a:lnTo>
                    <a:pt x="199" y="2932"/>
                  </a:lnTo>
                  <a:lnTo>
                    <a:pt x="165" y="2950"/>
                  </a:lnTo>
                  <a:lnTo>
                    <a:pt x="132" y="2967"/>
                  </a:lnTo>
                  <a:lnTo>
                    <a:pt x="101" y="2985"/>
                  </a:lnTo>
                  <a:lnTo>
                    <a:pt x="71" y="3004"/>
                  </a:lnTo>
                  <a:lnTo>
                    <a:pt x="45" y="3022"/>
                  </a:lnTo>
                  <a:lnTo>
                    <a:pt x="21" y="3041"/>
                  </a:lnTo>
                  <a:lnTo>
                    <a:pt x="0" y="30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6" name="Freeform 82"/>
            <p:cNvSpPr>
              <a:spLocks noChangeArrowheads="1"/>
            </p:cNvSpPr>
            <p:nvPr/>
          </p:nvSpPr>
          <p:spPr bwMode="auto">
            <a:xfrm>
              <a:off x="1003300" y="2439901"/>
              <a:ext cx="395288" cy="2005054"/>
            </a:xfrm>
            <a:custGeom>
              <a:avLst/>
              <a:gdLst>
                <a:gd name="T0" fmla="*/ 18 w 885"/>
                <a:gd name="T1" fmla="*/ 3368 h 3614"/>
                <a:gd name="T2" fmla="*/ 2 w 885"/>
                <a:gd name="T3" fmla="*/ 3074 h 3614"/>
                <a:gd name="T4" fmla="*/ 1 w 885"/>
                <a:gd name="T5" fmla="*/ 2764 h 3614"/>
                <a:gd name="T6" fmla="*/ 21 w 885"/>
                <a:gd name="T7" fmla="*/ 2410 h 3614"/>
                <a:gd name="T8" fmla="*/ 68 w 885"/>
                <a:gd name="T9" fmla="*/ 1990 h 3614"/>
                <a:gd name="T10" fmla="*/ 143 w 885"/>
                <a:gd name="T11" fmla="*/ 1569 h 3614"/>
                <a:gd name="T12" fmla="*/ 246 w 885"/>
                <a:gd name="T13" fmla="*/ 1153 h 3614"/>
                <a:gd name="T14" fmla="*/ 377 w 885"/>
                <a:gd name="T15" fmla="*/ 754 h 3614"/>
                <a:gd name="T16" fmla="*/ 538 w 885"/>
                <a:gd name="T17" fmla="*/ 380 h 3614"/>
                <a:gd name="T18" fmla="*/ 727 w 885"/>
                <a:gd name="T19" fmla="*/ 39 h 3614"/>
                <a:gd name="T20" fmla="*/ 757 w 885"/>
                <a:gd name="T21" fmla="*/ 11 h 3614"/>
                <a:gd name="T22" fmla="*/ 796 w 885"/>
                <a:gd name="T23" fmla="*/ 0 h 3614"/>
                <a:gd name="T24" fmla="*/ 836 w 885"/>
                <a:gd name="T25" fmla="*/ 9 h 3614"/>
                <a:gd name="T26" fmla="*/ 865 w 885"/>
                <a:gd name="T27" fmla="*/ 32 h 3614"/>
                <a:gd name="T28" fmla="*/ 884 w 885"/>
                <a:gd name="T29" fmla="*/ 87 h 3614"/>
                <a:gd name="T30" fmla="*/ 871 w 885"/>
                <a:gd name="T31" fmla="*/ 151 h 3614"/>
                <a:gd name="T32" fmla="*/ 834 w 885"/>
                <a:gd name="T33" fmla="*/ 375 h 3614"/>
                <a:gd name="T34" fmla="*/ 815 w 885"/>
                <a:gd name="T35" fmla="*/ 604 h 3614"/>
                <a:gd name="T36" fmla="*/ 809 w 885"/>
                <a:gd name="T37" fmla="*/ 837 h 3614"/>
                <a:gd name="T38" fmla="*/ 826 w 885"/>
                <a:gd name="T39" fmla="*/ 1312 h 3614"/>
                <a:gd name="T40" fmla="*/ 853 w 885"/>
                <a:gd name="T41" fmla="*/ 1698 h 3614"/>
                <a:gd name="T42" fmla="*/ 869 w 885"/>
                <a:gd name="T43" fmla="*/ 1944 h 3614"/>
                <a:gd name="T44" fmla="*/ 881 w 885"/>
                <a:gd name="T45" fmla="*/ 2187 h 3614"/>
                <a:gd name="T46" fmla="*/ 884 w 885"/>
                <a:gd name="T47" fmla="*/ 2387 h 3614"/>
                <a:gd name="T48" fmla="*/ 869 w 885"/>
                <a:gd name="T49" fmla="*/ 2429 h 3614"/>
                <a:gd name="T50" fmla="*/ 777 w 885"/>
                <a:gd name="T51" fmla="*/ 2568 h 3614"/>
                <a:gd name="T52" fmla="*/ 718 w 885"/>
                <a:gd name="T53" fmla="*/ 2661 h 3614"/>
                <a:gd name="T54" fmla="*/ 616 w 885"/>
                <a:gd name="T55" fmla="*/ 2821 h 3614"/>
                <a:gd name="T56" fmla="*/ 442 w 885"/>
                <a:gd name="T57" fmla="*/ 3108 h 3614"/>
                <a:gd name="T58" fmla="*/ 287 w 885"/>
                <a:gd name="T59" fmla="*/ 3381 h 3614"/>
                <a:gd name="T60" fmla="*/ 196 w 885"/>
                <a:gd name="T61" fmla="*/ 3569 h 3614"/>
                <a:gd name="T62" fmla="*/ 167 w 885"/>
                <a:gd name="T63" fmla="*/ 3600 h 3614"/>
                <a:gd name="T64" fmla="*/ 129 w 885"/>
                <a:gd name="T65" fmla="*/ 3614 h 3614"/>
                <a:gd name="T66" fmla="*/ 88 w 885"/>
                <a:gd name="T67" fmla="*/ 3608 h 3614"/>
                <a:gd name="T68" fmla="*/ 46 w 885"/>
                <a:gd name="T69" fmla="*/ 3570 h 3614"/>
                <a:gd name="T70" fmla="*/ 172 w 885"/>
                <a:gd name="T71" fmla="*/ 3069 h 3614"/>
                <a:gd name="T72" fmla="*/ 176 w 885"/>
                <a:gd name="T73" fmla="*/ 3165 h 3614"/>
                <a:gd name="T74" fmla="*/ 264 w 885"/>
                <a:gd name="T75" fmla="*/ 3074 h 3614"/>
                <a:gd name="T76" fmla="*/ 495 w 885"/>
                <a:gd name="T77" fmla="*/ 2692 h 3614"/>
                <a:gd name="T78" fmla="*/ 578 w 885"/>
                <a:gd name="T79" fmla="*/ 2563 h 3614"/>
                <a:gd name="T80" fmla="*/ 644 w 885"/>
                <a:gd name="T81" fmla="*/ 2460 h 3614"/>
                <a:gd name="T82" fmla="*/ 710 w 885"/>
                <a:gd name="T83" fmla="*/ 2171 h 3614"/>
                <a:gd name="T84" fmla="*/ 697 w 885"/>
                <a:gd name="T85" fmla="*/ 1939 h 3614"/>
                <a:gd name="T86" fmla="*/ 682 w 885"/>
                <a:gd name="T87" fmla="*/ 1706 h 3614"/>
                <a:gd name="T88" fmla="*/ 661 w 885"/>
                <a:gd name="T89" fmla="*/ 1411 h 3614"/>
                <a:gd name="T90" fmla="*/ 643 w 885"/>
                <a:gd name="T91" fmla="*/ 1077 h 3614"/>
                <a:gd name="T92" fmla="*/ 639 w 885"/>
                <a:gd name="T93" fmla="*/ 746 h 3614"/>
                <a:gd name="T94" fmla="*/ 596 w 885"/>
                <a:gd name="T95" fmla="*/ 664 h 3614"/>
                <a:gd name="T96" fmla="*/ 483 w 885"/>
                <a:gd name="T97" fmla="*/ 965 h 3614"/>
                <a:gd name="T98" fmla="*/ 387 w 885"/>
                <a:gd name="T99" fmla="*/ 1280 h 3614"/>
                <a:gd name="T100" fmla="*/ 310 w 885"/>
                <a:gd name="T101" fmla="*/ 1604 h 3614"/>
                <a:gd name="T102" fmla="*/ 249 w 885"/>
                <a:gd name="T103" fmla="*/ 1931 h 3614"/>
                <a:gd name="T104" fmla="*/ 206 w 885"/>
                <a:gd name="T105" fmla="*/ 2260 h 3614"/>
                <a:gd name="T106" fmla="*/ 180 w 885"/>
                <a:gd name="T107" fmla="*/ 2584 h 3614"/>
                <a:gd name="T108" fmla="*/ 170 w 885"/>
                <a:gd name="T109" fmla="*/ 2891 h 3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85" h="3614">
                  <a:moveTo>
                    <a:pt x="36" y="3538"/>
                  </a:moveTo>
                  <a:lnTo>
                    <a:pt x="35" y="3535"/>
                  </a:lnTo>
                  <a:lnTo>
                    <a:pt x="29" y="3481"/>
                  </a:lnTo>
                  <a:lnTo>
                    <a:pt x="23" y="3425"/>
                  </a:lnTo>
                  <a:lnTo>
                    <a:pt x="18" y="3368"/>
                  </a:lnTo>
                  <a:lnTo>
                    <a:pt x="13" y="3312"/>
                  </a:lnTo>
                  <a:lnTo>
                    <a:pt x="9" y="3253"/>
                  </a:lnTo>
                  <a:lnTo>
                    <a:pt x="6" y="3194"/>
                  </a:lnTo>
                  <a:lnTo>
                    <a:pt x="3" y="3134"/>
                  </a:lnTo>
                  <a:lnTo>
                    <a:pt x="2" y="3074"/>
                  </a:lnTo>
                  <a:lnTo>
                    <a:pt x="0" y="3013"/>
                  </a:lnTo>
                  <a:lnTo>
                    <a:pt x="0" y="2951"/>
                  </a:lnTo>
                  <a:lnTo>
                    <a:pt x="0" y="2889"/>
                  </a:lnTo>
                  <a:lnTo>
                    <a:pt x="0" y="2827"/>
                  </a:lnTo>
                  <a:lnTo>
                    <a:pt x="1" y="2764"/>
                  </a:lnTo>
                  <a:lnTo>
                    <a:pt x="3" y="2701"/>
                  </a:lnTo>
                  <a:lnTo>
                    <a:pt x="6" y="2639"/>
                  </a:lnTo>
                  <a:lnTo>
                    <a:pt x="9" y="2575"/>
                  </a:lnTo>
                  <a:lnTo>
                    <a:pt x="14" y="2492"/>
                  </a:lnTo>
                  <a:lnTo>
                    <a:pt x="21" y="2410"/>
                  </a:lnTo>
                  <a:lnTo>
                    <a:pt x="28" y="2326"/>
                  </a:lnTo>
                  <a:lnTo>
                    <a:pt x="36" y="2243"/>
                  </a:lnTo>
                  <a:lnTo>
                    <a:pt x="45" y="2158"/>
                  </a:lnTo>
                  <a:lnTo>
                    <a:pt x="56" y="2075"/>
                  </a:lnTo>
                  <a:lnTo>
                    <a:pt x="68" y="1990"/>
                  </a:lnTo>
                  <a:lnTo>
                    <a:pt x="80" y="1906"/>
                  </a:lnTo>
                  <a:lnTo>
                    <a:pt x="95" y="1821"/>
                  </a:lnTo>
                  <a:lnTo>
                    <a:pt x="109" y="1737"/>
                  </a:lnTo>
                  <a:lnTo>
                    <a:pt x="126" y="1652"/>
                  </a:lnTo>
                  <a:lnTo>
                    <a:pt x="143" y="1569"/>
                  </a:lnTo>
                  <a:lnTo>
                    <a:pt x="161" y="1484"/>
                  </a:lnTo>
                  <a:lnTo>
                    <a:pt x="180" y="1400"/>
                  </a:lnTo>
                  <a:lnTo>
                    <a:pt x="201" y="1318"/>
                  </a:lnTo>
                  <a:lnTo>
                    <a:pt x="224" y="1236"/>
                  </a:lnTo>
                  <a:lnTo>
                    <a:pt x="246" y="1153"/>
                  </a:lnTo>
                  <a:lnTo>
                    <a:pt x="270" y="1072"/>
                  </a:lnTo>
                  <a:lnTo>
                    <a:pt x="295" y="991"/>
                  </a:lnTo>
                  <a:lnTo>
                    <a:pt x="321" y="912"/>
                  </a:lnTo>
                  <a:lnTo>
                    <a:pt x="348" y="832"/>
                  </a:lnTo>
                  <a:lnTo>
                    <a:pt x="377" y="754"/>
                  </a:lnTo>
                  <a:lnTo>
                    <a:pt x="407" y="678"/>
                  </a:lnTo>
                  <a:lnTo>
                    <a:pt x="438" y="602"/>
                  </a:lnTo>
                  <a:lnTo>
                    <a:pt x="470" y="526"/>
                  </a:lnTo>
                  <a:lnTo>
                    <a:pt x="503" y="453"/>
                  </a:lnTo>
                  <a:lnTo>
                    <a:pt x="538" y="380"/>
                  </a:lnTo>
                  <a:lnTo>
                    <a:pt x="573" y="309"/>
                  </a:lnTo>
                  <a:lnTo>
                    <a:pt x="610" y="240"/>
                  </a:lnTo>
                  <a:lnTo>
                    <a:pt x="648" y="171"/>
                  </a:lnTo>
                  <a:lnTo>
                    <a:pt x="686" y="105"/>
                  </a:lnTo>
                  <a:lnTo>
                    <a:pt x="727" y="39"/>
                  </a:lnTo>
                  <a:lnTo>
                    <a:pt x="731" y="33"/>
                  </a:lnTo>
                  <a:lnTo>
                    <a:pt x="738" y="25"/>
                  </a:lnTo>
                  <a:lnTo>
                    <a:pt x="744" y="20"/>
                  </a:lnTo>
                  <a:lnTo>
                    <a:pt x="750" y="15"/>
                  </a:lnTo>
                  <a:lnTo>
                    <a:pt x="757" y="11"/>
                  </a:lnTo>
                  <a:lnTo>
                    <a:pt x="764" y="7"/>
                  </a:lnTo>
                  <a:lnTo>
                    <a:pt x="773" y="4"/>
                  </a:lnTo>
                  <a:lnTo>
                    <a:pt x="780" y="2"/>
                  </a:lnTo>
                  <a:lnTo>
                    <a:pt x="788" y="1"/>
                  </a:lnTo>
                  <a:lnTo>
                    <a:pt x="796" y="0"/>
                  </a:lnTo>
                  <a:lnTo>
                    <a:pt x="804" y="0"/>
                  </a:lnTo>
                  <a:lnTo>
                    <a:pt x="813" y="1"/>
                  </a:lnTo>
                  <a:lnTo>
                    <a:pt x="821" y="3"/>
                  </a:lnTo>
                  <a:lnTo>
                    <a:pt x="829" y="6"/>
                  </a:lnTo>
                  <a:lnTo>
                    <a:pt x="836" y="9"/>
                  </a:lnTo>
                  <a:lnTo>
                    <a:pt x="845" y="13"/>
                  </a:lnTo>
                  <a:lnTo>
                    <a:pt x="850" y="17"/>
                  </a:lnTo>
                  <a:lnTo>
                    <a:pt x="856" y="21"/>
                  </a:lnTo>
                  <a:lnTo>
                    <a:pt x="860" y="26"/>
                  </a:lnTo>
                  <a:lnTo>
                    <a:pt x="865" y="32"/>
                  </a:lnTo>
                  <a:lnTo>
                    <a:pt x="872" y="43"/>
                  </a:lnTo>
                  <a:lnTo>
                    <a:pt x="879" y="54"/>
                  </a:lnTo>
                  <a:lnTo>
                    <a:pt x="882" y="68"/>
                  </a:lnTo>
                  <a:lnTo>
                    <a:pt x="884" y="80"/>
                  </a:lnTo>
                  <a:lnTo>
                    <a:pt x="884" y="87"/>
                  </a:lnTo>
                  <a:lnTo>
                    <a:pt x="884" y="93"/>
                  </a:lnTo>
                  <a:lnTo>
                    <a:pt x="883" y="100"/>
                  </a:lnTo>
                  <a:lnTo>
                    <a:pt x="882" y="107"/>
                  </a:lnTo>
                  <a:lnTo>
                    <a:pt x="871" y="151"/>
                  </a:lnTo>
                  <a:lnTo>
                    <a:pt x="862" y="195"/>
                  </a:lnTo>
                  <a:lnTo>
                    <a:pt x="854" y="240"/>
                  </a:lnTo>
                  <a:lnTo>
                    <a:pt x="847" y="284"/>
                  </a:lnTo>
                  <a:lnTo>
                    <a:pt x="841" y="329"/>
                  </a:lnTo>
                  <a:lnTo>
                    <a:pt x="834" y="375"/>
                  </a:lnTo>
                  <a:lnTo>
                    <a:pt x="829" y="420"/>
                  </a:lnTo>
                  <a:lnTo>
                    <a:pt x="824" y="466"/>
                  </a:lnTo>
                  <a:lnTo>
                    <a:pt x="820" y="512"/>
                  </a:lnTo>
                  <a:lnTo>
                    <a:pt x="817" y="557"/>
                  </a:lnTo>
                  <a:lnTo>
                    <a:pt x="815" y="604"/>
                  </a:lnTo>
                  <a:lnTo>
                    <a:pt x="812" y="650"/>
                  </a:lnTo>
                  <a:lnTo>
                    <a:pt x="811" y="696"/>
                  </a:lnTo>
                  <a:lnTo>
                    <a:pt x="810" y="743"/>
                  </a:lnTo>
                  <a:lnTo>
                    <a:pt x="809" y="790"/>
                  </a:lnTo>
                  <a:lnTo>
                    <a:pt x="809" y="837"/>
                  </a:lnTo>
                  <a:lnTo>
                    <a:pt x="810" y="931"/>
                  </a:lnTo>
                  <a:lnTo>
                    <a:pt x="812" y="1026"/>
                  </a:lnTo>
                  <a:lnTo>
                    <a:pt x="816" y="1121"/>
                  </a:lnTo>
                  <a:lnTo>
                    <a:pt x="821" y="1216"/>
                  </a:lnTo>
                  <a:lnTo>
                    <a:pt x="826" y="1312"/>
                  </a:lnTo>
                  <a:lnTo>
                    <a:pt x="832" y="1408"/>
                  </a:lnTo>
                  <a:lnTo>
                    <a:pt x="839" y="1504"/>
                  </a:lnTo>
                  <a:lnTo>
                    <a:pt x="847" y="1599"/>
                  </a:lnTo>
                  <a:lnTo>
                    <a:pt x="850" y="1649"/>
                  </a:lnTo>
                  <a:lnTo>
                    <a:pt x="853" y="1698"/>
                  </a:lnTo>
                  <a:lnTo>
                    <a:pt x="857" y="1747"/>
                  </a:lnTo>
                  <a:lnTo>
                    <a:pt x="860" y="1796"/>
                  </a:lnTo>
                  <a:lnTo>
                    <a:pt x="863" y="1846"/>
                  </a:lnTo>
                  <a:lnTo>
                    <a:pt x="866" y="1894"/>
                  </a:lnTo>
                  <a:lnTo>
                    <a:pt x="869" y="1944"/>
                  </a:lnTo>
                  <a:lnTo>
                    <a:pt x="872" y="1992"/>
                  </a:lnTo>
                  <a:lnTo>
                    <a:pt x="875" y="2041"/>
                  </a:lnTo>
                  <a:lnTo>
                    <a:pt x="877" y="2090"/>
                  </a:lnTo>
                  <a:lnTo>
                    <a:pt x="879" y="2139"/>
                  </a:lnTo>
                  <a:lnTo>
                    <a:pt x="881" y="2187"/>
                  </a:lnTo>
                  <a:lnTo>
                    <a:pt x="883" y="2235"/>
                  </a:lnTo>
                  <a:lnTo>
                    <a:pt x="884" y="2284"/>
                  </a:lnTo>
                  <a:lnTo>
                    <a:pt x="884" y="2332"/>
                  </a:lnTo>
                  <a:lnTo>
                    <a:pt x="885" y="2381"/>
                  </a:lnTo>
                  <a:lnTo>
                    <a:pt x="884" y="2387"/>
                  </a:lnTo>
                  <a:lnTo>
                    <a:pt x="883" y="2394"/>
                  </a:lnTo>
                  <a:lnTo>
                    <a:pt x="882" y="2400"/>
                  </a:lnTo>
                  <a:lnTo>
                    <a:pt x="881" y="2407"/>
                  </a:lnTo>
                  <a:lnTo>
                    <a:pt x="876" y="2419"/>
                  </a:lnTo>
                  <a:lnTo>
                    <a:pt x="869" y="2429"/>
                  </a:lnTo>
                  <a:lnTo>
                    <a:pt x="845" y="2466"/>
                  </a:lnTo>
                  <a:lnTo>
                    <a:pt x="823" y="2499"/>
                  </a:lnTo>
                  <a:lnTo>
                    <a:pt x="803" y="2528"/>
                  </a:lnTo>
                  <a:lnTo>
                    <a:pt x="787" y="2554"/>
                  </a:lnTo>
                  <a:lnTo>
                    <a:pt x="777" y="2568"/>
                  </a:lnTo>
                  <a:lnTo>
                    <a:pt x="766" y="2585"/>
                  </a:lnTo>
                  <a:lnTo>
                    <a:pt x="756" y="2601"/>
                  </a:lnTo>
                  <a:lnTo>
                    <a:pt x="744" y="2620"/>
                  </a:lnTo>
                  <a:lnTo>
                    <a:pt x="731" y="2640"/>
                  </a:lnTo>
                  <a:lnTo>
                    <a:pt x="718" y="2661"/>
                  </a:lnTo>
                  <a:lnTo>
                    <a:pt x="704" y="2684"/>
                  </a:lnTo>
                  <a:lnTo>
                    <a:pt x="688" y="2708"/>
                  </a:lnTo>
                  <a:lnTo>
                    <a:pt x="685" y="2713"/>
                  </a:lnTo>
                  <a:lnTo>
                    <a:pt x="651" y="2766"/>
                  </a:lnTo>
                  <a:lnTo>
                    <a:pt x="616" y="2821"/>
                  </a:lnTo>
                  <a:lnTo>
                    <a:pt x="581" y="2878"/>
                  </a:lnTo>
                  <a:lnTo>
                    <a:pt x="546" y="2934"/>
                  </a:lnTo>
                  <a:lnTo>
                    <a:pt x="511" y="2992"/>
                  </a:lnTo>
                  <a:lnTo>
                    <a:pt x="476" y="3050"/>
                  </a:lnTo>
                  <a:lnTo>
                    <a:pt x="442" y="3108"/>
                  </a:lnTo>
                  <a:lnTo>
                    <a:pt x="408" y="3164"/>
                  </a:lnTo>
                  <a:lnTo>
                    <a:pt x="376" y="3221"/>
                  </a:lnTo>
                  <a:lnTo>
                    <a:pt x="344" y="3276"/>
                  </a:lnTo>
                  <a:lnTo>
                    <a:pt x="315" y="3329"/>
                  </a:lnTo>
                  <a:lnTo>
                    <a:pt x="287" y="3381"/>
                  </a:lnTo>
                  <a:lnTo>
                    <a:pt x="262" y="3430"/>
                  </a:lnTo>
                  <a:lnTo>
                    <a:pt x="238" y="3478"/>
                  </a:lnTo>
                  <a:lnTo>
                    <a:pt x="217" y="3521"/>
                  </a:lnTo>
                  <a:lnTo>
                    <a:pt x="199" y="3562"/>
                  </a:lnTo>
                  <a:lnTo>
                    <a:pt x="196" y="3569"/>
                  </a:lnTo>
                  <a:lnTo>
                    <a:pt x="191" y="3577"/>
                  </a:lnTo>
                  <a:lnTo>
                    <a:pt x="185" y="3584"/>
                  </a:lnTo>
                  <a:lnTo>
                    <a:pt x="180" y="3590"/>
                  </a:lnTo>
                  <a:lnTo>
                    <a:pt x="174" y="3595"/>
                  </a:lnTo>
                  <a:lnTo>
                    <a:pt x="167" y="3600"/>
                  </a:lnTo>
                  <a:lnTo>
                    <a:pt x="160" y="3604"/>
                  </a:lnTo>
                  <a:lnTo>
                    <a:pt x="152" y="3608"/>
                  </a:lnTo>
                  <a:lnTo>
                    <a:pt x="144" y="3611"/>
                  </a:lnTo>
                  <a:lnTo>
                    <a:pt x="137" y="3613"/>
                  </a:lnTo>
                  <a:lnTo>
                    <a:pt x="129" y="3614"/>
                  </a:lnTo>
                  <a:lnTo>
                    <a:pt x="121" y="3614"/>
                  </a:lnTo>
                  <a:lnTo>
                    <a:pt x="112" y="3614"/>
                  </a:lnTo>
                  <a:lnTo>
                    <a:pt x="103" y="3613"/>
                  </a:lnTo>
                  <a:lnTo>
                    <a:pt x="95" y="3611"/>
                  </a:lnTo>
                  <a:lnTo>
                    <a:pt x="88" y="3608"/>
                  </a:lnTo>
                  <a:lnTo>
                    <a:pt x="76" y="3602"/>
                  </a:lnTo>
                  <a:lnTo>
                    <a:pt x="67" y="3595"/>
                  </a:lnTo>
                  <a:lnTo>
                    <a:pt x="59" y="3588"/>
                  </a:lnTo>
                  <a:lnTo>
                    <a:pt x="52" y="3580"/>
                  </a:lnTo>
                  <a:lnTo>
                    <a:pt x="46" y="3570"/>
                  </a:lnTo>
                  <a:lnTo>
                    <a:pt x="41" y="3560"/>
                  </a:lnTo>
                  <a:lnTo>
                    <a:pt x="38" y="3550"/>
                  </a:lnTo>
                  <a:lnTo>
                    <a:pt x="36" y="3538"/>
                  </a:lnTo>
                  <a:close/>
                  <a:moveTo>
                    <a:pt x="172" y="3069"/>
                  </a:moveTo>
                  <a:lnTo>
                    <a:pt x="173" y="3089"/>
                  </a:lnTo>
                  <a:lnTo>
                    <a:pt x="173" y="3108"/>
                  </a:lnTo>
                  <a:lnTo>
                    <a:pt x="174" y="3127"/>
                  </a:lnTo>
                  <a:lnTo>
                    <a:pt x="175" y="3147"/>
                  </a:lnTo>
                  <a:lnTo>
                    <a:pt x="176" y="3165"/>
                  </a:lnTo>
                  <a:lnTo>
                    <a:pt x="177" y="3185"/>
                  </a:lnTo>
                  <a:lnTo>
                    <a:pt x="178" y="3203"/>
                  </a:lnTo>
                  <a:lnTo>
                    <a:pt x="179" y="3223"/>
                  </a:lnTo>
                  <a:lnTo>
                    <a:pt x="220" y="3150"/>
                  </a:lnTo>
                  <a:lnTo>
                    <a:pt x="264" y="3074"/>
                  </a:lnTo>
                  <a:lnTo>
                    <a:pt x="309" y="2997"/>
                  </a:lnTo>
                  <a:lnTo>
                    <a:pt x="355" y="2920"/>
                  </a:lnTo>
                  <a:lnTo>
                    <a:pt x="402" y="2843"/>
                  </a:lnTo>
                  <a:lnTo>
                    <a:pt x="449" y="2766"/>
                  </a:lnTo>
                  <a:lnTo>
                    <a:pt x="495" y="2692"/>
                  </a:lnTo>
                  <a:lnTo>
                    <a:pt x="541" y="2621"/>
                  </a:lnTo>
                  <a:lnTo>
                    <a:pt x="544" y="2616"/>
                  </a:lnTo>
                  <a:lnTo>
                    <a:pt x="554" y="2599"/>
                  </a:lnTo>
                  <a:lnTo>
                    <a:pt x="566" y="2582"/>
                  </a:lnTo>
                  <a:lnTo>
                    <a:pt x="578" y="2563"/>
                  </a:lnTo>
                  <a:lnTo>
                    <a:pt x="590" y="2544"/>
                  </a:lnTo>
                  <a:lnTo>
                    <a:pt x="604" y="2523"/>
                  </a:lnTo>
                  <a:lnTo>
                    <a:pt x="617" y="2502"/>
                  </a:lnTo>
                  <a:lnTo>
                    <a:pt x="630" y="2482"/>
                  </a:lnTo>
                  <a:lnTo>
                    <a:pt x="644" y="2460"/>
                  </a:lnTo>
                  <a:lnTo>
                    <a:pt x="713" y="2355"/>
                  </a:lnTo>
                  <a:lnTo>
                    <a:pt x="713" y="2309"/>
                  </a:lnTo>
                  <a:lnTo>
                    <a:pt x="712" y="2262"/>
                  </a:lnTo>
                  <a:lnTo>
                    <a:pt x="711" y="2217"/>
                  </a:lnTo>
                  <a:lnTo>
                    <a:pt x="710" y="2171"/>
                  </a:lnTo>
                  <a:lnTo>
                    <a:pt x="708" y="2124"/>
                  </a:lnTo>
                  <a:lnTo>
                    <a:pt x="706" y="2078"/>
                  </a:lnTo>
                  <a:lnTo>
                    <a:pt x="703" y="2031"/>
                  </a:lnTo>
                  <a:lnTo>
                    <a:pt x="700" y="1985"/>
                  </a:lnTo>
                  <a:lnTo>
                    <a:pt x="697" y="1939"/>
                  </a:lnTo>
                  <a:lnTo>
                    <a:pt x="695" y="1892"/>
                  </a:lnTo>
                  <a:lnTo>
                    <a:pt x="692" y="1845"/>
                  </a:lnTo>
                  <a:lnTo>
                    <a:pt x="689" y="1798"/>
                  </a:lnTo>
                  <a:lnTo>
                    <a:pt x="685" y="1752"/>
                  </a:lnTo>
                  <a:lnTo>
                    <a:pt x="682" y="1706"/>
                  </a:lnTo>
                  <a:lnTo>
                    <a:pt x="679" y="1658"/>
                  </a:lnTo>
                  <a:lnTo>
                    <a:pt x="676" y="1612"/>
                  </a:lnTo>
                  <a:lnTo>
                    <a:pt x="671" y="1545"/>
                  </a:lnTo>
                  <a:lnTo>
                    <a:pt x="666" y="1478"/>
                  </a:lnTo>
                  <a:lnTo>
                    <a:pt x="661" y="1411"/>
                  </a:lnTo>
                  <a:lnTo>
                    <a:pt x="657" y="1344"/>
                  </a:lnTo>
                  <a:lnTo>
                    <a:pt x="653" y="1277"/>
                  </a:lnTo>
                  <a:lnTo>
                    <a:pt x="649" y="1211"/>
                  </a:lnTo>
                  <a:lnTo>
                    <a:pt x="646" y="1144"/>
                  </a:lnTo>
                  <a:lnTo>
                    <a:pt x="643" y="1077"/>
                  </a:lnTo>
                  <a:lnTo>
                    <a:pt x="641" y="1011"/>
                  </a:lnTo>
                  <a:lnTo>
                    <a:pt x="639" y="944"/>
                  </a:lnTo>
                  <a:lnTo>
                    <a:pt x="638" y="878"/>
                  </a:lnTo>
                  <a:lnTo>
                    <a:pt x="638" y="812"/>
                  </a:lnTo>
                  <a:lnTo>
                    <a:pt x="639" y="746"/>
                  </a:lnTo>
                  <a:lnTo>
                    <a:pt x="640" y="680"/>
                  </a:lnTo>
                  <a:lnTo>
                    <a:pt x="643" y="615"/>
                  </a:lnTo>
                  <a:lnTo>
                    <a:pt x="647" y="549"/>
                  </a:lnTo>
                  <a:lnTo>
                    <a:pt x="621" y="607"/>
                  </a:lnTo>
                  <a:lnTo>
                    <a:pt x="596" y="664"/>
                  </a:lnTo>
                  <a:lnTo>
                    <a:pt x="572" y="723"/>
                  </a:lnTo>
                  <a:lnTo>
                    <a:pt x="549" y="783"/>
                  </a:lnTo>
                  <a:lnTo>
                    <a:pt x="526" y="843"/>
                  </a:lnTo>
                  <a:lnTo>
                    <a:pt x="504" y="904"/>
                  </a:lnTo>
                  <a:lnTo>
                    <a:pt x="483" y="965"/>
                  </a:lnTo>
                  <a:lnTo>
                    <a:pt x="463" y="1027"/>
                  </a:lnTo>
                  <a:lnTo>
                    <a:pt x="443" y="1090"/>
                  </a:lnTo>
                  <a:lnTo>
                    <a:pt x="423" y="1153"/>
                  </a:lnTo>
                  <a:lnTo>
                    <a:pt x="405" y="1216"/>
                  </a:lnTo>
                  <a:lnTo>
                    <a:pt x="387" y="1280"/>
                  </a:lnTo>
                  <a:lnTo>
                    <a:pt x="371" y="1344"/>
                  </a:lnTo>
                  <a:lnTo>
                    <a:pt x="354" y="1409"/>
                  </a:lnTo>
                  <a:lnTo>
                    <a:pt x="339" y="1473"/>
                  </a:lnTo>
                  <a:lnTo>
                    <a:pt x="323" y="1538"/>
                  </a:lnTo>
                  <a:lnTo>
                    <a:pt x="310" y="1604"/>
                  </a:lnTo>
                  <a:lnTo>
                    <a:pt x="297" y="1669"/>
                  </a:lnTo>
                  <a:lnTo>
                    <a:pt x="283" y="1734"/>
                  </a:lnTo>
                  <a:lnTo>
                    <a:pt x="271" y="1799"/>
                  </a:lnTo>
                  <a:lnTo>
                    <a:pt x="260" y="1865"/>
                  </a:lnTo>
                  <a:lnTo>
                    <a:pt x="249" y="1931"/>
                  </a:lnTo>
                  <a:lnTo>
                    <a:pt x="239" y="1997"/>
                  </a:lnTo>
                  <a:lnTo>
                    <a:pt x="230" y="2063"/>
                  </a:lnTo>
                  <a:lnTo>
                    <a:pt x="221" y="2129"/>
                  </a:lnTo>
                  <a:lnTo>
                    <a:pt x="213" y="2194"/>
                  </a:lnTo>
                  <a:lnTo>
                    <a:pt x="206" y="2260"/>
                  </a:lnTo>
                  <a:lnTo>
                    <a:pt x="200" y="2325"/>
                  </a:lnTo>
                  <a:lnTo>
                    <a:pt x="194" y="2391"/>
                  </a:lnTo>
                  <a:lnTo>
                    <a:pt x="189" y="2455"/>
                  </a:lnTo>
                  <a:lnTo>
                    <a:pt x="183" y="2520"/>
                  </a:lnTo>
                  <a:lnTo>
                    <a:pt x="180" y="2584"/>
                  </a:lnTo>
                  <a:lnTo>
                    <a:pt x="176" y="2647"/>
                  </a:lnTo>
                  <a:lnTo>
                    <a:pt x="174" y="2709"/>
                  </a:lnTo>
                  <a:lnTo>
                    <a:pt x="172" y="2770"/>
                  </a:lnTo>
                  <a:lnTo>
                    <a:pt x="171" y="2831"/>
                  </a:lnTo>
                  <a:lnTo>
                    <a:pt x="170" y="2891"/>
                  </a:lnTo>
                  <a:lnTo>
                    <a:pt x="170" y="2951"/>
                  </a:lnTo>
                  <a:lnTo>
                    <a:pt x="171" y="3011"/>
                  </a:lnTo>
                  <a:lnTo>
                    <a:pt x="172" y="30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7" name="Freeform 83"/>
            <p:cNvSpPr>
              <a:spLocks noChangeArrowheads="1"/>
            </p:cNvSpPr>
            <p:nvPr/>
          </p:nvSpPr>
          <p:spPr bwMode="auto">
            <a:xfrm>
              <a:off x="1039813" y="2493878"/>
              <a:ext cx="315912" cy="1906627"/>
            </a:xfrm>
            <a:custGeom>
              <a:avLst/>
              <a:gdLst>
                <a:gd name="T0" fmla="*/ 24 w 713"/>
                <a:gd name="T1" fmla="*/ 3346 h 3443"/>
                <a:gd name="T2" fmla="*/ 9 w 713"/>
                <a:gd name="T3" fmla="*/ 3145 h 3443"/>
                <a:gd name="T4" fmla="*/ 1 w 713"/>
                <a:gd name="T5" fmla="*/ 2935 h 3443"/>
                <a:gd name="T6" fmla="*/ 1 w 713"/>
                <a:gd name="T7" fmla="*/ 2717 h 3443"/>
                <a:gd name="T8" fmla="*/ 10 w 713"/>
                <a:gd name="T9" fmla="*/ 2495 h 3443"/>
                <a:gd name="T10" fmla="*/ 26 w 713"/>
                <a:gd name="T11" fmla="*/ 2267 h 3443"/>
                <a:gd name="T12" fmla="*/ 51 w 713"/>
                <a:gd name="T13" fmla="*/ 2037 h 3443"/>
                <a:gd name="T14" fmla="*/ 84 w 713"/>
                <a:gd name="T15" fmla="*/ 1805 h 3443"/>
                <a:gd name="T16" fmla="*/ 126 w 713"/>
                <a:gd name="T17" fmla="*/ 1574 h 3443"/>
                <a:gd name="T18" fmla="*/ 177 w 713"/>
                <a:gd name="T19" fmla="*/ 1345 h 3443"/>
                <a:gd name="T20" fmla="*/ 234 w 713"/>
                <a:gd name="T21" fmla="*/ 1120 h 3443"/>
                <a:gd name="T22" fmla="*/ 302 w 713"/>
                <a:gd name="T23" fmla="*/ 898 h 3443"/>
                <a:gd name="T24" fmla="*/ 379 w 713"/>
                <a:gd name="T25" fmla="*/ 683 h 3443"/>
                <a:gd name="T26" fmla="*/ 463 w 713"/>
                <a:gd name="T27" fmla="*/ 475 h 3443"/>
                <a:gd name="T28" fmla="*/ 557 w 713"/>
                <a:gd name="T29" fmla="*/ 277 h 3443"/>
                <a:gd name="T30" fmla="*/ 659 w 713"/>
                <a:gd name="T31" fmla="*/ 90 h 3443"/>
                <a:gd name="T32" fmla="*/ 699 w 713"/>
                <a:gd name="T33" fmla="*/ 68 h 3443"/>
                <a:gd name="T34" fmla="*/ 674 w 713"/>
                <a:gd name="T35" fmla="*/ 205 h 3443"/>
                <a:gd name="T36" fmla="*/ 657 w 713"/>
                <a:gd name="T37" fmla="*/ 344 h 3443"/>
                <a:gd name="T38" fmla="*/ 645 w 713"/>
                <a:gd name="T39" fmla="*/ 486 h 3443"/>
                <a:gd name="T40" fmla="*/ 639 w 713"/>
                <a:gd name="T41" fmla="*/ 628 h 3443"/>
                <a:gd name="T42" fmla="*/ 638 w 713"/>
                <a:gd name="T43" fmla="*/ 770 h 3443"/>
                <a:gd name="T44" fmla="*/ 640 w 713"/>
                <a:gd name="T45" fmla="*/ 914 h 3443"/>
                <a:gd name="T46" fmla="*/ 646 w 713"/>
                <a:gd name="T47" fmla="*/ 1060 h 3443"/>
                <a:gd name="T48" fmla="*/ 659 w 713"/>
                <a:gd name="T49" fmla="*/ 1277 h 3443"/>
                <a:gd name="T50" fmla="*/ 679 w 713"/>
                <a:gd name="T51" fmla="*/ 1570 h 3443"/>
                <a:gd name="T52" fmla="*/ 699 w 713"/>
                <a:gd name="T53" fmla="*/ 1862 h 3443"/>
                <a:gd name="T54" fmla="*/ 709 w 713"/>
                <a:gd name="T55" fmla="*/ 2079 h 3443"/>
                <a:gd name="T56" fmla="*/ 713 w 713"/>
                <a:gd name="T57" fmla="*/ 2224 h 3443"/>
                <a:gd name="T58" fmla="*/ 679 w 713"/>
                <a:gd name="T59" fmla="*/ 2347 h 3443"/>
                <a:gd name="T60" fmla="*/ 599 w 713"/>
                <a:gd name="T61" fmla="*/ 2471 h 3443"/>
                <a:gd name="T62" fmla="*/ 506 w 713"/>
                <a:gd name="T63" fmla="*/ 2615 h 3443"/>
                <a:gd name="T64" fmla="*/ 408 w 713"/>
                <a:gd name="T65" fmla="*/ 2772 h 3443"/>
                <a:gd name="T66" fmla="*/ 310 w 713"/>
                <a:gd name="T67" fmla="*/ 2935 h 3443"/>
                <a:gd name="T68" fmla="*/ 215 w 713"/>
                <a:gd name="T69" fmla="*/ 3097 h 3443"/>
                <a:gd name="T70" fmla="*/ 130 w 713"/>
                <a:gd name="T71" fmla="*/ 3248 h 3443"/>
                <a:gd name="T72" fmla="*/ 78 w 713"/>
                <a:gd name="T73" fmla="*/ 3352 h 3443"/>
                <a:gd name="T74" fmla="*/ 48 w 713"/>
                <a:gd name="T75" fmla="*/ 3414 h 3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3" h="3443">
                  <a:moveTo>
                    <a:pt x="36" y="3443"/>
                  </a:moveTo>
                  <a:lnTo>
                    <a:pt x="24" y="3346"/>
                  </a:lnTo>
                  <a:lnTo>
                    <a:pt x="16" y="3247"/>
                  </a:lnTo>
                  <a:lnTo>
                    <a:pt x="9" y="3145"/>
                  </a:lnTo>
                  <a:lnTo>
                    <a:pt x="4" y="3041"/>
                  </a:lnTo>
                  <a:lnTo>
                    <a:pt x="1" y="2935"/>
                  </a:lnTo>
                  <a:lnTo>
                    <a:pt x="0" y="2827"/>
                  </a:lnTo>
                  <a:lnTo>
                    <a:pt x="1" y="2717"/>
                  </a:lnTo>
                  <a:lnTo>
                    <a:pt x="5" y="2606"/>
                  </a:lnTo>
                  <a:lnTo>
                    <a:pt x="10" y="2495"/>
                  </a:lnTo>
                  <a:lnTo>
                    <a:pt x="17" y="2381"/>
                  </a:lnTo>
                  <a:lnTo>
                    <a:pt x="26" y="2267"/>
                  </a:lnTo>
                  <a:lnTo>
                    <a:pt x="38" y="2153"/>
                  </a:lnTo>
                  <a:lnTo>
                    <a:pt x="51" y="2037"/>
                  </a:lnTo>
                  <a:lnTo>
                    <a:pt x="66" y="1922"/>
                  </a:lnTo>
                  <a:lnTo>
                    <a:pt x="84" y="1805"/>
                  </a:lnTo>
                  <a:lnTo>
                    <a:pt x="105" y="1690"/>
                  </a:lnTo>
                  <a:lnTo>
                    <a:pt x="126" y="1574"/>
                  </a:lnTo>
                  <a:lnTo>
                    <a:pt x="150" y="1460"/>
                  </a:lnTo>
                  <a:lnTo>
                    <a:pt x="177" y="1345"/>
                  </a:lnTo>
                  <a:lnTo>
                    <a:pt x="204" y="1232"/>
                  </a:lnTo>
                  <a:lnTo>
                    <a:pt x="234" y="1120"/>
                  </a:lnTo>
                  <a:lnTo>
                    <a:pt x="267" y="1007"/>
                  </a:lnTo>
                  <a:lnTo>
                    <a:pt x="302" y="898"/>
                  </a:lnTo>
                  <a:lnTo>
                    <a:pt x="339" y="790"/>
                  </a:lnTo>
                  <a:lnTo>
                    <a:pt x="379" y="683"/>
                  </a:lnTo>
                  <a:lnTo>
                    <a:pt x="420" y="577"/>
                  </a:lnTo>
                  <a:lnTo>
                    <a:pt x="463" y="475"/>
                  </a:lnTo>
                  <a:lnTo>
                    <a:pt x="508" y="375"/>
                  </a:lnTo>
                  <a:lnTo>
                    <a:pt x="557" y="277"/>
                  </a:lnTo>
                  <a:lnTo>
                    <a:pt x="607" y="182"/>
                  </a:lnTo>
                  <a:lnTo>
                    <a:pt x="659" y="90"/>
                  </a:lnTo>
                  <a:lnTo>
                    <a:pt x="713" y="0"/>
                  </a:lnTo>
                  <a:lnTo>
                    <a:pt x="699" y="68"/>
                  </a:lnTo>
                  <a:lnTo>
                    <a:pt x="685" y="137"/>
                  </a:lnTo>
                  <a:lnTo>
                    <a:pt x="674" y="205"/>
                  </a:lnTo>
                  <a:lnTo>
                    <a:pt x="665" y="275"/>
                  </a:lnTo>
                  <a:lnTo>
                    <a:pt x="657" y="344"/>
                  </a:lnTo>
                  <a:lnTo>
                    <a:pt x="650" y="415"/>
                  </a:lnTo>
                  <a:lnTo>
                    <a:pt x="645" y="486"/>
                  </a:lnTo>
                  <a:lnTo>
                    <a:pt x="642" y="556"/>
                  </a:lnTo>
                  <a:lnTo>
                    <a:pt x="639" y="628"/>
                  </a:lnTo>
                  <a:lnTo>
                    <a:pt x="638" y="699"/>
                  </a:lnTo>
                  <a:lnTo>
                    <a:pt x="638" y="770"/>
                  </a:lnTo>
                  <a:lnTo>
                    <a:pt x="639" y="842"/>
                  </a:lnTo>
                  <a:lnTo>
                    <a:pt x="640" y="914"/>
                  </a:lnTo>
                  <a:lnTo>
                    <a:pt x="643" y="987"/>
                  </a:lnTo>
                  <a:lnTo>
                    <a:pt x="646" y="1060"/>
                  </a:lnTo>
                  <a:lnTo>
                    <a:pt x="649" y="1132"/>
                  </a:lnTo>
                  <a:lnTo>
                    <a:pt x="659" y="1277"/>
                  </a:lnTo>
                  <a:lnTo>
                    <a:pt x="669" y="1424"/>
                  </a:lnTo>
                  <a:lnTo>
                    <a:pt x="679" y="1570"/>
                  </a:lnTo>
                  <a:lnTo>
                    <a:pt x="690" y="1715"/>
                  </a:lnTo>
                  <a:lnTo>
                    <a:pt x="699" y="1862"/>
                  </a:lnTo>
                  <a:lnTo>
                    <a:pt x="707" y="2007"/>
                  </a:lnTo>
                  <a:lnTo>
                    <a:pt x="709" y="2079"/>
                  </a:lnTo>
                  <a:lnTo>
                    <a:pt x="711" y="2152"/>
                  </a:lnTo>
                  <a:lnTo>
                    <a:pt x="713" y="2224"/>
                  </a:lnTo>
                  <a:lnTo>
                    <a:pt x="713" y="2296"/>
                  </a:lnTo>
                  <a:lnTo>
                    <a:pt x="679" y="2347"/>
                  </a:lnTo>
                  <a:lnTo>
                    <a:pt x="641" y="2406"/>
                  </a:lnTo>
                  <a:lnTo>
                    <a:pt x="599" y="2471"/>
                  </a:lnTo>
                  <a:lnTo>
                    <a:pt x="554" y="2541"/>
                  </a:lnTo>
                  <a:lnTo>
                    <a:pt x="506" y="2615"/>
                  </a:lnTo>
                  <a:lnTo>
                    <a:pt x="458" y="2693"/>
                  </a:lnTo>
                  <a:lnTo>
                    <a:pt x="408" y="2772"/>
                  </a:lnTo>
                  <a:lnTo>
                    <a:pt x="359" y="2854"/>
                  </a:lnTo>
                  <a:lnTo>
                    <a:pt x="310" y="2935"/>
                  </a:lnTo>
                  <a:lnTo>
                    <a:pt x="261" y="3016"/>
                  </a:lnTo>
                  <a:lnTo>
                    <a:pt x="215" y="3097"/>
                  </a:lnTo>
                  <a:lnTo>
                    <a:pt x="172" y="3174"/>
                  </a:lnTo>
                  <a:lnTo>
                    <a:pt x="130" y="3248"/>
                  </a:lnTo>
                  <a:lnTo>
                    <a:pt x="94" y="3319"/>
                  </a:lnTo>
                  <a:lnTo>
                    <a:pt x="78" y="3352"/>
                  </a:lnTo>
                  <a:lnTo>
                    <a:pt x="62" y="3384"/>
                  </a:lnTo>
                  <a:lnTo>
                    <a:pt x="48" y="3414"/>
                  </a:lnTo>
                  <a:lnTo>
                    <a:pt x="36" y="34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8" name="Freeform 84"/>
            <p:cNvSpPr>
              <a:spLocks noChangeArrowheads="1"/>
            </p:cNvSpPr>
            <p:nvPr/>
          </p:nvSpPr>
          <p:spPr bwMode="auto">
            <a:xfrm>
              <a:off x="738188" y="5519717"/>
              <a:ext cx="395287" cy="860443"/>
            </a:xfrm>
            <a:custGeom>
              <a:avLst/>
              <a:gdLst>
                <a:gd name="T0" fmla="*/ 136 w 881"/>
                <a:gd name="T1" fmla="*/ 1509 h 1546"/>
                <a:gd name="T2" fmla="*/ 96 w 881"/>
                <a:gd name="T3" fmla="*/ 1435 h 1546"/>
                <a:gd name="T4" fmla="*/ 57 w 881"/>
                <a:gd name="T5" fmla="*/ 1360 h 1546"/>
                <a:gd name="T6" fmla="*/ 19 w 881"/>
                <a:gd name="T7" fmla="*/ 1285 h 1546"/>
                <a:gd name="T8" fmla="*/ 0 w 881"/>
                <a:gd name="T9" fmla="*/ 849 h 1546"/>
                <a:gd name="T10" fmla="*/ 81 w 881"/>
                <a:gd name="T11" fmla="*/ 1025 h 1546"/>
                <a:gd name="T12" fmla="*/ 167 w 881"/>
                <a:gd name="T13" fmla="*/ 1200 h 1546"/>
                <a:gd name="T14" fmla="*/ 256 w 881"/>
                <a:gd name="T15" fmla="*/ 1374 h 1546"/>
                <a:gd name="T16" fmla="*/ 351 w 881"/>
                <a:gd name="T17" fmla="*/ 1546 h 1546"/>
                <a:gd name="T18" fmla="*/ 0 w 881"/>
                <a:gd name="T19" fmla="*/ 0 h 1546"/>
                <a:gd name="T20" fmla="*/ 84 w 881"/>
                <a:gd name="T21" fmla="*/ 152 h 1546"/>
                <a:gd name="T22" fmla="*/ 172 w 881"/>
                <a:gd name="T23" fmla="*/ 303 h 1546"/>
                <a:gd name="T24" fmla="*/ 263 w 881"/>
                <a:gd name="T25" fmla="*/ 454 h 1546"/>
                <a:gd name="T26" fmla="*/ 355 w 881"/>
                <a:gd name="T27" fmla="*/ 606 h 1546"/>
                <a:gd name="T28" fmla="*/ 451 w 881"/>
                <a:gd name="T29" fmla="*/ 759 h 1546"/>
                <a:gd name="T30" fmla="*/ 551 w 881"/>
                <a:gd name="T31" fmla="*/ 915 h 1546"/>
                <a:gd name="T32" fmla="*/ 653 w 881"/>
                <a:gd name="T33" fmla="*/ 1074 h 1546"/>
                <a:gd name="T34" fmla="*/ 759 w 881"/>
                <a:gd name="T35" fmla="*/ 1237 h 1546"/>
                <a:gd name="T36" fmla="*/ 824 w 881"/>
                <a:gd name="T37" fmla="*/ 1338 h 1546"/>
                <a:gd name="T38" fmla="*/ 830 w 881"/>
                <a:gd name="T39" fmla="*/ 1354 h 1546"/>
                <a:gd name="T40" fmla="*/ 837 w 881"/>
                <a:gd name="T41" fmla="*/ 1384 h 1546"/>
                <a:gd name="T42" fmla="*/ 848 w 881"/>
                <a:gd name="T43" fmla="*/ 1426 h 1546"/>
                <a:gd name="T44" fmla="*/ 860 w 881"/>
                <a:gd name="T45" fmla="*/ 1473 h 1546"/>
                <a:gd name="T46" fmla="*/ 873 w 881"/>
                <a:gd name="T47" fmla="*/ 1521 h 1546"/>
                <a:gd name="T48" fmla="*/ 703 w 881"/>
                <a:gd name="T49" fmla="*/ 1546 h 1546"/>
                <a:gd name="T50" fmla="*/ 684 w 881"/>
                <a:gd name="T51" fmla="*/ 1476 h 1546"/>
                <a:gd name="T52" fmla="*/ 668 w 881"/>
                <a:gd name="T53" fmla="*/ 1410 h 1546"/>
                <a:gd name="T54" fmla="*/ 574 w 881"/>
                <a:gd name="T55" fmla="*/ 1266 h 1546"/>
                <a:gd name="T56" fmla="*/ 491 w 881"/>
                <a:gd name="T57" fmla="*/ 1138 h 1546"/>
                <a:gd name="T58" fmla="*/ 410 w 881"/>
                <a:gd name="T59" fmla="*/ 1012 h 1546"/>
                <a:gd name="T60" fmla="*/ 332 w 881"/>
                <a:gd name="T61" fmla="*/ 888 h 1546"/>
                <a:gd name="T62" fmla="*/ 254 w 881"/>
                <a:gd name="T63" fmla="*/ 767 h 1546"/>
                <a:gd name="T64" fmla="*/ 179 w 881"/>
                <a:gd name="T65" fmla="*/ 646 h 1546"/>
                <a:gd name="T66" fmla="*/ 106 w 881"/>
                <a:gd name="T67" fmla="*/ 526 h 1546"/>
                <a:gd name="T68" fmla="*/ 35 w 881"/>
                <a:gd name="T69" fmla="*/ 407 h 1546"/>
                <a:gd name="T70" fmla="*/ 0 w 881"/>
                <a:gd name="T71" fmla="*/ 0 h 1546"/>
                <a:gd name="T72" fmla="*/ 832 w 881"/>
                <a:gd name="T73" fmla="*/ 1364 h 1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1" h="1546">
                  <a:moveTo>
                    <a:pt x="156" y="1546"/>
                  </a:moveTo>
                  <a:lnTo>
                    <a:pt x="136" y="1509"/>
                  </a:lnTo>
                  <a:lnTo>
                    <a:pt x="115" y="1472"/>
                  </a:lnTo>
                  <a:lnTo>
                    <a:pt x="96" y="1435"/>
                  </a:lnTo>
                  <a:lnTo>
                    <a:pt x="76" y="1398"/>
                  </a:lnTo>
                  <a:lnTo>
                    <a:pt x="57" y="1360"/>
                  </a:lnTo>
                  <a:lnTo>
                    <a:pt x="38" y="1323"/>
                  </a:lnTo>
                  <a:lnTo>
                    <a:pt x="19" y="1285"/>
                  </a:lnTo>
                  <a:lnTo>
                    <a:pt x="0" y="1248"/>
                  </a:lnTo>
                  <a:lnTo>
                    <a:pt x="0" y="849"/>
                  </a:lnTo>
                  <a:lnTo>
                    <a:pt x="40" y="937"/>
                  </a:lnTo>
                  <a:lnTo>
                    <a:pt x="81" y="1025"/>
                  </a:lnTo>
                  <a:lnTo>
                    <a:pt x="123" y="1113"/>
                  </a:lnTo>
                  <a:lnTo>
                    <a:pt x="167" y="1200"/>
                  </a:lnTo>
                  <a:lnTo>
                    <a:pt x="211" y="1287"/>
                  </a:lnTo>
                  <a:lnTo>
                    <a:pt x="256" y="1374"/>
                  </a:lnTo>
                  <a:lnTo>
                    <a:pt x="303" y="1460"/>
                  </a:lnTo>
                  <a:lnTo>
                    <a:pt x="351" y="1546"/>
                  </a:lnTo>
                  <a:lnTo>
                    <a:pt x="156" y="1546"/>
                  </a:lnTo>
                  <a:close/>
                  <a:moveTo>
                    <a:pt x="0" y="0"/>
                  </a:moveTo>
                  <a:lnTo>
                    <a:pt x="42" y="76"/>
                  </a:lnTo>
                  <a:lnTo>
                    <a:pt x="84" y="152"/>
                  </a:lnTo>
                  <a:lnTo>
                    <a:pt x="128" y="228"/>
                  </a:lnTo>
                  <a:lnTo>
                    <a:pt x="172" y="303"/>
                  </a:lnTo>
                  <a:lnTo>
                    <a:pt x="216" y="379"/>
                  </a:lnTo>
                  <a:lnTo>
                    <a:pt x="263" y="454"/>
                  </a:lnTo>
                  <a:lnTo>
                    <a:pt x="308" y="530"/>
                  </a:lnTo>
                  <a:lnTo>
                    <a:pt x="355" y="606"/>
                  </a:lnTo>
                  <a:lnTo>
                    <a:pt x="403" y="682"/>
                  </a:lnTo>
                  <a:lnTo>
                    <a:pt x="451" y="759"/>
                  </a:lnTo>
                  <a:lnTo>
                    <a:pt x="501" y="837"/>
                  </a:lnTo>
                  <a:lnTo>
                    <a:pt x="551" y="915"/>
                  </a:lnTo>
                  <a:lnTo>
                    <a:pt x="602" y="993"/>
                  </a:lnTo>
                  <a:lnTo>
                    <a:pt x="653" y="1074"/>
                  </a:lnTo>
                  <a:lnTo>
                    <a:pt x="706" y="1155"/>
                  </a:lnTo>
                  <a:lnTo>
                    <a:pt x="759" y="1237"/>
                  </a:lnTo>
                  <a:lnTo>
                    <a:pt x="820" y="1330"/>
                  </a:lnTo>
                  <a:lnTo>
                    <a:pt x="824" y="1338"/>
                  </a:lnTo>
                  <a:lnTo>
                    <a:pt x="828" y="1346"/>
                  </a:lnTo>
                  <a:lnTo>
                    <a:pt x="830" y="1354"/>
                  </a:lnTo>
                  <a:lnTo>
                    <a:pt x="832" y="1364"/>
                  </a:lnTo>
                  <a:lnTo>
                    <a:pt x="837" y="1384"/>
                  </a:lnTo>
                  <a:lnTo>
                    <a:pt x="843" y="1405"/>
                  </a:lnTo>
                  <a:lnTo>
                    <a:pt x="848" y="1426"/>
                  </a:lnTo>
                  <a:lnTo>
                    <a:pt x="854" y="1449"/>
                  </a:lnTo>
                  <a:lnTo>
                    <a:pt x="860" y="1473"/>
                  </a:lnTo>
                  <a:lnTo>
                    <a:pt x="866" y="1497"/>
                  </a:lnTo>
                  <a:lnTo>
                    <a:pt x="873" y="1521"/>
                  </a:lnTo>
                  <a:lnTo>
                    <a:pt x="881" y="1546"/>
                  </a:lnTo>
                  <a:lnTo>
                    <a:pt x="703" y="1546"/>
                  </a:lnTo>
                  <a:lnTo>
                    <a:pt x="693" y="1510"/>
                  </a:lnTo>
                  <a:lnTo>
                    <a:pt x="684" y="1476"/>
                  </a:lnTo>
                  <a:lnTo>
                    <a:pt x="676" y="1442"/>
                  </a:lnTo>
                  <a:lnTo>
                    <a:pt x="668" y="1410"/>
                  </a:lnTo>
                  <a:lnTo>
                    <a:pt x="616" y="1331"/>
                  </a:lnTo>
                  <a:lnTo>
                    <a:pt x="574" y="1266"/>
                  </a:lnTo>
                  <a:lnTo>
                    <a:pt x="533" y="1201"/>
                  </a:lnTo>
                  <a:lnTo>
                    <a:pt x="491" y="1138"/>
                  </a:lnTo>
                  <a:lnTo>
                    <a:pt x="450" y="1074"/>
                  </a:lnTo>
                  <a:lnTo>
                    <a:pt x="410" y="1012"/>
                  </a:lnTo>
                  <a:lnTo>
                    <a:pt x="371" y="950"/>
                  </a:lnTo>
                  <a:lnTo>
                    <a:pt x="332" y="888"/>
                  </a:lnTo>
                  <a:lnTo>
                    <a:pt x="293" y="828"/>
                  </a:lnTo>
                  <a:lnTo>
                    <a:pt x="254" y="767"/>
                  </a:lnTo>
                  <a:lnTo>
                    <a:pt x="217" y="707"/>
                  </a:lnTo>
                  <a:lnTo>
                    <a:pt x="179" y="646"/>
                  </a:lnTo>
                  <a:lnTo>
                    <a:pt x="143" y="586"/>
                  </a:lnTo>
                  <a:lnTo>
                    <a:pt x="106" y="526"/>
                  </a:lnTo>
                  <a:lnTo>
                    <a:pt x="70" y="467"/>
                  </a:lnTo>
                  <a:lnTo>
                    <a:pt x="35" y="407"/>
                  </a:lnTo>
                  <a:lnTo>
                    <a:pt x="0" y="347"/>
                  </a:lnTo>
                  <a:lnTo>
                    <a:pt x="0" y="0"/>
                  </a:lnTo>
                  <a:close/>
                  <a:moveTo>
                    <a:pt x="831" y="1359"/>
                  </a:moveTo>
                  <a:lnTo>
                    <a:pt x="832" y="1364"/>
                  </a:lnTo>
                  <a:lnTo>
                    <a:pt x="831" y="13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09" name="Freeform 85"/>
            <p:cNvSpPr>
              <a:spLocks noChangeArrowheads="1"/>
            </p:cNvSpPr>
            <p:nvPr/>
          </p:nvSpPr>
          <p:spPr bwMode="auto">
            <a:xfrm>
              <a:off x="738188" y="5618144"/>
              <a:ext cx="358775" cy="762016"/>
            </a:xfrm>
            <a:custGeom>
              <a:avLst/>
              <a:gdLst>
                <a:gd name="T0" fmla="*/ 253 w 792"/>
                <a:gd name="T1" fmla="*/ 1370 h 1370"/>
                <a:gd name="T2" fmla="*/ 219 w 792"/>
                <a:gd name="T3" fmla="*/ 1309 h 1370"/>
                <a:gd name="T4" fmla="*/ 186 w 792"/>
                <a:gd name="T5" fmla="*/ 1248 h 1370"/>
                <a:gd name="T6" fmla="*/ 155 w 792"/>
                <a:gd name="T7" fmla="*/ 1187 h 1370"/>
                <a:gd name="T8" fmla="*/ 123 w 792"/>
                <a:gd name="T9" fmla="*/ 1125 h 1370"/>
                <a:gd name="T10" fmla="*/ 91 w 792"/>
                <a:gd name="T11" fmla="*/ 1063 h 1370"/>
                <a:gd name="T12" fmla="*/ 60 w 792"/>
                <a:gd name="T13" fmla="*/ 1001 h 1370"/>
                <a:gd name="T14" fmla="*/ 30 w 792"/>
                <a:gd name="T15" fmla="*/ 939 h 1370"/>
                <a:gd name="T16" fmla="*/ 0 w 792"/>
                <a:gd name="T17" fmla="*/ 877 h 1370"/>
                <a:gd name="T18" fmla="*/ 0 w 792"/>
                <a:gd name="T19" fmla="*/ 0 h 1370"/>
                <a:gd name="T20" fmla="*/ 41 w 792"/>
                <a:gd name="T21" fmla="*/ 73 h 1370"/>
                <a:gd name="T22" fmla="*/ 83 w 792"/>
                <a:gd name="T23" fmla="*/ 146 h 1370"/>
                <a:gd name="T24" fmla="*/ 127 w 792"/>
                <a:gd name="T25" fmla="*/ 219 h 1370"/>
                <a:gd name="T26" fmla="*/ 170 w 792"/>
                <a:gd name="T27" fmla="*/ 292 h 1370"/>
                <a:gd name="T28" fmla="*/ 214 w 792"/>
                <a:gd name="T29" fmla="*/ 364 h 1370"/>
                <a:gd name="T30" fmla="*/ 260 w 792"/>
                <a:gd name="T31" fmla="*/ 437 h 1370"/>
                <a:gd name="T32" fmla="*/ 305 w 792"/>
                <a:gd name="T33" fmla="*/ 510 h 1370"/>
                <a:gd name="T34" fmla="*/ 351 w 792"/>
                <a:gd name="T35" fmla="*/ 584 h 1370"/>
                <a:gd name="T36" fmla="*/ 399 w 792"/>
                <a:gd name="T37" fmla="*/ 659 h 1370"/>
                <a:gd name="T38" fmla="*/ 446 w 792"/>
                <a:gd name="T39" fmla="*/ 733 h 1370"/>
                <a:gd name="T40" fmla="*/ 494 w 792"/>
                <a:gd name="T41" fmla="*/ 808 h 1370"/>
                <a:gd name="T42" fmla="*/ 544 w 792"/>
                <a:gd name="T43" fmla="*/ 884 h 1370"/>
                <a:gd name="T44" fmla="*/ 593 w 792"/>
                <a:gd name="T45" fmla="*/ 962 h 1370"/>
                <a:gd name="T46" fmla="*/ 644 w 792"/>
                <a:gd name="T47" fmla="*/ 1040 h 1370"/>
                <a:gd name="T48" fmla="*/ 695 w 792"/>
                <a:gd name="T49" fmla="*/ 1120 h 1370"/>
                <a:gd name="T50" fmla="*/ 748 w 792"/>
                <a:gd name="T51" fmla="*/ 1200 h 1370"/>
                <a:gd name="T52" fmla="*/ 752 w 792"/>
                <a:gd name="T53" fmla="*/ 1219 h 1370"/>
                <a:gd name="T54" fmla="*/ 757 w 792"/>
                <a:gd name="T55" fmla="*/ 1239 h 1370"/>
                <a:gd name="T56" fmla="*/ 762 w 792"/>
                <a:gd name="T57" fmla="*/ 1260 h 1370"/>
                <a:gd name="T58" fmla="*/ 767 w 792"/>
                <a:gd name="T59" fmla="*/ 1280 h 1370"/>
                <a:gd name="T60" fmla="*/ 773 w 792"/>
                <a:gd name="T61" fmla="*/ 1302 h 1370"/>
                <a:gd name="T62" fmla="*/ 779 w 792"/>
                <a:gd name="T63" fmla="*/ 1325 h 1370"/>
                <a:gd name="T64" fmla="*/ 785 w 792"/>
                <a:gd name="T65" fmla="*/ 1347 h 1370"/>
                <a:gd name="T66" fmla="*/ 792 w 792"/>
                <a:gd name="T67" fmla="*/ 1370 h 1370"/>
                <a:gd name="T68" fmla="*/ 253 w 792"/>
                <a:gd name="T69" fmla="*/ 137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92" h="1370">
                  <a:moveTo>
                    <a:pt x="253" y="1370"/>
                  </a:moveTo>
                  <a:lnTo>
                    <a:pt x="219" y="1309"/>
                  </a:lnTo>
                  <a:lnTo>
                    <a:pt x="186" y="1248"/>
                  </a:lnTo>
                  <a:lnTo>
                    <a:pt x="155" y="1187"/>
                  </a:lnTo>
                  <a:lnTo>
                    <a:pt x="123" y="1125"/>
                  </a:lnTo>
                  <a:lnTo>
                    <a:pt x="91" y="1063"/>
                  </a:lnTo>
                  <a:lnTo>
                    <a:pt x="60" y="1001"/>
                  </a:lnTo>
                  <a:lnTo>
                    <a:pt x="30" y="939"/>
                  </a:lnTo>
                  <a:lnTo>
                    <a:pt x="0" y="877"/>
                  </a:lnTo>
                  <a:lnTo>
                    <a:pt x="0" y="0"/>
                  </a:lnTo>
                  <a:lnTo>
                    <a:pt x="41" y="73"/>
                  </a:lnTo>
                  <a:lnTo>
                    <a:pt x="83" y="146"/>
                  </a:lnTo>
                  <a:lnTo>
                    <a:pt x="127" y="219"/>
                  </a:lnTo>
                  <a:lnTo>
                    <a:pt x="170" y="292"/>
                  </a:lnTo>
                  <a:lnTo>
                    <a:pt x="214" y="364"/>
                  </a:lnTo>
                  <a:lnTo>
                    <a:pt x="260" y="437"/>
                  </a:lnTo>
                  <a:lnTo>
                    <a:pt x="305" y="510"/>
                  </a:lnTo>
                  <a:lnTo>
                    <a:pt x="351" y="584"/>
                  </a:lnTo>
                  <a:lnTo>
                    <a:pt x="399" y="659"/>
                  </a:lnTo>
                  <a:lnTo>
                    <a:pt x="446" y="733"/>
                  </a:lnTo>
                  <a:lnTo>
                    <a:pt x="494" y="808"/>
                  </a:lnTo>
                  <a:lnTo>
                    <a:pt x="544" y="884"/>
                  </a:lnTo>
                  <a:lnTo>
                    <a:pt x="593" y="962"/>
                  </a:lnTo>
                  <a:lnTo>
                    <a:pt x="644" y="1040"/>
                  </a:lnTo>
                  <a:lnTo>
                    <a:pt x="695" y="1120"/>
                  </a:lnTo>
                  <a:lnTo>
                    <a:pt x="748" y="1200"/>
                  </a:lnTo>
                  <a:lnTo>
                    <a:pt x="752" y="1219"/>
                  </a:lnTo>
                  <a:lnTo>
                    <a:pt x="757" y="1239"/>
                  </a:lnTo>
                  <a:lnTo>
                    <a:pt x="762" y="1260"/>
                  </a:lnTo>
                  <a:lnTo>
                    <a:pt x="767" y="1280"/>
                  </a:lnTo>
                  <a:lnTo>
                    <a:pt x="773" y="1302"/>
                  </a:lnTo>
                  <a:lnTo>
                    <a:pt x="779" y="1325"/>
                  </a:lnTo>
                  <a:lnTo>
                    <a:pt x="785" y="1347"/>
                  </a:lnTo>
                  <a:lnTo>
                    <a:pt x="792" y="1370"/>
                  </a:lnTo>
                  <a:lnTo>
                    <a:pt x="253" y="13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0" name="Freeform 86"/>
            <p:cNvSpPr>
              <a:spLocks noChangeArrowheads="1"/>
            </p:cNvSpPr>
            <p:nvPr/>
          </p:nvSpPr>
          <p:spPr bwMode="auto">
            <a:xfrm>
              <a:off x="738188" y="6124567"/>
              <a:ext cx="157162" cy="257180"/>
            </a:xfrm>
            <a:custGeom>
              <a:avLst/>
              <a:gdLst>
                <a:gd name="T0" fmla="*/ 0 w 345"/>
                <a:gd name="T1" fmla="*/ 0 h 463"/>
                <a:gd name="T2" fmla="*/ 35 w 345"/>
                <a:gd name="T3" fmla="*/ 52 h 463"/>
                <a:gd name="T4" fmla="*/ 71 w 345"/>
                <a:gd name="T5" fmla="*/ 101 h 463"/>
                <a:gd name="T6" fmla="*/ 106 w 345"/>
                <a:gd name="T7" fmla="*/ 151 h 463"/>
                <a:gd name="T8" fmla="*/ 143 w 345"/>
                <a:gd name="T9" fmla="*/ 200 h 463"/>
                <a:gd name="T10" fmla="*/ 179 w 345"/>
                <a:gd name="T11" fmla="*/ 249 h 463"/>
                <a:gd name="T12" fmla="*/ 216 w 345"/>
                <a:gd name="T13" fmla="*/ 298 h 463"/>
                <a:gd name="T14" fmla="*/ 253 w 345"/>
                <a:gd name="T15" fmla="*/ 347 h 463"/>
                <a:gd name="T16" fmla="*/ 290 w 345"/>
                <a:gd name="T17" fmla="*/ 394 h 463"/>
                <a:gd name="T18" fmla="*/ 345 w 345"/>
                <a:gd name="T19" fmla="*/ 463 h 463"/>
                <a:gd name="T20" fmla="*/ 128 w 345"/>
                <a:gd name="T21" fmla="*/ 463 h 463"/>
                <a:gd name="T22" fmla="*/ 111 w 345"/>
                <a:gd name="T23" fmla="*/ 442 h 463"/>
                <a:gd name="T24" fmla="*/ 95 w 345"/>
                <a:gd name="T25" fmla="*/ 421 h 463"/>
                <a:gd name="T26" fmla="*/ 79 w 345"/>
                <a:gd name="T27" fmla="*/ 400 h 463"/>
                <a:gd name="T28" fmla="*/ 63 w 345"/>
                <a:gd name="T29" fmla="*/ 380 h 463"/>
                <a:gd name="T30" fmla="*/ 47 w 345"/>
                <a:gd name="T31" fmla="*/ 358 h 463"/>
                <a:gd name="T32" fmla="*/ 31 w 345"/>
                <a:gd name="T33" fmla="*/ 337 h 463"/>
                <a:gd name="T34" fmla="*/ 15 w 345"/>
                <a:gd name="T35" fmla="*/ 316 h 463"/>
                <a:gd name="T36" fmla="*/ 0 w 345"/>
                <a:gd name="T37" fmla="*/ 295 h 463"/>
                <a:gd name="T38" fmla="*/ 0 w 345"/>
                <a:gd name="T39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" h="463">
                  <a:moveTo>
                    <a:pt x="0" y="0"/>
                  </a:moveTo>
                  <a:lnTo>
                    <a:pt x="35" y="52"/>
                  </a:lnTo>
                  <a:lnTo>
                    <a:pt x="71" y="101"/>
                  </a:lnTo>
                  <a:lnTo>
                    <a:pt x="106" y="151"/>
                  </a:lnTo>
                  <a:lnTo>
                    <a:pt x="143" y="200"/>
                  </a:lnTo>
                  <a:lnTo>
                    <a:pt x="179" y="249"/>
                  </a:lnTo>
                  <a:lnTo>
                    <a:pt x="216" y="298"/>
                  </a:lnTo>
                  <a:lnTo>
                    <a:pt x="253" y="347"/>
                  </a:lnTo>
                  <a:lnTo>
                    <a:pt x="290" y="394"/>
                  </a:lnTo>
                  <a:lnTo>
                    <a:pt x="345" y="463"/>
                  </a:lnTo>
                  <a:lnTo>
                    <a:pt x="128" y="463"/>
                  </a:lnTo>
                  <a:lnTo>
                    <a:pt x="111" y="442"/>
                  </a:lnTo>
                  <a:lnTo>
                    <a:pt x="95" y="421"/>
                  </a:lnTo>
                  <a:lnTo>
                    <a:pt x="79" y="400"/>
                  </a:lnTo>
                  <a:lnTo>
                    <a:pt x="63" y="380"/>
                  </a:lnTo>
                  <a:lnTo>
                    <a:pt x="47" y="358"/>
                  </a:lnTo>
                  <a:lnTo>
                    <a:pt x="31" y="337"/>
                  </a:lnTo>
                  <a:lnTo>
                    <a:pt x="15" y="316"/>
                  </a:lnTo>
                  <a:lnTo>
                    <a:pt x="0" y="2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1" name="Freeform 87"/>
            <p:cNvSpPr>
              <a:spLocks noChangeArrowheads="1"/>
            </p:cNvSpPr>
            <p:nvPr/>
          </p:nvSpPr>
          <p:spPr bwMode="auto">
            <a:xfrm>
              <a:off x="738188" y="6203943"/>
              <a:ext cx="107950" cy="177804"/>
            </a:xfrm>
            <a:custGeom>
              <a:avLst/>
              <a:gdLst>
                <a:gd name="T0" fmla="*/ 0 w 236"/>
                <a:gd name="T1" fmla="*/ 0 h 313"/>
                <a:gd name="T2" fmla="*/ 29 w 236"/>
                <a:gd name="T3" fmla="*/ 40 h 313"/>
                <a:gd name="T4" fmla="*/ 58 w 236"/>
                <a:gd name="T5" fmla="*/ 79 h 313"/>
                <a:gd name="T6" fmla="*/ 87 w 236"/>
                <a:gd name="T7" fmla="*/ 118 h 313"/>
                <a:gd name="T8" fmla="*/ 116 w 236"/>
                <a:gd name="T9" fmla="*/ 157 h 313"/>
                <a:gd name="T10" fmla="*/ 145 w 236"/>
                <a:gd name="T11" fmla="*/ 197 h 313"/>
                <a:gd name="T12" fmla="*/ 175 w 236"/>
                <a:gd name="T13" fmla="*/ 236 h 313"/>
                <a:gd name="T14" fmla="*/ 206 w 236"/>
                <a:gd name="T15" fmla="*/ 275 h 313"/>
                <a:gd name="T16" fmla="*/ 236 w 236"/>
                <a:gd name="T17" fmla="*/ 313 h 313"/>
                <a:gd name="T18" fmla="*/ 0 w 236"/>
                <a:gd name="T19" fmla="*/ 313 h 313"/>
                <a:gd name="T20" fmla="*/ 0 w 236"/>
                <a:gd name="T2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6" h="313">
                  <a:moveTo>
                    <a:pt x="0" y="0"/>
                  </a:moveTo>
                  <a:lnTo>
                    <a:pt x="29" y="40"/>
                  </a:lnTo>
                  <a:lnTo>
                    <a:pt x="58" y="79"/>
                  </a:lnTo>
                  <a:lnTo>
                    <a:pt x="87" y="118"/>
                  </a:lnTo>
                  <a:lnTo>
                    <a:pt x="116" y="157"/>
                  </a:lnTo>
                  <a:lnTo>
                    <a:pt x="145" y="197"/>
                  </a:lnTo>
                  <a:lnTo>
                    <a:pt x="175" y="236"/>
                  </a:lnTo>
                  <a:lnTo>
                    <a:pt x="206" y="275"/>
                  </a:lnTo>
                  <a:lnTo>
                    <a:pt x="236" y="313"/>
                  </a:lnTo>
                  <a:lnTo>
                    <a:pt x="0" y="3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2" name="Freeform 88"/>
            <p:cNvSpPr>
              <a:spLocks noChangeArrowheads="1"/>
            </p:cNvSpPr>
            <p:nvPr/>
          </p:nvSpPr>
          <p:spPr bwMode="auto">
            <a:xfrm>
              <a:off x="1270000" y="1943003"/>
              <a:ext cx="417513" cy="1747875"/>
            </a:xfrm>
            <a:custGeom>
              <a:avLst/>
              <a:gdLst>
                <a:gd name="T0" fmla="*/ 16 w 924"/>
                <a:gd name="T1" fmla="*/ 2905 h 3147"/>
                <a:gd name="T2" fmla="*/ 1 w 924"/>
                <a:gd name="T3" fmla="*/ 2631 h 3147"/>
                <a:gd name="T4" fmla="*/ 5 w 924"/>
                <a:gd name="T5" fmla="*/ 2357 h 3147"/>
                <a:gd name="T6" fmla="*/ 28 w 924"/>
                <a:gd name="T7" fmla="*/ 2056 h 3147"/>
                <a:gd name="T8" fmla="*/ 83 w 924"/>
                <a:gd name="T9" fmla="*/ 1711 h 3147"/>
                <a:gd name="T10" fmla="*/ 165 w 924"/>
                <a:gd name="T11" fmla="*/ 1368 h 3147"/>
                <a:gd name="T12" fmla="*/ 275 w 924"/>
                <a:gd name="T13" fmla="*/ 1029 h 3147"/>
                <a:gd name="T14" fmla="*/ 412 w 924"/>
                <a:gd name="T15" fmla="*/ 694 h 3147"/>
                <a:gd name="T16" fmla="*/ 576 w 924"/>
                <a:gd name="T17" fmla="*/ 364 h 3147"/>
                <a:gd name="T18" fmla="*/ 766 w 924"/>
                <a:gd name="T19" fmla="*/ 39 h 3147"/>
                <a:gd name="T20" fmla="*/ 797 w 924"/>
                <a:gd name="T21" fmla="*/ 10 h 3147"/>
                <a:gd name="T22" fmla="*/ 836 w 924"/>
                <a:gd name="T23" fmla="*/ 0 h 3147"/>
                <a:gd name="T24" fmla="*/ 877 w 924"/>
                <a:gd name="T25" fmla="*/ 9 h 3147"/>
                <a:gd name="T26" fmla="*/ 906 w 924"/>
                <a:gd name="T27" fmla="*/ 33 h 3147"/>
                <a:gd name="T28" fmla="*/ 921 w 924"/>
                <a:gd name="T29" fmla="*/ 64 h 3147"/>
                <a:gd name="T30" fmla="*/ 923 w 924"/>
                <a:gd name="T31" fmla="*/ 99 h 3147"/>
                <a:gd name="T32" fmla="*/ 906 w 924"/>
                <a:gd name="T33" fmla="*/ 169 h 3147"/>
                <a:gd name="T34" fmla="*/ 854 w 924"/>
                <a:gd name="T35" fmla="*/ 427 h 3147"/>
                <a:gd name="T36" fmla="*/ 798 w 924"/>
                <a:gd name="T37" fmla="*/ 858 h 3147"/>
                <a:gd name="T38" fmla="*/ 755 w 924"/>
                <a:gd name="T39" fmla="*/ 1418 h 3147"/>
                <a:gd name="T40" fmla="*/ 732 w 924"/>
                <a:gd name="T41" fmla="*/ 1935 h 3147"/>
                <a:gd name="T42" fmla="*/ 717 w 924"/>
                <a:gd name="T43" fmla="*/ 2229 h 3147"/>
                <a:gd name="T44" fmla="*/ 704 w 924"/>
                <a:gd name="T45" fmla="*/ 2374 h 3147"/>
                <a:gd name="T46" fmla="*/ 648 w 924"/>
                <a:gd name="T47" fmla="*/ 2472 h 3147"/>
                <a:gd name="T48" fmla="*/ 494 w 924"/>
                <a:gd name="T49" fmla="*/ 2673 h 3147"/>
                <a:gd name="T50" fmla="*/ 350 w 924"/>
                <a:gd name="T51" fmla="*/ 2845 h 3147"/>
                <a:gd name="T52" fmla="*/ 251 w 924"/>
                <a:gd name="T53" fmla="*/ 2988 h 3147"/>
                <a:gd name="T54" fmla="*/ 192 w 924"/>
                <a:gd name="T55" fmla="*/ 3103 h 3147"/>
                <a:gd name="T56" fmla="*/ 164 w 924"/>
                <a:gd name="T57" fmla="*/ 3133 h 3147"/>
                <a:gd name="T58" fmla="*/ 126 w 924"/>
                <a:gd name="T59" fmla="*/ 3146 h 3147"/>
                <a:gd name="T60" fmla="*/ 85 w 924"/>
                <a:gd name="T61" fmla="*/ 3140 h 3147"/>
                <a:gd name="T62" fmla="*/ 44 w 924"/>
                <a:gd name="T63" fmla="*/ 3103 h 3147"/>
                <a:gd name="T64" fmla="*/ 172 w 924"/>
                <a:gd name="T65" fmla="*/ 2627 h 3147"/>
                <a:gd name="T66" fmla="*/ 176 w 924"/>
                <a:gd name="T67" fmla="*/ 2727 h 3147"/>
                <a:gd name="T68" fmla="*/ 216 w 924"/>
                <a:gd name="T69" fmla="*/ 2739 h 3147"/>
                <a:gd name="T70" fmla="*/ 311 w 924"/>
                <a:gd name="T71" fmla="*/ 2623 h 3147"/>
                <a:gd name="T72" fmla="*/ 419 w 924"/>
                <a:gd name="T73" fmla="*/ 2496 h 3147"/>
                <a:gd name="T74" fmla="*/ 522 w 924"/>
                <a:gd name="T75" fmla="*/ 2353 h 3147"/>
                <a:gd name="T76" fmla="*/ 550 w 924"/>
                <a:gd name="T77" fmla="*/ 2146 h 3147"/>
                <a:gd name="T78" fmla="*/ 564 w 924"/>
                <a:gd name="T79" fmla="*/ 1868 h 3147"/>
                <a:gd name="T80" fmla="*/ 582 w 924"/>
                <a:gd name="T81" fmla="*/ 1456 h 3147"/>
                <a:gd name="T82" fmla="*/ 609 w 924"/>
                <a:gd name="T83" fmla="*/ 1048 h 3147"/>
                <a:gd name="T84" fmla="*/ 649 w 924"/>
                <a:gd name="T85" fmla="*/ 650 h 3147"/>
                <a:gd name="T86" fmla="*/ 565 w 924"/>
                <a:gd name="T87" fmla="*/ 771 h 3147"/>
                <a:gd name="T88" fmla="*/ 460 w 924"/>
                <a:gd name="T89" fmla="*/ 1023 h 3147"/>
                <a:gd name="T90" fmla="*/ 370 w 924"/>
                <a:gd name="T91" fmla="*/ 1278 h 3147"/>
                <a:gd name="T92" fmla="*/ 298 w 924"/>
                <a:gd name="T93" fmla="*/ 1535 h 3147"/>
                <a:gd name="T94" fmla="*/ 241 w 924"/>
                <a:gd name="T95" fmla="*/ 1793 h 3147"/>
                <a:gd name="T96" fmla="*/ 201 w 924"/>
                <a:gd name="T97" fmla="*/ 2053 h 3147"/>
                <a:gd name="T98" fmla="*/ 178 w 924"/>
                <a:gd name="T99" fmla="*/ 2315 h 3147"/>
                <a:gd name="T100" fmla="*/ 171 w 924"/>
                <a:gd name="T101" fmla="*/ 2576 h 3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4" h="3147">
                  <a:moveTo>
                    <a:pt x="33" y="3072"/>
                  </a:moveTo>
                  <a:lnTo>
                    <a:pt x="32" y="3068"/>
                  </a:lnTo>
                  <a:lnTo>
                    <a:pt x="26" y="3014"/>
                  </a:lnTo>
                  <a:lnTo>
                    <a:pt x="20" y="2959"/>
                  </a:lnTo>
                  <a:lnTo>
                    <a:pt x="16" y="2905"/>
                  </a:lnTo>
                  <a:lnTo>
                    <a:pt x="12" y="2850"/>
                  </a:lnTo>
                  <a:lnTo>
                    <a:pt x="8" y="2796"/>
                  </a:lnTo>
                  <a:lnTo>
                    <a:pt x="5" y="2741"/>
                  </a:lnTo>
                  <a:lnTo>
                    <a:pt x="2" y="2686"/>
                  </a:lnTo>
                  <a:lnTo>
                    <a:pt x="1" y="2631"/>
                  </a:lnTo>
                  <a:lnTo>
                    <a:pt x="0" y="2576"/>
                  </a:lnTo>
                  <a:lnTo>
                    <a:pt x="0" y="2521"/>
                  </a:lnTo>
                  <a:lnTo>
                    <a:pt x="1" y="2467"/>
                  </a:lnTo>
                  <a:lnTo>
                    <a:pt x="2" y="2412"/>
                  </a:lnTo>
                  <a:lnTo>
                    <a:pt x="5" y="2357"/>
                  </a:lnTo>
                  <a:lnTo>
                    <a:pt x="8" y="2303"/>
                  </a:lnTo>
                  <a:lnTo>
                    <a:pt x="11" y="2249"/>
                  </a:lnTo>
                  <a:lnTo>
                    <a:pt x="15" y="2196"/>
                  </a:lnTo>
                  <a:lnTo>
                    <a:pt x="21" y="2126"/>
                  </a:lnTo>
                  <a:lnTo>
                    <a:pt x="28" y="2056"/>
                  </a:lnTo>
                  <a:lnTo>
                    <a:pt x="37" y="1987"/>
                  </a:lnTo>
                  <a:lnTo>
                    <a:pt x="47" y="1918"/>
                  </a:lnTo>
                  <a:lnTo>
                    <a:pt x="58" y="1849"/>
                  </a:lnTo>
                  <a:lnTo>
                    <a:pt x="69" y="1780"/>
                  </a:lnTo>
                  <a:lnTo>
                    <a:pt x="83" y="1711"/>
                  </a:lnTo>
                  <a:lnTo>
                    <a:pt x="97" y="1642"/>
                  </a:lnTo>
                  <a:lnTo>
                    <a:pt x="113" y="1573"/>
                  </a:lnTo>
                  <a:lnTo>
                    <a:pt x="129" y="1505"/>
                  </a:lnTo>
                  <a:lnTo>
                    <a:pt x="147" y="1436"/>
                  </a:lnTo>
                  <a:lnTo>
                    <a:pt x="165" y="1368"/>
                  </a:lnTo>
                  <a:lnTo>
                    <a:pt x="185" y="1300"/>
                  </a:lnTo>
                  <a:lnTo>
                    <a:pt x="205" y="1232"/>
                  </a:lnTo>
                  <a:lnTo>
                    <a:pt x="228" y="1164"/>
                  </a:lnTo>
                  <a:lnTo>
                    <a:pt x="251" y="1096"/>
                  </a:lnTo>
                  <a:lnTo>
                    <a:pt x="275" y="1029"/>
                  </a:lnTo>
                  <a:lnTo>
                    <a:pt x="300" y="961"/>
                  </a:lnTo>
                  <a:lnTo>
                    <a:pt x="327" y="894"/>
                  </a:lnTo>
                  <a:lnTo>
                    <a:pt x="354" y="827"/>
                  </a:lnTo>
                  <a:lnTo>
                    <a:pt x="383" y="760"/>
                  </a:lnTo>
                  <a:lnTo>
                    <a:pt x="412" y="694"/>
                  </a:lnTo>
                  <a:lnTo>
                    <a:pt x="442" y="627"/>
                  </a:lnTo>
                  <a:lnTo>
                    <a:pt x="474" y="561"/>
                  </a:lnTo>
                  <a:lnTo>
                    <a:pt x="507" y="495"/>
                  </a:lnTo>
                  <a:lnTo>
                    <a:pt x="541" y="429"/>
                  </a:lnTo>
                  <a:lnTo>
                    <a:pt x="576" y="364"/>
                  </a:lnTo>
                  <a:lnTo>
                    <a:pt x="611" y="298"/>
                  </a:lnTo>
                  <a:lnTo>
                    <a:pt x="648" y="233"/>
                  </a:lnTo>
                  <a:lnTo>
                    <a:pt x="686" y="168"/>
                  </a:lnTo>
                  <a:lnTo>
                    <a:pt x="726" y="104"/>
                  </a:lnTo>
                  <a:lnTo>
                    <a:pt x="766" y="39"/>
                  </a:lnTo>
                  <a:lnTo>
                    <a:pt x="771" y="33"/>
                  </a:lnTo>
                  <a:lnTo>
                    <a:pt x="777" y="26"/>
                  </a:lnTo>
                  <a:lnTo>
                    <a:pt x="783" y="20"/>
                  </a:lnTo>
                  <a:lnTo>
                    <a:pt x="789" y="15"/>
                  </a:lnTo>
                  <a:lnTo>
                    <a:pt x="797" y="10"/>
                  </a:lnTo>
                  <a:lnTo>
                    <a:pt x="804" y="7"/>
                  </a:lnTo>
                  <a:lnTo>
                    <a:pt x="812" y="4"/>
                  </a:lnTo>
                  <a:lnTo>
                    <a:pt x="819" y="2"/>
                  </a:lnTo>
                  <a:lnTo>
                    <a:pt x="828" y="1"/>
                  </a:lnTo>
                  <a:lnTo>
                    <a:pt x="836" y="0"/>
                  </a:lnTo>
                  <a:lnTo>
                    <a:pt x="844" y="0"/>
                  </a:lnTo>
                  <a:lnTo>
                    <a:pt x="852" y="1"/>
                  </a:lnTo>
                  <a:lnTo>
                    <a:pt x="860" y="3"/>
                  </a:lnTo>
                  <a:lnTo>
                    <a:pt x="869" y="5"/>
                  </a:lnTo>
                  <a:lnTo>
                    <a:pt x="877" y="9"/>
                  </a:lnTo>
                  <a:lnTo>
                    <a:pt x="884" y="13"/>
                  </a:lnTo>
                  <a:lnTo>
                    <a:pt x="890" y="17"/>
                  </a:lnTo>
                  <a:lnTo>
                    <a:pt x="895" y="23"/>
                  </a:lnTo>
                  <a:lnTo>
                    <a:pt x="901" y="27"/>
                  </a:lnTo>
                  <a:lnTo>
                    <a:pt x="906" y="33"/>
                  </a:lnTo>
                  <a:lnTo>
                    <a:pt x="910" y="38"/>
                  </a:lnTo>
                  <a:lnTo>
                    <a:pt x="913" y="44"/>
                  </a:lnTo>
                  <a:lnTo>
                    <a:pt x="916" y="50"/>
                  </a:lnTo>
                  <a:lnTo>
                    <a:pt x="919" y="58"/>
                  </a:lnTo>
                  <a:lnTo>
                    <a:pt x="921" y="64"/>
                  </a:lnTo>
                  <a:lnTo>
                    <a:pt x="922" y="71"/>
                  </a:lnTo>
                  <a:lnTo>
                    <a:pt x="923" y="78"/>
                  </a:lnTo>
                  <a:lnTo>
                    <a:pt x="924" y="84"/>
                  </a:lnTo>
                  <a:lnTo>
                    <a:pt x="923" y="92"/>
                  </a:lnTo>
                  <a:lnTo>
                    <a:pt x="923" y="99"/>
                  </a:lnTo>
                  <a:lnTo>
                    <a:pt x="921" y="106"/>
                  </a:lnTo>
                  <a:lnTo>
                    <a:pt x="919" y="112"/>
                  </a:lnTo>
                  <a:lnTo>
                    <a:pt x="919" y="113"/>
                  </a:lnTo>
                  <a:lnTo>
                    <a:pt x="918" y="119"/>
                  </a:lnTo>
                  <a:lnTo>
                    <a:pt x="906" y="169"/>
                  </a:lnTo>
                  <a:lnTo>
                    <a:pt x="894" y="220"/>
                  </a:lnTo>
                  <a:lnTo>
                    <a:pt x="884" y="271"/>
                  </a:lnTo>
                  <a:lnTo>
                    <a:pt x="874" y="323"/>
                  </a:lnTo>
                  <a:lnTo>
                    <a:pt x="864" y="374"/>
                  </a:lnTo>
                  <a:lnTo>
                    <a:pt x="854" y="427"/>
                  </a:lnTo>
                  <a:lnTo>
                    <a:pt x="846" y="479"/>
                  </a:lnTo>
                  <a:lnTo>
                    <a:pt x="838" y="532"/>
                  </a:lnTo>
                  <a:lnTo>
                    <a:pt x="822" y="639"/>
                  </a:lnTo>
                  <a:lnTo>
                    <a:pt x="809" y="748"/>
                  </a:lnTo>
                  <a:lnTo>
                    <a:pt x="798" y="858"/>
                  </a:lnTo>
                  <a:lnTo>
                    <a:pt x="787" y="968"/>
                  </a:lnTo>
                  <a:lnTo>
                    <a:pt x="778" y="1079"/>
                  </a:lnTo>
                  <a:lnTo>
                    <a:pt x="770" y="1192"/>
                  </a:lnTo>
                  <a:lnTo>
                    <a:pt x="763" y="1305"/>
                  </a:lnTo>
                  <a:lnTo>
                    <a:pt x="755" y="1418"/>
                  </a:lnTo>
                  <a:lnTo>
                    <a:pt x="749" y="1533"/>
                  </a:lnTo>
                  <a:lnTo>
                    <a:pt x="744" y="1646"/>
                  </a:lnTo>
                  <a:lnTo>
                    <a:pt x="739" y="1761"/>
                  </a:lnTo>
                  <a:lnTo>
                    <a:pt x="734" y="1875"/>
                  </a:lnTo>
                  <a:lnTo>
                    <a:pt x="732" y="1935"/>
                  </a:lnTo>
                  <a:lnTo>
                    <a:pt x="729" y="1995"/>
                  </a:lnTo>
                  <a:lnTo>
                    <a:pt x="726" y="2053"/>
                  </a:lnTo>
                  <a:lnTo>
                    <a:pt x="723" y="2112"/>
                  </a:lnTo>
                  <a:lnTo>
                    <a:pt x="720" y="2171"/>
                  </a:lnTo>
                  <a:lnTo>
                    <a:pt x="717" y="2229"/>
                  </a:lnTo>
                  <a:lnTo>
                    <a:pt x="714" y="2286"/>
                  </a:lnTo>
                  <a:lnTo>
                    <a:pt x="712" y="2343"/>
                  </a:lnTo>
                  <a:lnTo>
                    <a:pt x="710" y="2354"/>
                  </a:lnTo>
                  <a:lnTo>
                    <a:pt x="708" y="2365"/>
                  </a:lnTo>
                  <a:lnTo>
                    <a:pt x="704" y="2374"/>
                  </a:lnTo>
                  <a:lnTo>
                    <a:pt x="700" y="2383"/>
                  </a:lnTo>
                  <a:lnTo>
                    <a:pt x="687" y="2406"/>
                  </a:lnTo>
                  <a:lnTo>
                    <a:pt x="675" y="2429"/>
                  </a:lnTo>
                  <a:lnTo>
                    <a:pt x="662" y="2450"/>
                  </a:lnTo>
                  <a:lnTo>
                    <a:pt x="648" y="2472"/>
                  </a:lnTo>
                  <a:lnTo>
                    <a:pt x="619" y="2514"/>
                  </a:lnTo>
                  <a:lnTo>
                    <a:pt x="590" y="2555"/>
                  </a:lnTo>
                  <a:lnTo>
                    <a:pt x="559" y="2595"/>
                  </a:lnTo>
                  <a:lnTo>
                    <a:pt x="527" y="2635"/>
                  </a:lnTo>
                  <a:lnTo>
                    <a:pt x="494" y="2673"/>
                  </a:lnTo>
                  <a:lnTo>
                    <a:pt x="461" y="2712"/>
                  </a:lnTo>
                  <a:lnTo>
                    <a:pt x="460" y="2712"/>
                  </a:lnTo>
                  <a:lnTo>
                    <a:pt x="423" y="2755"/>
                  </a:lnTo>
                  <a:lnTo>
                    <a:pt x="387" y="2800"/>
                  </a:lnTo>
                  <a:lnTo>
                    <a:pt x="350" y="2845"/>
                  </a:lnTo>
                  <a:lnTo>
                    <a:pt x="316" y="2890"/>
                  </a:lnTo>
                  <a:lnTo>
                    <a:pt x="298" y="2914"/>
                  </a:lnTo>
                  <a:lnTo>
                    <a:pt x="282" y="2939"/>
                  </a:lnTo>
                  <a:lnTo>
                    <a:pt x="266" y="2964"/>
                  </a:lnTo>
                  <a:lnTo>
                    <a:pt x="251" y="2988"/>
                  </a:lnTo>
                  <a:lnTo>
                    <a:pt x="235" y="3014"/>
                  </a:lnTo>
                  <a:lnTo>
                    <a:pt x="222" y="3040"/>
                  </a:lnTo>
                  <a:lnTo>
                    <a:pt x="208" y="3067"/>
                  </a:lnTo>
                  <a:lnTo>
                    <a:pt x="196" y="3094"/>
                  </a:lnTo>
                  <a:lnTo>
                    <a:pt x="192" y="3103"/>
                  </a:lnTo>
                  <a:lnTo>
                    <a:pt x="188" y="3110"/>
                  </a:lnTo>
                  <a:lnTo>
                    <a:pt x="183" y="3116"/>
                  </a:lnTo>
                  <a:lnTo>
                    <a:pt x="178" y="3122"/>
                  </a:lnTo>
                  <a:lnTo>
                    <a:pt x="170" y="3128"/>
                  </a:lnTo>
                  <a:lnTo>
                    <a:pt x="164" y="3133"/>
                  </a:lnTo>
                  <a:lnTo>
                    <a:pt x="157" y="3137"/>
                  </a:lnTo>
                  <a:lnTo>
                    <a:pt x="150" y="3141"/>
                  </a:lnTo>
                  <a:lnTo>
                    <a:pt x="142" y="3143"/>
                  </a:lnTo>
                  <a:lnTo>
                    <a:pt x="134" y="3145"/>
                  </a:lnTo>
                  <a:lnTo>
                    <a:pt x="126" y="3146"/>
                  </a:lnTo>
                  <a:lnTo>
                    <a:pt x="118" y="3147"/>
                  </a:lnTo>
                  <a:lnTo>
                    <a:pt x="110" y="3146"/>
                  </a:lnTo>
                  <a:lnTo>
                    <a:pt x="100" y="3145"/>
                  </a:lnTo>
                  <a:lnTo>
                    <a:pt x="92" y="3143"/>
                  </a:lnTo>
                  <a:lnTo>
                    <a:pt x="85" y="3140"/>
                  </a:lnTo>
                  <a:lnTo>
                    <a:pt x="74" y="3135"/>
                  </a:lnTo>
                  <a:lnTo>
                    <a:pt x="64" y="3128"/>
                  </a:lnTo>
                  <a:lnTo>
                    <a:pt x="56" y="3120"/>
                  </a:lnTo>
                  <a:lnTo>
                    <a:pt x="49" y="3112"/>
                  </a:lnTo>
                  <a:lnTo>
                    <a:pt x="44" y="3103"/>
                  </a:lnTo>
                  <a:lnTo>
                    <a:pt x="39" y="3092"/>
                  </a:lnTo>
                  <a:lnTo>
                    <a:pt x="35" y="3082"/>
                  </a:lnTo>
                  <a:lnTo>
                    <a:pt x="33" y="3072"/>
                  </a:lnTo>
                  <a:close/>
                  <a:moveTo>
                    <a:pt x="172" y="2627"/>
                  </a:moveTo>
                  <a:lnTo>
                    <a:pt x="172" y="2648"/>
                  </a:lnTo>
                  <a:lnTo>
                    <a:pt x="172" y="2668"/>
                  </a:lnTo>
                  <a:lnTo>
                    <a:pt x="173" y="2687"/>
                  </a:lnTo>
                  <a:lnTo>
                    <a:pt x="174" y="2708"/>
                  </a:lnTo>
                  <a:lnTo>
                    <a:pt x="176" y="2727"/>
                  </a:lnTo>
                  <a:lnTo>
                    <a:pt x="177" y="2748"/>
                  </a:lnTo>
                  <a:lnTo>
                    <a:pt x="178" y="2768"/>
                  </a:lnTo>
                  <a:lnTo>
                    <a:pt x="179" y="2788"/>
                  </a:lnTo>
                  <a:lnTo>
                    <a:pt x="197" y="2764"/>
                  </a:lnTo>
                  <a:lnTo>
                    <a:pt x="216" y="2739"/>
                  </a:lnTo>
                  <a:lnTo>
                    <a:pt x="234" y="2715"/>
                  </a:lnTo>
                  <a:lnTo>
                    <a:pt x="254" y="2691"/>
                  </a:lnTo>
                  <a:lnTo>
                    <a:pt x="273" y="2669"/>
                  </a:lnTo>
                  <a:lnTo>
                    <a:pt x="292" y="2646"/>
                  </a:lnTo>
                  <a:lnTo>
                    <a:pt x="311" y="2623"/>
                  </a:lnTo>
                  <a:lnTo>
                    <a:pt x="331" y="2601"/>
                  </a:lnTo>
                  <a:lnTo>
                    <a:pt x="331" y="2600"/>
                  </a:lnTo>
                  <a:lnTo>
                    <a:pt x="361" y="2565"/>
                  </a:lnTo>
                  <a:lnTo>
                    <a:pt x="391" y="2531"/>
                  </a:lnTo>
                  <a:lnTo>
                    <a:pt x="419" y="2496"/>
                  </a:lnTo>
                  <a:lnTo>
                    <a:pt x="446" y="2460"/>
                  </a:lnTo>
                  <a:lnTo>
                    <a:pt x="473" y="2425"/>
                  </a:lnTo>
                  <a:lnTo>
                    <a:pt x="498" y="2389"/>
                  </a:lnTo>
                  <a:lnTo>
                    <a:pt x="510" y="2372"/>
                  </a:lnTo>
                  <a:lnTo>
                    <a:pt x="522" y="2353"/>
                  </a:lnTo>
                  <a:lnTo>
                    <a:pt x="532" y="2335"/>
                  </a:lnTo>
                  <a:lnTo>
                    <a:pt x="542" y="2316"/>
                  </a:lnTo>
                  <a:lnTo>
                    <a:pt x="545" y="2259"/>
                  </a:lnTo>
                  <a:lnTo>
                    <a:pt x="548" y="2203"/>
                  </a:lnTo>
                  <a:lnTo>
                    <a:pt x="550" y="2146"/>
                  </a:lnTo>
                  <a:lnTo>
                    <a:pt x="554" y="2090"/>
                  </a:lnTo>
                  <a:lnTo>
                    <a:pt x="556" y="2035"/>
                  </a:lnTo>
                  <a:lnTo>
                    <a:pt x="559" y="1979"/>
                  </a:lnTo>
                  <a:lnTo>
                    <a:pt x="561" y="1923"/>
                  </a:lnTo>
                  <a:lnTo>
                    <a:pt x="564" y="1868"/>
                  </a:lnTo>
                  <a:lnTo>
                    <a:pt x="567" y="1785"/>
                  </a:lnTo>
                  <a:lnTo>
                    <a:pt x="571" y="1703"/>
                  </a:lnTo>
                  <a:lnTo>
                    <a:pt x="574" y="1620"/>
                  </a:lnTo>
                  <a:lnTo>
                    <a:pt x="578" y="1539"/>
                  </a:lnTo>
                  <a:lnTo>
                    <a:pt x="582" y="1456"/>
                  </a:lnTo>
                  <a:lnTo>
                    <a:pt x="586" y="1374"/>
                  </a:lnTo>
                  <a:lnTo>
                    <a:pt x="592" y="1293"/>
                  </a:lnTo>
                  <a:lnTo>
                    <a:pt x="597" y="1211"/>
                  </a:lnTo>
                  <a:lnTo>
                    <a:pt x="603" y="1130"/>
                  </a:lnTo>
                  <a:lnTo>
                    <a:pt x="609" y="1048"/>
                  </a:lnTo>
                  <a:lnTo>
                    <a:pt x="615" y="968"/>
                  </a:lnTo>
                  <a:lnTo>
                    <a:pt x="624" y="887"/>
                  </a:lnTo>
                  <a:lnTo>
                    <a:pt x="631" y="808"/>
                  </a:lnTo>
                  <a:lnTo>
                    <a:pt x="640" y="729"/>
                  </a:lnTo>
                  <a:lnTo>
                    <a:pt x="649" y="650"/>
                  </a:lnTo>
                  <a:lnTo>
                    <a:pt x="660" y="572"/>
                  </a:lnTo>
                  <a:lnTo>
                    <a:pt x="635" y="621"/>
                  </a:lnTo>
                  <a:lnTo>
                    <a:pt x="611" y="672"/>
                  </a:lnTo>
                  <a:lnTo>
                    <a:pt x="588" y="721"/>
                  </a:lnTo>
                  <a:lnTo>
                    <a:pt x="565" y="771"/>
                  </a:lnTo>
                  <a:lnTo>
                    <a:pt x="542" y="821"/>
                  </a:lnTo>
                  <a:lnTo>
                    <a:pt x="521" y="872"/>
                  </a:lnTo>
                  <a:lnTo>
                    <a:pt x="500" y="922"/>
                  </a:lnTo>
                  <a:lnTo>
                    <a:pt x="479" y="973"/>
                  </a:lnTo>
                  <a:lnTo>
                    <a:pt x="460" y="1023"/>
                  </a:lnTo>
                  <a:lnTo>
                    <a:pt x="440" y="1074"/>
                  </a:lnTo>
                  <a:lnTo>
                    <a:pt x="422" y="1125"/>
                  </a:lnTo>
                  <a:lnTo>
                    <a:pt x="404" y="1176"/>
                  </a:lnTo>
                  <a:lnTo>
                    <a:pt x="387" y="1227"/>
                  </a:lnTo>
                  <a:lnTo>
                    <a:pt x="370" y="1278"/>
                  </a:lnTo>
                  <a:lnTo>
                    <a:pt x="355" y="1329"/>
                  </a:lnTo>
                  <a:lnTo>
                    <a:pt x="339" y="1380"/>
                  </a:lnTo>
                  <a:lnTo>
                    <a:pt x="325" y="1432"/>
                  </a:lnTo>
                  <a:lnTo>
                    <a:pt x="311" y="1483"/>
                  </a:lnTo>
                  <a:lnTo>
                    <a:pt x="298" y="1535"/>
                  </a:lnTo>
                  <a:lnTo>
                    <a:pt x="285" y="1586"/>
                  </a:lnTo>
                  <a:lnTo>
                    <a:pt x="273" y="1638"/>
                  </a:lnTo>
                  <a:lnTo>
                    <a:pt x="262" y="1689"/>
                  </a:lnTo>
                  <a:lnTo>
                    <a:pt x="251" y="1741"/>
                  </a:lnTo>
                  <a:lnTo>
                    <a:pt x="241" y="1793"/>
                  </a:lnTo>
                  <a:lnTo>
                    <a:pt x="232" y="1845"/>
                  </a:lnTo>
                  <a:lnTo>
                    <a:pt x="223" y="1897"/>
                  </a:lnTo>
                  <a:lnTo>
                    <a:pt x="216" y="1949"/>
                  </a:lnTo>
                  <a:lnTo>
                    <a:pt x="207" y="2001"/>
                  </a:lnTo>
                  <a:lnTo>
                    <a:pt x="201" y="2053"/>
                  </a:lnTo>
                  <a:lnTo>
                    <a:pt x="195" y="2105"/>
                  </a:lnTo>
                  <a:lnTo>
                    <a:pt x="190" y="2157"/>
                  </a:lnTo>
                  <a:lnTo>
                    <a:pt x="186" y="2210"/>
                  </a:lnTo>
                  <a:lnTo>
                    <a:pt x="182" y="2263"/>
                  </a:lnTo>
                  <a:lnTo>
                    <a:pt x="178" y="2315"/>
                  </a:lnTo>
                  <a:lnTo>
                    <a:pt x="176" y="2368"/>
                  </a:lnTo>
                  <a:lnTo>
                    <a:pt x="173" y="2419"/>
                  </a:lnTo>
                  <a:lnTo>
                    <a:pt x="171" y="2472"/>
                  </a:lnTo>
                  <a:lnTo>
                    <a:pt x="171" y="2523"/>
                  </a:lnTo>
                  <a:lnTo>
                    <a:pt x="171" y="2576"/>
                  </a:lnTo>
                  <a:lnTo>
                    <a:pt x="172" y="2627"/>
                  </a:lnTo>
                  <a:close/>
                  <a:moveTo>
                    <a:pt x="331" y="2601"/>
                  </a:moveTo>
                  <a:lnTo>
                    <a:pt x="331" y="2600"/>
                  </a:lnTo>
                  <a:lnTo>
                    <a:pt x="331" y="260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3" name="Freeform 89"/>
            <p:cNvSpPr>
              <a:spLocks noChangeArrowheads="1"/>
            </p:cNvSpPr>
            <p:nvPr/>
          </p:nvSpPr>
          <p:spPr bwMode="auto">
            <a:xfrm>
              <a:off x="1306513" y="1996979"/>
              <a:ext cx="338137" cy="1651035"/>
            </a:xfrm>
            <a:custGeom>
              <a:avLst/>
              <a:gdLst>
                <a:gd name="T0" fmla="*/ 21 w 752"/>
                <a:gd name="T1" fmla="*/ 2881 h 2976"/>
                <a:gd name="T2" fmla="*/ 6 w 752"/>
                <a:gd name="T3" fmla="*/ 2689 h 2976"/>
                <a:gd name="T4" fmla="*/ 0 w 752"/>
                <a:gd name="T5" fmla="*/ 2498 h 2976"/>
                <a:gd name="T6" fmla="*/ 3 w 752"/>
                <a:gd name="T7" fmla="*/ 2307 h 2976"/>
                <a:gd name="T8" fmla="*/ 14 w 752"/>
                <a:gd name="T9" fmla="*/ 2118 h 2976"/>
                <a:gd name="T10" fmla="*/ 34 w 752"/>
                <a:gd name="T11" fmla="*/ 1927 h 2976"/>
                <a:gd name="T12" fmla="*/ 63 w 752"/>
                <a:gd name="T13" fmla="*/ 1738 h 2976"/>
                <a:gd name="T14" fmla="*/ 100 w 752"/>
                <a:gd name="T15" fmla="*/ 1551 h 2976"/>
                <a:gd name="T16" fmla="*/ 146 w 752"/>
                <a:gd name="T17" fmla="*/ 1363 h 2976"/>
                <a:gd name="T18" fmla="*/ 200 w 752"/>
                <a:gd name="T19" fmla="*/ 1177 h 2976"/>
                <a:gd name="T20" fmla="*/ 263 w 752"/>
                <a:gd name="T21" fmla="*/ 992 h 2976"/>
                <a:gd name="T22" fmla="*/ 333 w 752"/>
                <a:gd name="T23" fmla="*/ 808 h 2976"/>
                <a:gd name="T24" fmla="*/ 412 w 752"/>
                <a:gd name="T25" fmla="*/ 625 h 2976"/>
                <a:gd name="T26" fmla="*/ 499 w 752"/>
                <a:gd name="T27" fmla="*/ 445 h 2976"/>
                <a:gd name="T28" fmla="*/ 594 w 752"/>
                <a:gd name="T29" fmla="*/ 265 h 2976"/>
                <a:gd name="T30" fmla="*/ 697 w 752"/>
                <a:gd name="T31" fmla="*/ 88 h 2976"/>
                <a:gd name="T32" fmla="*/ 736 w 752"/>
                <a:gd name="T33" fmla="*/ 64 h 2976"/>
                <a:gd name="T34" fmla="*/ 709 w 752"/>
                <a:gd name="T35" fmla="*/ 195 h 2976"/>
                <a:gd name="T36" fmla="*/ 684 w 752"/>
                <a:gd name="T37" fmla="*/ 328 h 2976"/>
                <a:gd name="T38" fmla="*/ 663 w 752"/>
                <a:gd name="T39" fmla="*/ 463 h 2976"/>
                <a:gd name="T40" fmla="*/ 645 w 752"/>
                <a:gd name="T41" fmla="*/ 601 h 2976"/>
                <a:gd name="T42" fmla="*/ 629 w 752"/>
                <a:gd name="T43" fmla="*/ 741 h 2976"/>
                <a:gd name="T44" fmla="*/ 616 w 752"/>
                <a:gd name="T45" fmla="*/ 882 h 2976"/>
                <a:gd name="T46" fmla="*/ 603 w 752"/>
                <a:gd name="T47" fmla="*/ 1024 h 2976"/>
                <a:gd name="T48" fmla="*/ 589 w 752"/>
                <a:gd name="T49" fmla="*/ 1240 h 2976"/>
                <a:gd name="T50" fmla="*/ 574 w 752"/>
                <a:gd name="T51" fmla="*/ 1529 h 2976"/>
                <a:gd name="T52" fmla="*/ 561 w 752"/>
                <a:gd name="T53" fmla="*/ 1820 h 2976"/>
                <a:gd name="T54" fmla="*/ 548 w 752"/>
                <a:gd name="T55" fmla="*/ 2110 h 2976"/>
                <a:gd name="T56" fmla="*/ 528 w 752"/>
                <a:gd name="T57" fmla="*/ 2278 h 2976"/>
                <a:gd name="T58" fmla="*/ 502 w 752"/>
                <a:gd name="T59" fmla="*/ 2323 h 2976"/>
                <a:gd name="T60" fmla="*/ 473 w 752"/>
                <a:gd name="T61" fmla="*/ 2368 h 2976"/>
                <a:gd name="T62" fmla="*/ 441 w 752"/>
                <a:gd name="T63" fmla="*/ 2411 h 2976"/>
                <a:gd name="T64" fmla="*/ 391 w 752"/>
                <a:gd name="T65" fmla="*/ 2474 h 2976"/>
                <a:gd name="T66" fmla="*/ 321 w 752"/>
                <a:gd name="T67" fmla="*/ 2557 h 2976"/>
                <a:gd name="T68" fmla="*/ 250 w 752"/>
                <a:gd name="T69" fmla="*/ 2641 h 2976"/>
                <a:gd name="T70" fmla="*/ 180 w 752"/>
                <a:gd name="T71" fmla="*/ 2728 h 2976"/>
                <a:gd name="T72" fmla="*/ 131 w 752"/>
                <a:gd name="T73" fmla="*/ 2797 h 2976"/>
                <a:gd name="T74" fmla="*/ 100 w 752"/>
                <a:gd name="T75" fmla="*/ 2846 h 2976"/>
                <a:gd name="T76" fmla="*/ 71 w 752"/>
                <a:gd name="T77" fmla="*/ 2896 h 2976"/>
                <a:gd name="T78" fmla="*/ 44 w 752"/>
                <a:gd name="T79" fmla="*/ 2949 h 2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2" h="2976">
                  <a:moveTo>
                    <a:pt x="32" y="2976"/>
                  </a:moveTo>
                  <a:lnTo>
                    <a:pt x="21" y="2881"/>
                  </a:lnTo>
                  <a:lnTo>
                    <a:pt x="12" y="2785"/>
                  </a:lnTo>
                  <a:lnTo>
                    <a:pt x="6" y="2689"/>
                  </a:lnTo>
                  <a:lnTo>
                    <a:pt x="2" y="2594"/>
                  </a:lnTo>
                  <a:lnTo>
                    <a:pt x="0" y="2498"/>
                  </a:lnTo>
                  <a:lnTo>
                    <a:pt x="0" y="2403"/>
                  </a:lnTo>
                  <a:lnTo>
                    <a:pt x="3" y="2307"/>
                  </a:lnTo>
                  <a:lnTo>
                    <a:pt x="7" y="2213"/>
                  </a:lnTo>
                  <a:lnTo>
                    <a:pt x="14" y="2118"/>
                  </a:lnTo>
                  <a:lnTo>
                    <a:pt x="23" y="2022"/>
                  </a:lnTo>
                  <a:lnTo>
                    <a:pt x="34" y="1927"/>
                  </a:lnTo>
                  <a:lnTo>
                    <a:pt x="47" y="1833"/>
                  </a:lnTo>
                  <a:lnTo>
                    <a:pt x="63" y="1738"/>
                  </a:lnTo>
                  <a:lnTo>
                    <a:pt x="80" y="1645"/>
                  </a:lnTo>
                  <a:lnTo>
                    <a:pt x="100" y="1551"/>
                  </a:lnTo>
                  <a:lnTo>
                    <a:pt x="121" y="1456"/>
                  </a:lnTo>
                  <a:lnTo>
                    <a:pt x="146" y="1363"/>
                  </a:lnTo>
                  <a:lnTo>
                    <a:pt x="172" y="1269"/>
                  </a:lnTo>
                  <a:lnTo>
                    <a:pt x="200" y="1177"/>
                  </a:lnTo>
                  <a:lnTo>
                    <a:pt x="230" y="1084"/>
                  </a:lnTo>
                  <a:lnTo>
                    <a:pt x="263" y="992"/>
                  </a:lnTo>
                  <a:lnTo>
                    <a:pt x="297" y="899"/>
                  </a:lnTo>
                  <a:lnTo>
                    <a:pt x="333" y="808"/>
                  </a:lnTo>
                  <a:lnTo>
                    <a:pt x="372" y="717"/>
                  </a:lnTo>
                  <a:lnTo>
                    <a:pt x="412" y="625"/>
                  </a:lnTo>
                  <a:lnTo>
                    <a:pt x="454" y="535"/>
                  </a:lnTo>
                  <a:lnTo>
                    <a:pt x="499" y="445"/>
                  </a:lnTo>
                  <a:lnTo>
                    <a:pt x="546" y="355"/>
                  </a:lnTo>
                  <a:lnTo>
                    <a:pt x="594" y="265"/>
                  </a:lnTo>
                  <a:lnTo>
                    <a:pt x="645" y="177"/>
                  </a:lnTo>
                  <a:lnTo>
                    <a:pt x="697" y="88"/>
                  </a:lnTo>
                  <a:lnTo>
                    <a:pt x="752" y="0"/>
                  </a:lnTo>
                  <a:lnTo>
                    <a:pt x="736" y="64"/>
                  </a:lnTo>
                  <a:lnTo>
                    <a:pt x="722" y="129"/>
                  </a:lnTo>
                  <a:lnTo>
                    <a:pt x="709" y="195"/>
                  </a:lnTo>
                  <a:lnTo>
                    <a:pt x="696" y="261"/>
                  </a:lnTo>
                  <a:lnTo>
                    <a:pt x="684" y="328"/>
                  </a:lnTo>
                  <a:lnTo>
                    <a:pt x="674" y="395"/>
                  </a:lnTo>
                  <a:lnTo>
                    <a:pt x="663" y="463"/>
                  </a:lnTo>
                  <a:lnTo>
                    <a:pt x="654" y="532"/>
                  </a:lnTo>
                  <a:lnTo>
                    <a:pt x="645" y="601"/>
                  </a:lnTo>
                  <a:lnTo>
                    <a:pt x="636" y="670"/>
                  </a:lnTo>
                  <a:lnTo>
                    <a:pt x="629" y="741"/>
                  </a:lnTo>
                  <a:lnTo>
                    <a:pt x="622" y="811"/>
                  </a:lnTo>
                  <a:lnTo>
                    <a:pt x="616" y="882"/>
                  </a:lnTo>
                  <a:lnTo>
                    <a:pt x="610" y="952"/>
                  </a:lnTo>
                  <a:lnTo>
                    <a:pt x="603" y="1024"/>
                  </a:lnTo>
                  <a:lnTo>
                    <a:pt x="598" y="1095"/>
                  </a:lnTo>
                  <a:lnTo>
                    <a:pt x="589" y="1240"/>
                  </a:lnTo>
                  <a:lnTo>
                    <a:pt x="582" y="1384"/>
                  </a:lnTo>
                  <a:lnTo>
                    <a:pt x="574" y="1529"/>
                  </a:lnTo>
                  <a:lnTo>
                    <a:pt x="567" y="1675"/>
                  </a:lnTo>
                  <a:lnTo>
                    <a:pt x="561" y="1820"/>
                  </a:lnTo>
                  <a:lnTo>
                    <a:pt x="555" y="1965"/>
                  </a:lnTo>
                  <a:lnTo>
                    <a:pt x="548" y="2110"/>
                  </a:lnTo>
                  <a:lnTo>
                    <a:pt x="541" y="2254"/>
                  </a:lnTo>
                  <a:lnTo>
                    <a:pt x="528" y="2278"/>
                  </a:lnTo>
                  <a:lnTo>
                    <a:pt x="515" y="2300"/>
                  </a:lnTo>
                  <a:lnTo>
                    <a:pt x="502" y="2323"/>
                  </a:lnTo>
                  <a:lnTo>
                    <a:pt x="487" y="2346"/>
                  </a:lnTo>
                  <a:lnTo>
                    <a:pt x="473" y="2368"/>
                  </a:lnTo>
                  <a:lnTo>
                    <a:pt x="457" y="2390"/>
                  </a:lnTo>
                  <a:lnTo>
                    <a:pt x="441" y="2411"/>
                  </a:lnTo>
                  <a:lnTo>
                    <a:pt x="425" y="2432"/>
                  </a:lnTo>
                  <a:lnTo>
                    <a:pt x="391" y="2474"/>
                  </a:lnTo>
                  <a:lnTo>
                    <a:pt x="357" y="2516"/>
                  </a:lnTo>
                  <a:lnTo>
                    <a:pt x="321" y="2557"/>
                  </a:lnTo>
                  <a:lnTo>
                    <a:pt x="286" y="2599"/>
                  </a:lnTo>
                  <a:lnTo>
                    <a:pt x="250" y="2641"/>
                  </a:lnTo>
                  <a:lnTo>
                    <a:pt x="215" y="2684"/>
                  </a:lnTo>
                  <a:lnTo>
                    <a:pt x="180" y="2728"/>
                  </a:lnTo>
                  <a:lnTo>
                    <a:pt x="147" y="2773"/>
                  </a:lnTo>
                  <a:lnTo>
                    <a:pt x="131" y="2797"/>
                  </a:lnTo>
                  <a:lnTo>
                    <a:pt x="115" y="2821"/>
                  </a:lnTo>
                  <a:lnTo>
                    <a:pt x="100" y="2846"/>
                  </a:lnTo>
                  <a:lnTo>
                    <a:pt x="84" y="2870"/>
                  </a:lnTo>
                  <a:lnTo>
                    <a:pt x="71" y="2896"/>
                  </a:lnTo>
                  <a:lnTo>
                    <a:pt x="57" y="2922"/>
                  </a:lnTo>
                  <a:lnTo>
                    <a:pt x="44" y="2949"/>
                  </a:lnTo>
                  <a:lnTo>
                    <a:pt x="32" y="29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4" name="Freeform 90"/>
            <p:cNvSpPr>
              <a:spLocks noChangeArrowheads="1"/>
            </p:cNvSpPr>
            <p:nvPr/>
          </p:nvSpPr>
          <p:spPr bwMode="auto">
            <a:xfrm>
              <a:off x="1738313" y="1614384"/>
              <a:ext cx="1050925" cy="1508157"/>
            </a:xfrm>
            <a:custGeom>
              <a:avLst/>
              <a:gdLst>
                <a:gd name="T0" fmla="*/ 0 w 2336"/>
                <a:gd name="T1" fmla="*/ 2411 h 2721"/>
                <a:gd name="T2" fmla="*/ 21 w 2336"/>
                <a:gd name="T3" fmla="*/ 2127 h 2721"/>
                <a:gd name="T4" fmla="*/ 71 w 2336"/>
                <a:gd name="T5" fmla="*/ 1863 h 2721"/>
                <a:gd name="T6" fmla="*/ 146 w 2336"/>
                <a:gd name="T7" fmla="*/ 1622 h 2721"/>
                <a:gd name="T8" fmla="*/ 245 w 2336"/>
                <a:gd name="T9" fmla="*/ 1399 h 2721"/>
                <a:gd name="T10" fmla="*/ 364 w 2336"/>
                <a:gd name="T11" fmla="*/ 1196 h 2721"/>
                <a:gd name="T12" fmla="*/ 503 w 2336"/>
                <a:gd name="T13" fmla="*/ 1011 h 2721"/>
                <a:gd name="T14" fmla="*/ 657 w 2336"/>
                <a:gd name="T15" fmla="*/ 843 h 2721"/>
                <a:gd name="T16" fmla="*/ 824 w 2336"/>
                <a:gd name="T17" fmla="*/ 694 h 2721"/>
                <a:gd name="T18" fmla="*/ 1002 w 2336"/>
                <a:gd name="T19" fmla="*/ 559 h 2721"/>
                <a:gd name="T20" fmla="*/ 1188 w 2336"/>
                <a:gd name="T21" fmla="*/ 439 h 2721"/>
                <a:gd name="T22" fmla="*/ 1382 w 2336"/>
                <a:gd name="T23" fmla="*/ 332 h 2721"/>
                <a:gd name="T24" fmla="*/ 1580 w 2336"/>
                <a:gd name="T25" fmla="*/ 237 h 2721"/>
                <a:gd name="T26" fmla="*/ 1780 w 2336"/>
                <a:gd name="T27" fmla="*/ 154 h 2721"/>
                <a:gd name="T28" fmla="*/ 1981 w 2336"/>
                <a:gd name="T29" fmla="*/ 82 h 2721"/>
                <a:gd name="T30" fmla="*/ 2235 w 2336"/>
                <a:gd name="T31" fmla="*/ 1 h 2721"/>
                <a:gd name="T32" fmla="*/ 2269 w 2336"/>
                <a:gd name="T33" fmla="*/ 2 h 2721"/>
                <a:gd name="T34" fmla="*/ 2299 w 2336"/>
                <a:gd name="T35" fmla="*/ 15 h 2721"/>
                <a:gd name="T36" fmla="*/ 2321 w 2336"/>
                <a:gd name="T37" fmla="*/ 38 h 2721"/>
                <a:gd name="T38" fmla="*/ 2335 w 2336"/>
                <a:gd name="T39" fmla="*/ 74 h 2721"/>
                <a:gd name="T40" fmla="*/ 2328 w 2336"/>
                <a:gd name="T41" fmla="*/ 121 h 2721"/>
                <a:gd name="T42" fmla="*/ 2307 w 2336"/>
                <a:gd name="T43" fmla="*/ 150 h 2721"/>
                <a:gd name="T44" fmla="*/ 2189 w 2336"/>
                <a:gd name="T45" fmla="*/ 260 h 2721"/>
                <a:gd name="T46" fmla="*/ 2042 w 2336"/>
                <a:gd name="T47" fmla="*/ 407 h 2721"/>
                <a:gd name="T48" fmla="*/ 1798 w 2336"/>
                <a:gd name="T49" fmla="*/ 680 h 2721"/>
                <a:gd name="T50" fmla="*/ 1530 w 2336"/>
                <a:gd name="T51" fmla="*/ 1011 h 2721"/>
                <a:gd name="T52" fmla="*/ 1270 w 2336"/>
                <a:gd name="T53" fmla="*/ 1354 h 2721"/>
                <a:gd name="T54" fmla="*/ 1019 w 2336"/>
                <a:gd name="T55" fmla="*/ 1688 h 2721"/>
                <a:gd name="T56" fmla="*/ 765 w 2336"/>
                <a:gd name="T57" fmla="*/ 2013 h 2721"/>
                <a:gd name="T58" fmla="*/ 501 w 2336"/>
                <a:gd name="T59" fmla="*/ 2329 h 2721"/>
                <a:gd name="T60" fmla="*/ 257 w 2336"/>
                <a:gd name="T61" fmla="*/ 2591 h 2721"/>
                <a:gd name="T62" fmla="*/ 141 w 2336"/>
                <a:gd name="T63" fmla="*/ 2704 h 2721"/>
                <a:gd name="T64" fmla="*/ 111 w 2336"/>
                <a:gd name="T65" fmla="*/ 2718 h 2721"/>
                <a:gd name="T66" fmla="*/ 79 w 2336"/>
                <a:gd name="T67" fmla="*/ 2720 h 2721"/>
                <a:gd name="T68" fmla="*/ 47 w 2336"/>
                <a:gd name="T69" fmla="*/ 2711 h 2721"/>
                <a:gd name="T70" fmla="*/ 21 w 2336"/>
                <a:gd name="T71" fmla="*/ 2690 h 2721"/>
                <a:gd name="T72" fmla="*/ 8 w 2336"/>
                <a:gd name="T73" fmla="*/ 2663 h 2721"/>
                <a:gd name="T74" fmla="*/ 4 w 2336"/>
                <a:gd name="T75" fmla="*/ 2640 h 2721"/>
                <a:gd name="T76" fmla="*/ 714 w 2336"/>
                <a:gd name="T77" fmla="*/ 1031 h 2721"/>
                <a:gd name="T78" fmla="*/ 588 w 2336"/>
                <a:gd name="T79" fmla="*/ 1178 h 2721"/>
                <a:gd name="T80" fmla="*/ 477 w 2336"/>
                <a:gd name="T81" fmla="*/ 1339 h 2721"/>
                <a:gd name="T82" fmla="*/ 380 w 2336"/>
                <a:gd name="T83" fmla="*/ 1514 h 2721"/>
                <a:gd name="T84" fmla="*/ 299 w 2336"/>
                <a:gd name="T85" fmla="*/ 1704 h 2721"/>
                <a:gd name="T86" fmla="*/ 237 w 2336"/>
                <a:gd name="T87" fmla="*/ 1910 h 2721"/>
                <a:gd name="T88" fmla="*/ 194 w 2336"/>
                <a:gd name="T89" fmla="*/ 2133 h 2721"/>
                <a:gd name="T90" fmla="*/ 173 w 2336"/>
                <a:gd name="T91" fmla="*/ 2372 h 2721"/>
                <a:gd name="T92" fmla="*/ 350 w 2336"/>
                <a:gd name="T93" fmla="*/ 2242 h 2721"/>
                <a:gd name="T94" fmla="*/ 579 w 2336"/>
                <a:gd name="T95" fmla="*/ 1972 h 2721"/>
                <a:gd name="T96" fmla="*/ 799 w 2336"/>
                <a:gd name="T97" fmla="*/ 1693 h 2721"/>
                <a:gd name="T98" fmla="*/ 1015 w 2336"/>
                <a:gd name="T99" fmla="*/ 1408 h 2721"/>
                <a:gd name="T100" fmla="*/ 1224 w 2336"/>
                <a:gd name="T101" fmla="*/ 1131 h 2721"/>
                <a:gd name="T102" fmla="*/ 1433 w 2336"/>
                <a:gd name="T103" fmla="*/ 860 h 2721"/>
                <a:gd name="T104" fmla="*/ 1647 w 2336"/>
                <a:gd name="T105" fmla="*/ 596 h 2721"/>
                <a:gd name="T106" fmla="*/ 1869 w 2336"/>
                <a:gd name="T107" fmla="*/ 342 h 2721"/>
                <a:gd name="T108" fmla="*/ 1706 w 2336"/>
                <a:gd name="T109" fmla="*/ 369 h 2721"/>
                <a:gd name="T110" fmla="*/ 1413 w 2336"/>
                <a:gd name="T111" fmla="*/ 508 h 2721"/>
                <a:gd name="T112" fmla="*/ 1237 w 2336"/>
                <a:gd name="T113" fmla="*/ 609 h 2721"/>
                <a:gd name="T114" fmla="*/ 1101 w 2336"/>
                <a:gd name="T115" fmla="*/ 699 h 2721"/>
                <a:gd name="T116" fmla="*/ 969 w 2336"/>
                <a:gd name="T117" fmla="*/ 796 h 2721"/>
                <a:gd name="T118" fmla="*/ 845 w 2336"/>
                <a:gd name="T119" fmla="*/ 901 h 2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36" h="2721">
                  <a:moveTo>
                    <a:pt x="4" y="2640"/>
                  </a:moveTo>
                  <a:lnTo>
                    <a:pt x="1" y="2563"/>
                  </a:lnTo>
                  <a:lnTo>
                    <a:pt x="0" y="2486"/>
                  </a:lnTo>
                  <a:lnTo>
                    <a:pt x="0" y="2411"/>
                  </a:lnTo>
                  <a:lnTo>
                    <a:pt x="3" y="2338"/>
                  </a:lnTo>
                  <a:lnTo>
                    <a:pt x="7" y="2266"/>
                  </a:lnTo>
                  <a:lnTo>
                    <a:pt x="14" y="2196"/>
                  </a:lnTo>
                  <a:lnTo>
                    <a:pt x="21" y="2127"/>
                  </a:lnTo>
                  <a:lnTo>
                    <a:pt x="32" y="2059"/>
                  </a:lnTo>
                  <a:lnTo>
                    <a:pt x="43" y="1993"/>
                  </a:lnTo>
                  <a:lnTo>
                    <a:pt x="57" y="1927"/>
                  </a:lnTo>
                  <a:lnTo>
                    <a:pt x="71" y="1863"/>
                  </a:lnTo>
                  <a:lnTo>
                    <a:pt x="87" y="1801"/>
                  </a:lnTo>
                  <a:lnTo>
                    <a:pt x="106" y="1740"/>
                  </a:lnTo>
                  <a:lnTo>
                    <a:pt x="126" y="1679"/>
                  </a:lnTo>
                  <a:lnTo>
                    <a:pt x="146" y="1622"/>
                  </a:lnTo>
                  <a:lnTo>
                    <a:pt x="169" y="1564"/>
                  </a:lnTo>
                  <a:lnTo>
                    <a:pt x="192" y="1507"/>
                  </a:lnTo>
                  <a:lnTo>
                    <a:pt x="218" y="1453"/>
                  </a:lnTo>
                  <a:lnTo>
                    <a:pt x="245" y="1399"/>
                  </a:lnTo>
                  <a:lnTo>
                    <a:pt x="273" y="1346"/>
                  </a:lnTo>
                  <a:lnTo>
                    <a:pt x="303" y="1295"/>
                  </a:lnTo>
                  <a:lnTo>
                    <a:pt x="333" y="1245"/>
                  </a:lnTo>
                  <a:lnTo>
                    <a:pt x="364" y="1196"/>
                  </a:lnTo>
                  <a:lnTo>
                    <a:pt x="397" y="1148"/>
                  </a:lnTo>
                  <a:lnTo>
                    <a:pt x="431" y="1101"/>
                  </a:lnTo>
                  <a:lnTo>
                    <a:pt x="466" y="1056"/>
                  </a:lnTo>
                  <a:lnTo>
                    <a:pt x="503" y="1011"/>
                  </a:lnTo>
                  <a:lnTo>
                    <a:pt x="540" y="968"/>
                  </a:lnTo>
                  <a:lnTo>
                    <a:pt x="578" y="926"/>
                  </a:lnTo>
                  <a:lnTo>
                    <a:pt x="617" y="884"/>
                  </a:lnTo>
                  <a:lnTo>
                    <a:pt x="657" y="843"/>
                  </a:lnTo>
                  <a:lnTo>
                    <a:pt x="698" y="804"/>
                  </a:lnTo>
                  <a:lnTo>
                    <a:pt x="739" y="766"/>
                  </a:lnTo>
                  <a:lnTo>
                    <a:pt x="782" y="729"/>
                  </a:lnTo>
                  <a:lnTo>
                    <a:pt x="824" y="694"/>
                  </a:lnTo>
                  <a:lnTo>
                    <a:pt x="867" y="659"/>
                  </a:lnTo>
                  <a:lnTo>
                    <a:pt x="911" y="625"/>
                  </a:lnTo>
                  <a:lnTo>
                    <a:pt x="957" y="591"/>
                  </a:lnTo>
                  <a:lnTo>
                    <a:pt x="1002" y="559"/>
                  </a:lnTo>
                  <a:lnTo>
                    <a:pt x="1047" y="528"/>
                  </a:lnTo>
                  <a:lnTo>
                    <a:pt x="1094" y="497"/>
                  </a:lnTo>
                  <a:lnTo>
                    <a:pt x="1141" y="467"/>
                  </a:lnTo>
                  <a:lnTo>
                    <a:pt x="1188" y="439"/>
                  </a:lnTo>
                  <a:lnTo>
                    <a:pt x="1236" y="410"/>
                  </a:lnTo>
                  <a:lnTo>
                    <a:pt x="1284" y="384"/>
                  </a:lnTo>
                  <a:lnTo>
                    <a:pt x="1333" y="358"/>
                  </a:lnTo>
                  <a:lnTo>
                    <a:pt x="1382" y="332"/>
                  </a:lnTo>
                  <a:lnTo>
                    <a:pt x="1432" y="307"/>
                  </a:lnTo>
                  <a:lnTo>
                    <a:pt x="1480" y="283"/>
                  </a:lnTo>
                  <a:lnTo>
                    <a:pt x="1530" y="260"/>
                  </a:lnTo>
                  <a:lnTo>
                    <a:pt x="1580" y="237"/>
                  </a:lnTo>
                  <a:lnTo>
                    <a:pt x="1629" y="216"/>
                  </a:lnTo>
                  <a:lnTo>
                    <a:pt x="1680" y="194"/>
                  </a:lnTo>
                  <a:lnTo>
                    <a:pt x="1730" y="174"/>
                  </a:lnTo>
                  <a:lnTo>
                    <a:pt x="1780" y="154"/>
                  </a:lnTo>
                  <a:lnTo>
                    <a:pt x="1830" y="135"/>
                  </a:lnTo>
                  <a:lnTo>
                    <a:pt x="1881" y="117"/>
                  </a:lnTo>
                  <a:lnTo>
                    <a:pt x="1930" y="98"/>
                  </a:lnTo>
                  <a:lnTo>
                    <a:pt x="1981" y="82"/>
                  </a:lnTo>
                  <a:lnTo>
                    <a:pt x="2030" y="64"/>
                  </a:lnTo>
                  <a:lnTo>
                    <a:pt x="2129" y="33"/>
                  </a:lnTo>
                  <a:lnTo>
                    <a:pt x="2227" y="3"/>
                  </a:lnTo>
                  <a:lnTo>
                    <a:pt x="2235" y="1"/>
                  </a:lnTo>
                  <a:lnTo>
                    <a:pt x="2243" y="0"/>
                  </a:lnTo>
                  <a:lnTo>
                    <a:pt x="2252" y="0"/>
                  </a:lnTo>
                  <a:lnTo>
                    <a:pt x="2261" y="0"/>
                  </a:lnTo>
                  <a:lnTo>
                    <a:pt x="2269" y="2"/>
                  </a:lnTo>
                  <a:lnTo>
                    <a:pt x="2276" y="4"/>
                  </a:lnTo>
                  <a:lnTo>
                    <a:pt x="2284" y="7"/>
                  </a:lnTo>
                  <a:lnTo>
                    <a:pt x="2292" y="10"/>
                  </a:lnTo>
                  <a:lnTo>
                    <a:pt x="2299" y="15"/>
                  </a:lnTo>
                  <a:lnTo>
                    <a:pt x="2305" y="20"/>
                  </a:lnTo>
                  <a:lnTo>
                    <a:pt x="2311" y="26"/>
                  </a:lnTo>
                  <a:lnTo>
                    <a:pt x="2316" y="31"/>
                  </a:lnTo>
                  <a:lnTo>
                    <a:pt x="2321" y="38"/>
                  </a:lnTo>
                  <a:lnTo>
                    <a:pt x="2326" y="45"/>
                  </a:lnTo>
                  <a:lnTo>
                    <a:pt x="2330" y="54"/>
                  </a:lnTo>
                  <a:lnTo>
                    <a:pt x="2333" y="62"/>
                  </a:lnTo>
                  <a:lnTo>
                    <a:pt x="2335" y="74"/>
                  </a:lnTo>
                  <a:lnTo>
                    <a:pt x="2336" y="86"/>
                  </a:lnTo>
                  <a:lnTo>
                    <a:pt x="2335" y="98"/>
                  </a:lnTo>
                  <a:lnTo>
                    <a:pt x="2333" y="109"/>
                  </a:lnTo>
                  <a:lnTo>
                    <a:pt x="2328" y="121"/>
                  </a:lnTo>
                  <a:lnTo>
                    <a:pt x="2323" y="131"/>
                  </a:lnTo>
                  <a:lnTo>
                    <a:pt x="2315" y="141"/>
                  </a:lnTo>
                  <a:lnTo>
                    <a:pt x="2307" y="150"/>
                  </a:lnTo>
                  <a:lnTo>
                    <a:pt x="2301" y="155"/>
                  </a:lnTo>
                  <a:lnTo>
                    <a:pt x="2263" y="190"/>
                  </a:lnTo>
                  <a:lnTo>
                    <a:pt x="2226" y="225"/>
                  </a:lnTo>
                  <a:lnTo>
                    <a:pt x="2189" y="260"/>
                  </a:lnTo>
                  <a:lnTo>
                    <a:pt x="2152" y="296"/>
                  </a:lnTo>
                  <a:lnTo>
                    <a:pt x="2114" y="333"/>
                  </a:lnTo>
                  <a:lnTo>
                    <a:pt x="2078" y="370"/>
                  </a:lnTo>
                  <a:lnTo>
                    <a:pt x="2042" y="407"/>
                  </a:lnTo>
                  <a:lnTo>
                    <a:pt x="2007" y="445"/>
                  </a:lnTo>
                  <a:lnTo>
                    <a:pt x="1936" y="523"/>
                  </a:lnTo>
                  <a:lnTo>
                    <a:pt x="1867" y="601"/>
                  </a:lnTo>
                  <a:lnTo>
                    <a:pt x="1798" y="680"/>
                  </a:lnTo>
                  <a:lnTo>
                    <a:pt x="1730" y="762"/>
                  </a:lnTo>
                  <a:lnTo>
                    <a:pt x="1663" y="844"/>
                  </a:lnTo>
                  <a:lnTo>
                    <a:pt x="1596" y="928"/>
                  </a:lnTo>
                  <a:lnTo>
                    <a:pt x="1530" y="1011"/>
                  </a:lnTo>
                  <a:lnTo>
                    <a:pt x="1466" y="1096"/>
                  </a:lnTo>
                  <a:lnTo>
                    <a:pt x="1400" y="1181"/>
                  </a:lnTo>
                  <a:lnTo>
                    <a:pt x="1335" y="1267"/>
                  </a:lnTo>
                  <a:lnTo>
                    <a:pt x="1270" y="1354"/>
                  </a:lnTo>
                  <a:lnTo>
                    <a:pt x="1205" y="1439"/>
                  </a:lnTo>
                  <a:lnTo>
                    <a:pt x="1143" y="1523"/>
                  </a:lnTo>
                  <a:lnTo>
                    <a:pt x="1081" y="1605"/>
                  </a:lnTo>
                  <a:lnTo>
                    <a:pt x="1019" y="1688"/>
                  </a:lnTo>
                  <a:lnTo>
                    <a:pt x="956" y="1769"/>
                  </a:lnTo>
                  <a:lnTo>
                    <a:pt x="893" y="1851"/>
                  </a:lnTo>
                  <a:lnTo>
                    <a:pt x="829" y="1933"/>
                  </a:lnTo>
                  <a:lnTo>
                    <a:pt x="765" y="2013"/>
                  </a:lnTo>
                  <a:lnTo>
                    <a:pt x="700" y="2094"/>
                  </a:lnTo>
                  <a:lnTo>
                    <a:pt x="635" y="2173"/>
                  </a:lnTo>
                  <a:lnTo>
                    <a:pt x="568" y="2251"/>
                  </a:lnTo>
                  <a:lnTo>
                    <a:pt x="501" y="2329"/>
                  </a:lnTo>
                  <a:lnTo>
                    <a:pt x="433" y="2405"/>
                  </a:lnTo>
                  <a:lnTo>
                    <a:pt x="363" y="2480"/>
                  </a:lnTo>
                  <a:lnTo>
                    <a:pt x="293" y="2555"/>
                  </a:lnTo>
                  <a:lnTo>
                    <a:pt x="257" y="2591"/>
                  </a:lnTo>
                  <a:lnTo>
                    <a:pt x="221" y="2627"/>
                  </a:lnTo>
                  <a:lnTo>
                    <a:pt x="184" y="2663"/>
                  </a:lnTo>
                  <a:lnTo>
                    <a:pt x="148" y="2698"/>
                  </a:lnTo>
                  <a:lnTo>
                    <a:pt x="141" y="2704"/>
                  </a:lnTo>
                  <a:lnTo>
                    <a:pt x="134" y="2709"/>
                  </a:lnTo>
                  <a:lnTo>
                    <a:pt x="127" y="2713"/>
                  </a:lnTo>
                  <a:lnTo>
                    <a:pt x="119" y="2716"/>
                  </a:lnTo>
                  <a:lnTo>
                    <a:pt x="111" y="2718"/>
                  </a:lnTo>
                  <a:lnTo>
                    <a:pt x="103" y="2720"/>
                  </a:lnTo>
                  <a:lnTo>
                    <a:pt x="95" y="2721"/>
                  </a:lnTo>
                  <a:lnTo>
                    <a:pt x="87" y="2721"/>
                  </a:lnTo>
                  <a:lnTo>
                    <a:pt x="79" y="2720"/>
                  </a:lnTo>
                  <a:lnTo>
                    <a:pt x="71" y="2719"/>
                  </a:lnTo>
                  <a:lnTo>
                    <a:pt x="63" y="2717"/>
                  </a:lnTo>
                  <a:lnTo>
                    <a:pt x="54" y="2714"/>
                  </a:lnTo>
                  <a:lnTo>
                    <a:pt x="47" y="2711"/>
                  </a:lnTo>
                  <a:lnTo>
                    <a:pt x="40" y="2706"/>
                  </a:lnTo>
                  <a:lnTo>
                    <a:pt x="34" y="2701"/>
                  </a:lnTo>
                  <a:lnTo>
                    <a:pt x="28" y="2695"/>
                  </a:lnTo>
                  <a:lnTo>
                    <a:pt x="21" y="2690"/>
                  </a:lnTo>
                  <a:lnTo>
                    <a:pt x="17" y="2682"/>
                  </a:lnTo>
                  <a:lnTo>
                    <a:pt x="13" y="2676"/>
                  </a:lnTo>
                  <a:lnTo>
                    <a:pt x="10" y="2669"/>
                  </a:lnTo>
                  <a:lnTo>
                    <a:pt x="8" y="2663"/>
                  </a:lnTo>
                  <a:lnTo>
                    <a:pt x="6" y="2656"/>
                  </a:lnTo>
                  <a:lnTo>
                    <a:pt x="5" y="2647"/>
                  </a:lnTo>
                  <a:lnTo>
                    <a:pt x="4" y="2640"/>
                  </a:lnTo>
                  <a:close/>
                  <a:moveTo>
                    <a:pt x="816" y="929"/>
                  </a:moveTo>
                  <a:lnTo>
                    <a:pt x="781" y="962"/>
                  </a:lnTo>
                  <a:lnTo>
                    <a:pt x="747" y="996"/>
                  </a:lnTo>
                  <a:lnTo>
                    <a:pt x="714" y="1031"/>
                  </a:lnTo>
                  <a:lnTo>
                    <a:pt x="681" y="1066"/>
                  </a:lnTo>
                  <a:lnTo>
                    <a:pt x="650" y="1103"/>
                  </a:lnTo>
                  <a:lnTo>
                    <a:pt x="619" y="1140"/>
                  </a:lnTo>
                  <a:lnTo>
                    <a:pt x="588" y="1178"/>
                  </a:lnTo>
                  <a:lnTo>
                    <a:pt x="559" y="1216"/>
                  </a:lnTo>
                  <a:lnTo>
                    <a:pt x="530" y="1257"/>
                  </a:lnTo>
                  <a:lnTo>
                    <a:pt x="504" y="1297"/>
                  </a:lnTo>
                  <a:lnTo>
                    <a:pt x="477" y="1339"/>
                  </a:lnTo>
                  <a:lnTo>
                    <a:pt x="451" y="1381"/>
                  </a:lnTo>
                  <a:lnTo>
                    <a:pt x="426" y="1425"/>
                  </a:lnTo>
                  <a:lnTo>
                    <a:pt x="403" y="1469"/>
                  </a:lnTo>
                  <a:lnTo>
                    <a:pt x="380" y="1514"/>
                  </a:lnTo>
                  <a:lnTo>
                    <a:pt x="358" y="1560"/>
                  </a:lnTo>
                  <a:lnTo>
                    <a:pt x="337" y="1607"/>
                  </a:lnTo>
                  <a:lnTo>
                    <a:pt x="317" y="1656"/>
                  </a:lnTo>
                  <a:lnTo>
                    <a:pt x="299" y="1704"/>
                  </a:lnTo>
                  <a:lnTo>
                    <a:pt x="282" y="1755"/>
                  </a:lnTo>
                  <a:lnTo>
                    <a:pt x="266" y="1805"/>
                  </a:lnTo>
                  <a:lnTo>
                    <a:pt x="250" y="1858"/>
                  </a:lnTo>
                  <a:lnTo>
                    <a:pt x="237" y="1910"/>
                  </a:lnTo>
                  <a:lnTo>
                    <a:pt x="224" y="1964"/>
                  </a:lnTo>
                  <a:lnTo>
                    <a:pt x="212" y="2019"/>
                  </a:lnTo>
                  <a:lnTo>
                    <a:pt x="203" y="2075"/>
                  </a:lnTo>
                  <a:lnTo>
                    <a:pt x="194" y="2133"/>
                  </a:lnTo>
                  <a:lnTo>
                    <a:pt x="186" y="2191"/>
                  </a:lnTo>
                  <a:lnTo>
                    <a:pt x="180" y="2250"/>
                  </a:lnTo>
                  <a:lnTo>
                    <a:pt x="176" y="2310"/>
                  </a:lnTo>
                  <a:lnTo>
                    <a:pt x="173" y="2372"/>
                  </a:lnTo>
                  <a:lnTo>
                    <a:pt x="171" y="2435"/>
                  </a:lnTo>
                  <a:lnTo>
                    <a:pt x="232" y="2371"/>
                  </a:lnTo>
                  <a:lnTo>
                    <a:pt x="291" y="2307"/>
                  </a:lnTo>
                  <a:lnTo>
                    <a:pt x="350" y="2242"/>
                  </a:lnTo>
                  <a:lnTo>
                    <a:pt x="409" y="2175"/>
                  </a:lnTo>
                  <a:lnTo>
                    <a:pt x="465" y="2108"/>
                  </a:lnTo>
                  <a:lnTo>
                    <a:pt x="523" y="2041"/>
                  </a:lnTo>
                  <a:lnTo>
                    <a:pt x="579" y="1972"/>
                  </a:lnTo>
                  <a:lnTo>
                    <a:pt x="635" y="1903"/>
                  </a:lnTo>
                  <a:lnTo>
                    <a:pt x="690" y="1833"/>
                  </a:lnTo>
                  <a:lnTo>
                    <a:pt x="745" y="1763"/>
                  </a:lnTo>
                  <a:lnTo>
                    <a:pt x="799" y="1693"/>
                  </a:lnTo>
                  <a:lnTo>
                    <a:pt x="854" y="1622"/>
                  </a:lnTo>
                  <a:lnTo>
                    <a:pt x="907" y="1550"/>
                  </a:lnTo>
                  <a:lnTo>
                    <a:pt x="962" y="1479"/>
                  </a:lnTo>
                  <a:lnTo>
                    <a:pt x="1015" y="1408"/>
                  </a:lnTo>
                  <a:lnTo>
                    <a:pt x="1069" y="1337"/>
                  </a:lnTo>
                  <a:lnTo>
                    <a:pt x="1121" y="1268"/>
                  </a:lnTo>
                  <a:lnTo>
                    <a:pt x="1172" y="1200"/>
                  </a:lnTo>
                  <a:lnTo>
                    <a:pt x="1224" y="1131"/>
                  </a:lnTo>
                  <a:lnTo>
                    <a:pt x="1276" y="1063"/>
                  </a:lnTo>
                  <a:lnTo>
                    <a:pt x="1328" y="995"/>
                  </a:lnTo>
                  <a:lnTo>
                    <a:pt x="1380" y="927"/>
                  </a:lnTo>
                  <a:lnTo>
                    <a:pt x="1433" y="860"/>
                  </a:lnTo>
                  <a:lnTo>
                    <a:pt x="1486" y="793"/>
                  </a:lnTo>
                  <a:lnTo>
                    <a:pt x="1539" y="727"/>
                  </a:lnTo>
                  <a:lnTo>
                    <a:pt x="1593" y="661"/>
                  </a:lnTo>
                  <a:lnTo>
                    <a:pt x="1647" y="596"/>
                  </a:lnTo>
                  <a:lnTo>
                    <a:pt x="1701" y="531"/>
                  </a:lnTo>
                  <a:lnTo>
                    <a:pt x="1757" y="467"/>
                  </a:lnTo>
                  <a:lnTo>
                    <a:pt x="1813" y="404"/>
                  </a:lnTo>
                  <a:lnTo>
                    <a:pt x="1869" y="342"/>
                  </a:lnTo>
                  <a:lnTo>
                    <a:pt x="1927" y="281"/>
                  </a:lnTo>
                  <a:lnTo>
                    <a:pt x="1853" y="309"/>
                  </a:lnTo>
                  <a:lnTo>
                    <a:pt x="1779" y="338"/>
                  </a:lnTo>
                  <a:lnTo>
                    <a:pt x="1706" y="369"/>
                  </a:lnTo>
                  <a:lnTo>
                    <a:pt x="1631" y="401"/>
                  </a:lnTo>
                  <a:lnTo>
                    <a:pt x="1558" y="435"/>
                  </a:lnTo>
                  <a:lnTo>
                    <a:pt x="1485" y="471"/>
                  </a:lnTo>
                  <a:lnTo>
                    <a:pt x="1413" y="508"/>
                  </a:lnTo>
                  <a:lnTo>
                    <a:pt x="1342" y="547"/>
                  </a:lnTo>
                  <a:lnTo>
                    <a:pt x="1307" y="568"/>
                  </a:lnTo>
                  <a:lnTo>
                    <a:pt x="1272" y="588"/>
                  </a:lnTo>
                  <a:lnTo>
                    <a:pt x="1237" y="609"/>
                  </a:lnTo>
                  <a:lnTo>
                    <a:pt x="1203" y="631"/>
                  </a:lnTo>
                  <a:lnTo>
                    <a:pt x="1168" y="653"/>
                  </a:lnTo>
                  <a:lnTo>
                    <a:pt x="1134" y="675"/>
                  </a:lnTo>
                  <a:lnTo>
                    <a:pt x="1101" y="699"/>
                  </a:lnTo>
                  <a:lnTo>
                    <a:pt x="1067" y="722"/>
                  </a:lnTo>
                  <a:lnTo>
                    <a:pt x="1034" y="746"/>
                  </a:lnTo>
                  <a:lnTo>
                    <a:pt x="1002" y="770"/>
                  </a:lnTo>
                  <a:lnTo>
                    <a:pt x="969" y="796"/>
                  </a:lnTo>
                  <a:lnTo>
                    <a:pt x="938" y="821"/>
                  </a:lnTo>
                  <a:lnTo>
                    <a:pt x="906" y="847"/>
                  </a:lnTo>
                  <a:lnTo>
                    <a:pt x="875" y="874"/>
                  </a:lnTo>
                  <a:lnTo>
                    <a:pt x="845" y="901"/>
                  </a:lnTo>
                  <a:lnTo>
                    <a:pt x="816" y="92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5" name="Freeform 91"/>
            <p:cNvSpPr>
              <a:spLocks noChangeArrowheads="1"/>
            </p:cNvSpPr>
            <p:nvPr/>
          </p:nvSpPr>
          <p:spPr bwMode="auto">
            <a:xfrm>
              <a:off x="1781175" y="1668360"/>
              <a:ext cx="971550" cy="1411317"/>
            </a:xfrm>
            <a:custGeom>
              <a:avLst/>
              <a:gdLst>
                <a:gd name="T0" fmla="*/ 4 w 2165"/>
                <a:gd name="T1" fmla="*/ 2550 h 2550"/>
                <a:gd name="T2" fmla="*/ 0 w 2165"/>
                <a:gd name="T3" fmla="*/ 2401 h 2550"/>
                <a:gd name="T4" fmla="*/ 3 w 2165"/>
                <a:gd name="T5" fmla="*/ 2258 h 2550"/>
                <a:gd name="T6" fmla="*/ 14 w 2165"/>
                <a:gd name="T7" fmla="*/ 2121 h 2550"/>
                <a:gd name="T8" fmla="*/ 31 w 2165"/>
                <a:gd name="T9" fmla="*/ 1989 h 2550"/>
                <a:gd name="T10" fmla="*/ 55 w 2165"/>
                <a:gd name="T11" fmla="*/ 1862 h 2550"/>
                <a:gd name="T12" fmla="*/ 85 w 2165"/>
                <a:gd name="T13" fmla="*/ 1741 h 2550"/>
                <a:gd name="T14" fmla="*/ 121 w 2165"/>
                <a:gd name="T15" fmla="*/ 1623 h 2550"/>
                <a:gd name="T16" fmla="*/ 163 w 2165"/>
                <a:gd name="T17" fmla="*/ 1512 h 2550"/>
                <a:gd name="T18" fmla="*/ 210 w 2165"/>
                <a:gd name="T19" fmla="*/ 1405 h 2550"/>
                <a:gd name="T20" fmla="*/ 263 w 2165"/>
                <a:gd name="T21" fmla="*/ 1303 h 2550"/>
                <a:gd name="T22" fmla="*/ 321 w 2165"/>
                <a:gd name="T23" fmla="*/ 1205 h 2550"/>
                <a:gd name="T24" fmla="*/ 382 w 2165"/>
                <a:gd name="T25" fmla="*/ 1112 h 2550"/>
                <a:gd name="T26" fmla="*/ 448 w 2165"/>
                <a:gd name="T27" fmla="*/ 1022 h 2550"/>
                <a:gd name="T28" fmla="*/ 519 w 2165"/>
                <a:gd name="T29" fmla="*/ 938 h 2550"/>
                <a:gd name="T30" fmla="*/ 594 w 2165"/>
                <a:gd name="T31" fmla="*/ 857 h 2550"/>
                <a:gd name="T32" fmla="*/ 672 w 2165"/>
                <a:gd name="T33" fmla="*/ 780 h 2550"/>
                <a:gd name="T34" fmla="*/ 752 w 2165"/>
                <a:gd name="T35" fmla="*/ 708 h 2550"/>
                <a:gd name="T36" fmla="*/ 837 w 2165"/>
                <a:gd name="T37" fmla="*/ 639 h 2550"/>
                <a:gd name="T38" fmla="*/ 923 w 2165"/>
                <a:gd name="T39" fmla="*/ 573 h 2550"/>
                <a:gd name="T40" fmla="*/ 1012 w 2165"/>
                <a:gd name="T41" fmla="*/ 511 h 2550"/>
                <a:gd name="T42" fmla="*/ 1103 w 2165"/>
                <a:gd name="T43" fmla="*/ 453 h 2550"/>
                <a:gd name="T44" fmla="*/ 1196 w 2165"/>
                <a:gd name="T45" fmla="*/ 398 h 2550"/>
                <a:gd name="T46" fmla="*/ 1291 w 2165"/>
                <a:gd name="T47" fmla="*/ 345 h 2550"/>
                <a:gd name="T48" fmla="*/ 1387 w 2165"/>
                <a:gd name="T49" fmla="*/ 297 h 2550"/>
                <a:gd name="T50" fmla="*/ 1484 w 2165"/>
                <a:gd name="T51" fmla="*/ 250 h 2550"/>
                <a:gd name="T52" fmla="*/ 1581 w 2165"/>
                <a:gd name="T53" fmla="*/ 207 h 2550"/>
                <a:gd name="T54" fmla="*/ 1679 w 2165"/>
                <a:gd name="T55" fmla="*/ 167 h 2550"/>
                <a:gd name="T56" fmla="*/ 1777 w 2165"/>
                <a:gd name="T57" fmla="*/ 128 h 2550"/>
                <a:gd name="T58" fmla="*/ 1875 w 2165"/>
                <a:gd name="T59" fmla="*/ 92 h 2550"/>
                <a:gd name="T60" fmla="*/ 1973 w 2165"/>
                <a:gd name="T61" fmla="*/ 59 h 2550"/>
                <a:gd name="T62" fmla="*/ 2070 w 2165"/>
                <a:gd name="T63" fmla="*/ 28 h 2550"/>
                <a:gd name="T64" fmla="*/ 2165 w 2165"/>
                <a:gd name="T65" fmla="*/ 0 h 2550"/>
                <a:gd name="T66" fmla="*/ 2091 w 2165"/>
                <a:gd name="T67" fmla="*/ 68 h 2550"/>
                <a:gd name="T68" fmla="*/ 2017 w 2165"/>
                <a:gd name="T69" fmla="*/ 139 h 2550"/>
                <a:gd name="T70" fmla="*/ 1945 w 2165"/>
                <a:gd name="T71" fmla="*/ 211 h 2550"/>
                <a:gd name="T72" fmla="*/ 1874 w 2165"/>
                <a:gd name="T73" fmla="*/ 285 h 2550"/>
                <a:gd name="T74" fmla="*/ 1805 w 2165"/>
                <a:gd name="T75" fmla="*/ 360 h 2550"/>
                <a:gd name="T76" fmla="*/ 1736 w 2165"/>
                <a:gd name="T77" fmla="*/ 438 h 2550"/>
                <a:gd name="T78" fmla="*/ 1668 w 2165"/>
                <a:gd name="T79" fmla="*/ 516 h 2550"/>
                <a:gd name="T80" fmla="*/ 1601 w 2165"/>
                <a:gd name="T81" fmla="*/ 595 h 2550"/>
                <a:gd name="T82" fmla="*/ 1535 w 2165"/>
                <a:gd name="T83" fmla="*/ 676 h 2550"/>
                <a:gd name="T84" fmla="*/ 1469 w 2165"/>
                <a:gd name="T85" fmla="*/ 757 h 2550"/>
                <a:gd name="T86" fmla="*/ 1404 w 2165"/>
                <a:gd name="T87" fmla="*/ 840 h 2550"/>
                <a:gd name="T88" fmla="*/ 1340 w 2165"/>
                <a:gd name="T89" fmla="*/ 922 h 2550"/>
                <a:gd name="T90" fmla="*/ 1212 w 2165"/>
                <a:gd name="T91" fmla="*/ 1090 h 2550"/>
                <a:gd name="T92" fmla="*/ 1085 w 2165"/>
                <a:gd name="T93" fmla="*/ 1258 h 2550"/>
                <a:gd name="T94" fmla="*/ 957 w 2165"/>
                <a:gd name="T95" fmla="*/ 1428 h 2550"/>
                <a:gd name="T96" fmla="*/ 830 w 2165"/>
                <a:gd name="T97" fmla="*/ 1597 h 2550"/>
                <a:gd name="T98" fmla="*/ 765 w 2165"/>
                <a:gd name="T99" fmla="*/ 1682 h 2550"/>
                <a:gd name="T100" fmla="*/ 700 w 2165"/>
                <a:gd name="T101" fmla="*/ 1765 h 2550"/>
                <a:gd name="T102" fmla="*/ 635 w 2165"/>
                <a:gd name="T103" fmla="*/ 1848 h 2550"/>
                <a:gd name="T104" fmla="*/ 568 w 2165"/>
                <a:gd name="T105" fmla="*/ 1930 h 2550"/>
                <a:gd name="T106" fmla="*/ 501 w 2165"/>
                <a:gd name="T107" fmla="*/ 2012 h 2550"/>
                <a:gd name="T108" fmla="*/ 433 w 2165"/>
                <a:gd name="T109" fmla="*/ 2092 h 2550"/>
                <a:gd name="T110" fmla="*/ 365 w 2165"/>
                <a:gd name="T111" fmla="*/ 2172 h 2550"/>
                <a:gd name="T112" fmla="*/ 295 w 2165"/>
                <a:gd name="T113" fmla="*/ 2250 h 2550"/>
                <a:gd name="T114" fmla="*/ 224 w 2165"/>
                <a:gd name="T115" fmla="*/ 2327 h 2550"/>
                <a:gd name="T116" fmla="*/ 152 w 2165"/>
                <a:gd name="T117" fmla="*/ 2404 h 2550"/>
                <a:gd name="T118" fmla="*/ 79 w 2165"/>
                <a:gd name="T119" fmla="*/ 2478 h 2550"/>
                <a:gd name="T120" fmla="*/ 4 w 2165"/>
                <a:gd name="T121" fmla="*/ 2550 h 2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65" h="2550">
                  <a:moveTo>
                    <a:pt x="4" y="2550"/>
                  </a:moveTo>
                  <a:lnTo>
                    <a:pt x="0" y="2401"/>
                  </a:lnTo>
                  <a:lnTo>
                    <a:pt x="3" y="2258"/>
                  </a:lnTo>
                  <a:lnTo>
                    <a:pt x="14" y="2121"/>
                  </a:lnTo>
                  <a:lnTo>
                    <a:pt x="31" y="1989"/>
                  </a:lnTo>
                  <a:lnTo>
                    <a:pt x="55" y="1862"/>
                  </a:lnTo>
                  <a:lnTo>
                    <a:pt x="85" y="1741"/>
                  </a:lnTo>
                  <a:lnTo>
                    <a:pt x="121" y="1623"/>
                  </a:lnTo>
                  <a:lnTo>
                    <a:pt x="163" y="1512"/>
                  </a:lnTo>
                  <a:lnTo>
                    <a:pt x="210" y="1405"/>
                  </a:lnTo>
                  <a:lnTo>
                    <a:pt x="263" y="1303"/>
                  </a:lnTo>
                  <a:lnTo>
                    <a:pt x="321" y="1205"/>
                  </a:lnTo>
                  <a:lnTo>
                    <a:pt x="382" y="1112"/>
                  </a:lnTo>
                  <a:lnTo>
                    <a:pt x="448" y="1022"/>
                  </a:lnTo>
                  <a:lnTo>
                    <a:pt x="519" y="938"/>
                  </a:lnTo>
                  <a:lnTo>
                    <a:pt x="594" y="857"/>
                  </a:lnTo>
                  <a:lnTo>
                    <a:pt x="672" y="780"/>
                  </a:lnTo>
                  <a:lnTo>
                    <a:pt x="752" y="708"/>
                  </a:lnTo>
                  <a:lnTo>
                    <a:pt x="837" y="639"/>
                  </a:lnTo>
                  <a:lnTo>
                    <a:pt x="923" y="573"/>
                  </a:lnTo>
                  <a:lnTo>
                    <a:pt x="1012" y="511"/>
                  </a:lnTo>
                  <a:lnTo>
                    <a:pt x="1103" y="453"/>
                  </a:lnTo>
                  <a:lnTo>
                    <a:pt x="1196" y="398"/>
                  </a:lnTo>
                  <a:lnTo>
                    <a:pt x="1291" y="345"/>
                  </a:lnTo>
                  <a:lnTo>
                    <a:pt x="1387" y="297"/>
                  </a:lnTo>
                  <a:lnTo>
                    <a:pt x="1484" y="250"/>
                  </a:lnTo>
                  <a:lnTo>
                    <a:pt x="1581" y="207"/>
                  </a:lnTo>
                  <a:lnTo>
                    <a:pt x="1679" y="167"/>
                  </a:lnTo>
                  <a:lnTo>
                    <a:pt x="1777" y="128"/>
                  </a:lnTo>
                  <a:lnTo>
                    <a:pt x="1875" y="92"/>
                  </a:lnTo>
                  <a:lnTo>
                    <a:pt x="1973" y="59"/>
                  </a:lnTo>
                  <a:lnTo>
                    <a:pt x="2070" y="28"/>
                  </a:lnTo>
                  <a:lnTo>
                    <a:pt x="2165" y="0"/>
                  </a:lnTo>
                  <a:lnTo>
                    <a:pt x="2091" y="68"/>
                  </a:lnTo>
                  <a:lnTo>
                    <a:pt x="2017" y="139"/>
                  </a:lnTo>
                  <a:lnTo>
                    <a:pt x="1945" y="211"/>
                  </a:lnTo>
                  <a:lnTo>
                    <a:pt x="1874" y="285"/>
                  </a:lnTo>
                  <a:lnTo>
                    <a:pt x="1805" y="360"/>
                  </a:lnTo>
                  <a:lnTo>
                    <a:pt x="1736" y="438"/>
                  </a:lnTo>
                  <a:lnTo>
                    <a:pt x="1668" y="516"/>
                  </a:lnTo>
                  <a:lnTo>
                    <a:pt x="1601" y="595"/>
                  </a:lnTo>
                  <a:lnTo>
                    <a:pt x="1535" y="676"/>
                  </a:lnTo>
                  <a:lnTo>
                    <a:pt x="1469" y="757"/>
                  </a:lnTo>
                  <a:lnTo>
                    <a:pt x="1404" y="840"/>
                  </a:lnTo>
                  <a:lnTo>
                    <a:pt x="1340" y="922"/>
                  </a:lnTo>
                  <a:lnTo>
                    <a:pt x="1212" y="1090"/>
                  </a:lnTo>
                  <a:lnTo>
                    <a:pt x="1085" y="1258"/>
                  </a:lnTo>
                  <a:lnTo>
                    <a:pt x="957" y="1428"/>
                  </a:lnTo>
                  <a:lnTo>
                    <a:pt x="830" y="1597"/>
                  </a:lnTo>
                  <a:lnTo>
                    <a:pt x="765" y="1682"/>
                  </a:lnTo>
                  <a:lnTo>
                    <a:pt x="700" y="1765"/>
                  </a:lnTo>
                  <a:lnTo>
                    <a:pt x="635" y="1848"/>
                  </a:lnTo>
                  <a:lnTo>
                    <a:pt x="568" y="1930"/>
                  </a:lnTo>
                  <a:lnTo>
                    <a:pt x="501" y="2012"/>
                  </a:lnTo>
                  <a:lnTo>
                    <a:pt x="433" y="2092"/>
                  </a:lnTo>
                  <a:lnTo>
                    <a:pt x="365" y="2172"/>
                  </a:lnTo>
                  <a:lnTo>
                    <a:pt x="295" y="2250"/>
                  </a:lnTo>
                  <a:lnTo>
                    <a:pt x="224" y="2327"/>
                  </a:lnTo>
                  <a:lnTo>
                    <a:pt x="152" y="2404"/>
                  </a:lnTo>
                  <a:lnTo>
                    <a:pt x="79" y="2478"/>
                  </a:lnTo>
                  <a:lnTo>
                    <a:pt x="4" y="25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6" name="Freeform 92"/>
            <p:cNvSpPr>
              <a:spLocks noChangeArrowheads="1"/>
            </p:cNvSpPr>
            <p:nvPr/>
          </p:nvSpPr>
          <p:spPr bwMode="auto">
            <a:xfrm>
              <a:off x="1320800" y="2422438"/>
              <a:ext cx="841375" cy="1322416"/>
            </a:xfrm>
            <a:custGeom>
              <a:avLst/>
              <a:gdLst>
                <a:gd name="T0" fmla="*/ 6 w 1865"/>
                <a:gd name="T1" fmla="*/ 1947 h 2383"/>
                <a:gd name="T2" fmla="*/ 0 w 1865"/>
                <a:gd name="T3" fmla="*/ 1910 h 2383"/>
                <a:gd name="T4" fmla="*/ 19 w 1865"/>
                <a:gd name="T5" fmla="*/ 1839 h 2383"/>
                <a:gd name="T6" fmla="*/ 84 w 1865"/>
                <a:gd name="T7" fmla="*/ 1667 h 2383"/>
                <a:gd name="T8" fmla="*/ 158 w 1865"/>
                <a:gd name="T9" fmla="*/ 1505 h 2383"/>
                <a:gd name="T10" fmla="*/ 241 w 1865"/>
                <a:gd name="T11" fmla="*/ 1354 h 2383"/>
                <a:gd name="T12" fmla="*/ 331 w 1865"/>
                <a:gd name="T13" fmla="*/ 1211 h 2383"/>
                <a:gd name="T14" fmla="*/ 429 w 1865"/>
                <a:gd name="T15" fmla="*/ 1077 h 2383"/>
                <a:gd name="T16" fmla="*/ 534 w 1865"/>
                <a:gd name="T17" fmla="*/ 950 h 2383"/>
                <a:gd name="T18" fmla="*/ 645 w 1865"/>
                <a:gd name="T19" fmla="*/ 831 h 2383"/>
                <a:gd name="T20" fmla="*/ 789 w 1865"/>
                <a:gd name="T21" fmla="*/ 692 h 2383"/>
                <a:gd name="T22" fmla="*/ 1031 w 1865"/>
                <a:gd name="T23" fmla="*/ 490 h 2383"/>
                <a:gd name="T24" fmla="*/ 1283 w 1865"/>
                <a:gd name="T25" fmla="*/ 306 h 2383"/>
                <a:gd name="T26" fmla="*/ 1541 w 1865"/>
                <a:gd name="T27" fmla="*/ 135 h 2383"/>
                <a:gd name="T28" fmla="*/ 1743 w 1865"/>
                <a:gd name="T29" fmla="*/ 9 h 2383"/>
                <a:gd name="T30" fmla="*/ 1775 w 1865"/>
                <a:gd name="T31" fmla="*/ 0 h 2383"/>
                <a:gd name="T32" fmla="*/ 1807 w 1865"/>
                <a:gd name="T33" fmla="*/ 4 h 2383"/>
                <a:gd name="T34" fmla="*/ 1835 w 1865"/>
                <a:gd name="T35" fmla="*/ 21 h 2383"/>
                <a:gd name="T36" fmla="*/ 1858 w 1865"/>
                <a:gd name="T37" fmla="*/ 52 h 2383"/>
                <a:gd name="T38" fmla="*/ 1864 w 1865"/>
                <a:gd name="T39" fmla="*/ 99 h 2383"/>
                <a:gd name="T40" fmla="*/ 1814 w 1865"/>
                <a:gd name="T41" fmla="*/ 188 h 2383"/>
                <a:gd name="T42" fmla="*/ 1670 w 1865"/>
                <a:gd name="T43" fmla="*/ 395 h 2383"/>
                <a:gd name="T44" fmla="*/ 1511 w 1865"/>
                <a:gd name="T45" fmla="*/ 619 h 2383"/>
                <a:gd name="T46" fmla="*/ 1298 w 1865"/>
                <a:gd name="T47" fmla="*/ 929 h 2383"/>
                <a:gd name="T48" fmla="*/ 1176 w 1865"/>
                <a:gd name="T49" fmla="*/ 1128 h 2383"/>
                <a:gd name="T50" fmla="*/ 1085 w 1865"/>
                <a:gd name="T51" fmla="*/ 1295 h 2383"/>
                <a:gd name="T52" fmla="*/ 1002 w 1865"/>
                <a:gd name="T53" fmla="*/ 1473 h 2383"/>
                <a:gd name="T54" fmla="*/ 927 w 1865"/>
                <a:gd name="T55" fmla="*/ 1667 h 2383"/>
                <a:gd name="T56" fmla="*/ 861 w 1865"/>
                <a:gd name="T57" fmla="*/ 1880 h 2383"/>
                <a:gd name="T58" fmla="*/ 837 w 1865"/>
                <a:gd name="T59" fmla="*/ 1955 h 2383"/>
                <a:gd name="T60" fmla="*/ 817 w 1865"/>
                <a:gd name="T61" fmla="*/ 1980 h 2383"/>
                <a:gd name="T62" fmla="*/ 328 w 1865"/>
                <a:gd name="T63" fmla="*/ 2376 h 2383"/>
                <a:gd name="T64" fmla="*/ 296 w 1865"/>
                <a:gd name="T65" fmla="*/ 2383 h 2383"/>
                <a:gd name="T66" fmla="*/ 264 w 1865"/>
                <a:gd name="T67" fmla="*/ 2375 h 2383"/>
                <a:gd name="T68" fmla="*/ 236 w 1865"/>
                <a:gd name="T69" fmla="*/ 2357 h 2383"/>
                <a:gd name="T70" fmla="*/ 177 w 1865"/>
                <a:gd name="T71" fmla="*/ 1904 h 2383"/>
                <a:gd name="T72" fmla="*/ 720 w 1865"/>
                <a:gd name="T73" fmla="*/ 1751 h 2383"/>
                <a:gd name="T74" fmla="*/ 792 w 1865"/>
                <a:gd name="T75" fmla="*/ 1538 h 2383"/>
                <a:gd name="T76" fmla="*/ 871 w 1865"/>
                <a:gd name="T77" fmla="*/ 1345 h 2383"/>
                <a:gd name="T78" fmla="*/ 959 w 1865"/>
                <a:gd name="T79" fmla="*/ 1166 h 2383"/>
                <a:gd name="T80" fmla="*/ 1054 w 1865"/>
                <a:gd name="T81" fmla="*/ 997 h 2383"/>
                <a:gd name="T82" fmla="*/ 1206 w 1865"/>
                <a:gd name="T83" fmla="*/ 757 h 2383"/>
                <a:gd name="T84" fmla="*/ 1428 w 1865"/>
                <a:gd name="T85" fmla="*/ 440 h 2383"/>
                <a:gd name="T86" fmla="*/ 1225 w 1865"/>
                <a:gd name="T87" fmla="*/ 558 h 2383"/>
                <a:gd name="T88" fmla="*/ 1032 w 1865"/>
                <a:gd name="T89" fmla="*/ 707 h 2383"/>
                <a:gd name="T90" fmla="*/ 884 w 1865"/>
                <a:gd name="T91" fmla="*/ 837 h 2383"/>
                <a:gd name="T92" fmla="*/ 718 w 1865"/>
                <a:gd name="T93" fmla="*/ 1002 h 2383"/>
                <a:gd name="T94" fmla="*/ 619 w 1865"/>
                <a:gd name="T95" fmla="*/ 1114 h 2383"/>
                <a:gd name="T96" fmla="*/ 525 w 1865"/>
                <a:gd name="T97" fmla="*/ 1232 h 2383"/>
                <a:gd name="T98" fmla="*/ 439 w 1865"/>
                <a:gd name="T99" fmla="*/ 1359 h 2383"/>
                <a:gd name="T100" fmla="*/ 358 w 1865"/>
                <a:gd name="T101" fmla="*/ 1492 h 2383"/>
                <a:gd name="T102" fmla="*/ 285 w 1865"/>
                <a:gd name="T103" fmla="*/ 1634 h 2383"/>
                <a:gd name="T104" fmla="*/ 220 w 1865"/>
                <a:gd name="T105" fmla="*/ 1786 h 2383"/>
                <a:gd name="T106" fmla="*/ 5 w 1865"/>
                <a:gd name="T107" fmla="*/ 1885 h 2383"/>
                <a:gd name="T108" fmla="*/ 19 w 1865"/>
                <a:gd name="T109" fmla="*/ 1859 h 2383"/>
                <a:gd name="T110" fmla="*/ 43 w 1865"/>
                <a:gd name="T111" fmla="*/ 1838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65" h="2383">
                  <a:moveTo>
                    <a:pt x="222" y="2337"/>
                  </a:moveTo>
                  <a:lnTo>
                    <a:pt x="220" y="2335"/>
                  </a:lnTo>
                  <a:lnTo>
                    <a:pt x="10" y="1955"/>
                  </a:lnTo>
                  <a:lnTo>
                    <a:pt x="6" y="1947"/>
                  </a:lnTo>
                  <a:lnTo>
                    <a:pt x="3" y="1937"/>
                  </a:lnTo>
                  <a:lnTo>
                    <a:pt x="1" y="1929"/>
                  </a:lnTo>
                  <a:lnTo>
                    <a:pt x="0" y="1920"/>
                  </a:lnTo>
                  <a:lnTo>
                    <a:pt x="0" y="1910"/>
                  </a:lnTo>
                  <a:lnTo>
                    <a:pt x="0" y="1902"/>
                  </a:lnTo>
                  <a:lnTo>
                    <a:pt x="2" y="1893"/>
                  </a:lnTo>
                  <a:lnTo>
                    <a:pt x="5" y="1885"/>
                  </a:lnTo>
                  <a:lnTo>
                    <a:pt x="19" y="1839"/>
                  </a:lnTo>
                  <a:lnTo>
                    <a:pt x="35" y="1795"/>
                  </a:lnTo>
                  <a:lnTo>
                    <a:pt x="50" y="1752"/>
                  </a:lnTo>
                  <a:lnTo>
                    <a:pt x="67" y="1709"/>
                  </a:lnTo>
                  <a:lnTo>
                    <a:pt x="84" y="1667"/>
                  </a:lnTo>
                  <a:lnTo>
                    <a:pt x="102" y="1626"/>
                  </a:lnTo>
                  <a:lnTo>
                    <a:pt x="120" y="1585"/>
                  </a:lnTo>
                  <a:lnTo>
                    <a:pt x="139" y="1545"/>
                  </a:lnTo>
                  <a:lnTo>
                    <a:pt x="158" y="1505"/>
                  </a:lnTo>
                  <a:lnTo>
                    <a:pt x="178" y="1466"/>
                  </a:lnTo>
                  <a:lnTo>
                    <a:pt x="199" y="1428"/>
                  </a:lnTo>
                  <a:lnTo>
                    <a:pt x="219" y="1390"/>
                  </a:lnTo>
                  <a:lnTo>
                    <a:pt x="241" y="1354"/>
                  </a:lnTo>
                  <a:lnTo>
                    <a:pt x="264" y="1317"/>
                  </a:lnTo>
                  <a:lnTo>
                    <a:pt x="285" y="1281"/>
                  </a:lnTo>
                  <a:lnTo>
                    <a:pt x="309" y="1246"/>
                  </a:lnTo>
                  <a:lnTo>
                    <a:pt x="331" y="1211"/>
                  </a:lnTo>
                  <a:lnTo>
                    <a:pt x="355" y="1177"/>
                  </a:lnTo>
                  <a:lnTo>
                    <a:pt x="380" y="1142"/>
                  </a:lnTo>
                  <a:lnTo>
                    <a:pt x="405" y="1110"/>
                  </a:lnTo>
                  <a:lnTo>
                    <a:pt x="429" y="1077"/>
                  </a:lnTo>
                  <a:lnTo>
                    <a:pt x="455" y="1045"/>
                  </a:lnTo>
                  <a:lnTo>
                    <a:pt x="481" y="1013"/>
                  </a:lnTo>
                  <a:lnTo>
                    <a:pt x="508" y="981"/>
                  </a:lnTo>
                  <a:lnTo>
                    <a:pt x="534" y="950"/>
                  </a:lnTo>
                  <a:lnTo>
                    <a:pt x="561" y="920"/>
                  </a:lnTo>
                  <a:lnTo>
                    <a:pt x="588" y="890"/>
                  </a:lnTo>
                  <a:lnTo>
                    <a:pt x="616" y="860"/>
                  </a:lnTo>
                  <a:lnTo>
                    <a:pt x="645" y="831"/>
                  </a:lnTo>
                  <a:lnTo>
                    <a:pt x="672" y="802"/>
                  </a:lnTo>
                  <a:lnTo>
                    <a:pt x="701" y="774"/>
                  </a:lnTo>
                  <a:lnTo>
                    <a:pt x="730" y="747"/>
                  </a:lnTo>
                  <a:lnTo>
                    <a:pt x="789" y="692"/>
                  </a:lnTo>
                  <a:lnTo>
                    <a:pt x="848" y="639"/>
                  </a:lnTo>
                  <a:lnTo>
                    <a:pt x="907" y="589"/>
                  </a:lnTo>
                  <a:lnTo>
                    <a:pt x="969" y="538"/>
                  </a:lnTo>
                  <a:lnTo>
                    <a:pt x="1031" y="490"/>
                  </a:lnTo>
                  <a:lnTo>
                    <a:pt x="1093" y="443"/>
                  </a:lnTo>
                  <a:lnTo>
                    <a:pt x="1155" y="396"/>
                  </a:lnTo>
                  <a:lnTo>
                    <a:pt x="1219" y="351"/>
                  </a:lnTo>
                  <a:lnTo>
                    <a:pt x="1283" y="306"/>
                  </a:lnTo>
                  <a:lnTo>
                    <a:pt x="1347" y="262"/>
                  </a:lnTo>
                  <a:lnTo>
                    <a:pt x="1412" y="220"/>
                  </a:lnTo>
                  <a:lnTo>
                    <a:pt x="1477" y="177"/>
                  </a:lnTo>
                  <a:lnTo>
                    <a:pt x="1541" y="135"/>
                  </a:lnTo>
                  <a:lnTo>
                    <a:pt x="1606" y="94"/>
                  </a:lnTo>
                  <a:lnTo>
                    <a:pt x="1670" y="53"/>
                  </a:lnTo>
                  <a:lnTo>
                    <a:pt x="1734" y="13"/>
                  </a:lnTo>
                  <a:lnTo>
                    <a:pt x="1743" y="9"/>
                  </a:lnTo>
                  <a:lnTo>
                    <a:pt x="1750" y="5"/>
                  </a:lnTo>
                  <a:lnTo>
                    <a:pt x="1758" y="2"/>
                  </a:lnTo>
                  <a:lnTo>
                    <a:pt x="1766" y="1"/>
                  </a:lnTo>
                  <a:lnTo>
                    <a:pt x="1775" y="0"/>
                  </a:lnTo>
                  <a:lnTo>
                    <a:pt x="1783" y="0"/>
                  </a:lnTo>
                  <a:lnTo>
                    <a:pt x="1791" y="1"/>
                  </a:lnTo>
                  <a:lnTo>
                    <a:pt x="1799" y="2"/>
                  </a:lnTo>
                  <a:lnTo>
                    <a:pt x="1807" y="4"/>
                  </a:lnTo>
                  <a:lnTo>
                    <a:pt x="1815" y="8"/>
                  </a:lnTo>
                  <a:lnTo>
                    <a:pt x="1822" y="12"/>
                  </a:lnTo>
                  <a:lnTo>
                    <a:pt x="1829" y="16"/>
                  </a:lnTo>
                  <a:lnTo>
                    <a:pt x="1835" y="21"/>
                  </a:lnTo>
                  <a:lnTo>
                    <a:pt x="1841" y="27"/>
                  </a:lnTo>
                  <a:lnTo>
                    <a:pt x="1848" y="33"/>
                  </a:lnTo>
                  <a:lnTo>
                    <a:pt x="1853" y="41"/>
                  </a:lnTo>
                  <a:lnTo>
                    <a:pt x="1858" y="52"/>
                  </a:lnTo>
                  <a:lnTo>
                    <a:pt x="1862" y="63"/>
                  </a:lnTo>
                  <a:lnTo>
                    <a:pt x="1864" y="76"/>
                  </a:lnTo>
                  <a:lnTo>
                    <a:pt x="1865" y="88"/>
                  </a:lnTo>
                  <a:lnTo>
                    <a:pt x="1864" y="99"/>
                  </a:lnTo>
                  <a:lnTo>
                    <a:pt x="1861" y="112"/>
                  </a:lnTo>
                  <a:lnTo>
                    <a:pt x="1857" y="122"/>
                  </a:lnTo>
                  <a:lnTo>
                    <a:pt x="1851" y="133"/>
                  </a:lnTo>
                  <a:lnTo>
                    <a:pt x="1814" y="188"/>
                  </a:lnTo>
                  <a:lnTo>
                    <a:pt x="1778" y="242"/>
                  </a:lnTo>
                  <a:lnTo>
                    <a:pt x="1742" y="294"/>
                  </a:lnTo>
                  <a:lnTo>
                    <a:pt x="1706" y="346"/>
                  </a:lnTo>
                  <a:lnTo>
                    <a:pt x="1670" y="395"/>
                  </a:lnTo>
                  <a:lnTo>
                    <a:pt x="1635" y="445"/>
                  </a:lnTo>
                  <a:lnTo>
                    <a:pt x="1601" y="493"/>
                  </a:lnTo>
                  <a:lnTo>
                    <a:pt x="1567" y="540"/>
                  </a:lnTo>
                  <a:lnTo>
                    <a:pt x="1511" y="619"/>
                  </a:lnTo>
                  <a:lnTo>
                    <a:pt x="1456" y="697"/>
                  </a:lnTo>
                  <a:lnTo>
                    <a:pt x="1402" y="774"/>
                  </a:lnTo>
                  <a:lnTo>
                    <a:pt x="1349" y="852"/>
                  </a:lnTo>
                  <a:lnTo>
                    <a:pt x="1298" y="929"/>
                  </a:lnTo>
                  <a:lnTo>
                    <a:pt x="1248" y="1007"/>
                  </a:lnTo>
                  <a:lnTo>
                    <a:pt x="1223" y="1048"/>
                  </a:lnTo>
                  <a:lnTo>
                    <a:pt x="1200" y="1087"/>
                  </a:lnTo>
                  <a:lnTo>
                    <a:pt x="1176" y="1128"/>
                  </a:lnTo>
                  <a:lnTo>
                    <a:pt x="1152" y="1168"/>
                  </a:lnTo>
                  <a:lnTo>
                    <a:pt x="1130" y="1211"/>
                  </a:lnTo>
                  <a:lnTo>
                    <a:pt x="1107" y="1252"/>
                  </a:lnTo>
                  <a:lnTo>
                    <a:pt x="1085" y="1295"/>
                  </a:lnTo>
                  <a:lnTo>
                    <a:pt x="1064" y="1338"/>
                  </a:lnTo>
                  <a:lnTo>
                    <a:pt x="1043" y="1383"/>
                  </a:lnTo>
                  <a:lnTo>
                    <a:pt x="1023" y="1428"/>
                  </a:lnTo>
                  <a:lnTo>
                    <a:pt x="1002" y="1473"/>
                  </a:lnTo>
                  <a:lnTo>
                    <a:pt x="982" y="1521"/>
                  </a:lnTo>
                  <a:lnTo>
                    <a:pt x="964" y="1568"/>
                  </a:lnTo>
                  <a:lnTo>
                    <a:pt x="945" y="1617"/>
                  </a:lnTo>
                  <a:lnTo>
                    <a:pt x="927" y="1667"/>
                  </a:lnTo>
                  <a:lnTo>
                    <a:pt x="909" y="1718"/>
                  </a:lnTo>
                  <a:lnTo>
                    <a:pt x="893" y="1770"/>
                  </a:lnTo>
                  <a:lnTo>
                    <a:pt x="876" y="1824"/>
                  </a:lnTo>
                  <a:lnTo>
                    <a:pt x="861" y="1880"/>
                  </a:lnTo>
                  <a:lnTo>
                    <a:pt x="845" y="1935"/>
                  </a:lnTo>
                  <a:lnTo>
                    <a:pt x="843" y="1942"/>
                  </a:lnTo>
                  <a:lnTo>
                    <a:pt x="840" y="1949"/>
                  </a:lnTo>
                  <a:lnTo>
                    <a:pt x="837" y="1955"/>
                  </a:lnTo>
                  <a:lnTo>
                    <a:pt x="834" y="1960"/>
                  </a:lnTo>
                  <a:lnTo>
                    <a:pt x="826" y="1970"/>
                  </a:lnTo>
                  <a:lnTo>
                    <a:pt x="817" y="1980"/>
                  </a:lnTo>
                  <a:lnTo>
                    <a:pt x="351" y="2363"/>
                  </a:lnTo>
                  <a:lnTo>
                    <a:pt x="344" y="2368"/>
                  </a:lnTo>
                  <a:lnTo>
                    <a:pt x="337" y="2372"/>
                  </a:lnTo>
                  <a:lnTo>
                    <a:pt x="328" y="2376"/>
                  </a:lnTo>
                  <a:lnTo>
                    <a:pt x="320" y="2378"/>
                  </a:lnTo>
                  <a:lnTo>
                    <a:pt x="312" y="2381"/>
                  </a:lnTo>
                  <a:lnTo>
                    <a:pt x="305" y="2382"/>
                  </a:lnTo>
                  <a:lnTo>
                    <a:pt x="296" y="2383"/>
                  </a:lnTo>
                  <a:lnTo>
                    <a:pt x="288" y="2382"/>
                  </a:lnTo>
                  <a:lnTo>
                    <a:pt x="280" y="2381"/>
                  </a:lnTo>
                  <a:lnTo>
                    <a:pt x="272" y="2378"/>
                  </a:lnTo>
                  <a:lnTo>
                    <a:pt x="264" y="2375"/>
                  </a:lnTo>
                  <a:lnTo>
                    <a:pt x="256" y="2372"/>
                  </a:lnTo>
                  <a:lnTo>
                    <a:pt x="249" y="2368"/>
                  </a:lnTo>
                  <a:lnTo>
                    <a:pt x="243" y="2363"/>
                  </a:lnTo>
                  <a:lnTo>
                    <a:pt x="236" y="2357"/>
                  </a:lnTo>
                  <a:lnTo>
                    <a:pt x="231" y="2351"/>
                  </a:lnTo>
                  <a:lnTo>
                    <a:pt x="225" y="2344"/>
                  </a:lnTo>
                  <a:lnTo>
                    <a:pt x="222" y="2337"/>
                  </a:lnTo>
                  <a:close/>
                  <a:moveTo>
                    <a:pt x="177" y="1904"/>
                  </a:moveTo>
                  <a:lnTo>
                    <a:pt x="321" y="2165"/>
                  </a:lnTo>
                  <a:lnTo>
                    <a:pt x="688" y="1864"/>
                  </a:lnTo>
                  <a:lnTo>
                    <a:pt x="703" y="1806"/>
                  </a:lnTo>
                  <a:lnTo>
                    <a:pt x="720" y="1751"/>
                  </a:lnTo>
                  <a:lnTo>
                    <a:pt x="737" y="1696"/>
                  </a:lnTo>
                  <a:lnTo>
                    <a:pt x="755" y="1642"/>
                  </a:lnTo>
                  <a:lnTo>
                    <a:pt x="773" y="1590"/>
                  </a:lnTo>
                  <a:lnTo>
                    <a:pt x="792" y="1538"/>
                  </a:lnTo>
                  <a:lnTo>
                    <a:pt x="811" y="1489"/>
                  </a:lnTo>
                  <a:lnTo>
                    <a:pt x="831" y="1439"/>
                  </a:lnTo>
                  <a:lnTo>
                    <a:pt x="851" y="1392"/>
                  </a:lnTo>
                  <a:lnTo>
                    <a:pt x="871" y="1345"/>
                  </a:lnTo>
                  <a:lnTo>
                    <a:pt x="893" y="1299"/>
                  </a:lnTo>
                  <a:lnTo>
                    <a:pt x="914" y="1254"/>
                  </a:lnTo>
                  <a:lnTo>
                    <a:pt x="936" y="1209"/>
                  </a:lnTo>
                  <a:lnTo>
                    <a:pt x="959" y="1166"/>
                  </a:lnTo>
                  <a:lnTo>
                    <a:pt x="982" y="1123"/>
                  </a:lnTo>
                  <a:lnTo>
                    <a:pt x="1005" y="1081"/>
                  </a:lnTo>
                  <a:lnTo>
                    <a:pt x="1029" y="1038"/>
                  </a:lnTo>
                  <a:lnTo>
                    <a:pt x="1054" y="997"/>
                  </a:lnTo>
                  <a:lnTo>
                    <a:pt x="1078" y="957"/>
                  </a:lnTo>
                  <a:lnTo>
                    <a:pt x="1103" y="916"/>
                  </a:lnTo>
                  <a:lnTo>
                    <a:pt x="1153" y="836"/>
                  </a:lnTo>
                  <a:lnTo>
                    <a:pt x="1206" y="757"/>
                  </a:lnTo>
                  <a:lnTo>
                    <a:pt x="1260" y="679"/>
                  </a:lnTo>
                  <a:lnTo>
                    <a:pt x="1315" y="599"/>
                  </a:lnTo>
                  <a:lnTo>
                    <a:pt x="1371" y="521"/>
                  </a:lnTo>
                  <a:lnTo>
                    <a:pt x="1428" y="440"/>
                  </a:lnTo>
                  <a:lnTo>
                    <a:pt x="1464" y="390"/>
                  </a:lnTo>
                  <a:lnTo>
                    <a:pt x="1384" y="445"/>
                  </a:lnTo>
                  <a:lnTo>
                    <a:pt x="1304" y="500"/>
                  </a:lnTo>
                  <a:lnTo>
                    <a:pt x="1225" y="558"/>
                  </a:lnTo>
                  <a:lnTo>
                    <a:pt x="1147" y="617"/>
                  </a:lnTo>
                  <a:lnTo>
                    <a:pt x="1108" y="647"/>
                  </a:lnTo>
                  <a:lnTo>
                    <a:pt x="1070" y="677"/>
                  </a:lnTo>
                  <a:lnTo>
                    <a:pt x="1032" y="707"/>
                  </a:lnTo>
                  <a:lnTo>
                    <a:pt x="994" y="739"/>
                  </a:lnTo>
                  <a:lnTo>
                    <a:pt x="957" y="771"/>
                  </a:lnTo>
                  <a:lnTo>
                    <a:pt x="921" y="803"/>
                  </a:lnTo>
                  <a:lnTo>
                    <a:pt x="884" y="837"/>
                  </a:lnTo>
                  <a:lnTo>
                    <a:pt x="848" y="870"/>
                  </a:lnTo>
                  <a:lnTo>
                    <a:pt x="795" y="922"/>
                  </a:lnTo>
                  <a:lnTo>
                    <a:pt x="743" y="974"/>
                  </a:lnTo>
                  <a:lnTo>
                    <a:pt x="718" y="1002"/>
                  </a:lnTo>
                  <a:lnTo>
                    <a:pt x="692" y="1029"/>
                  </a:lnTo>
                  <a:lnTo>
                    <a:pt x="667" y="1057"/>
                  </a:lnTo>
                  <a:lnTo>
                    <a:pt x="644" y="1085"/>
                  </a:lnTo>
                  <a:lnTo>
                    <a:pt x="619" y="1114"/>
                  </a:lnTo>
                  <a:lnTo>
                    <a:pt x="595" y="1142"/>
                  </a:lnTo>
                  <a:lnTo>
                    <a:pt x="571" y="1172"/>
                  </a:lnTo>
                  <a:lnTo>
                    <a:pt x="549" y="1202"/>
                  </a:lnTo>
                  <a:lnTo>
                    <a:pt x="525" y="1232"/>
                  </a:lnTo>
                  <a:lnTo>
                    <a:pt x="504" y="1263"/>
                  </a:lnTo>
                  <a:lnTo>
                    <a:pt x="482" y="1295"/>
                  </a:lnTo>
                  <a:lnTo>
                    <a:pt x="460" y="1326"/>
                  </a:lnTo>
                  <a:lnTo>
                    <a:pt x="439" y="1359"/>
                  </a:lnTo>
                  <a:lnTo>
                    <a:pt x="418" y="1391"/>
                  </a:lnTo>
                  <a:lnTo>
                    <a:pt x="397" y="1425"/>
                  </a:lnTo>
                  <a:lnTo>
                    <a:pt x="378" y="1458"/>
                  </a:lnTo>
                  <a:lnTo>
                    <a:pt x="358" y="1492"/>
                  </a:lnTo>
                  <a:lnTo>
                    <a:pt x="340" y="1527"/>
                  </a:lnTo>
                  <a:lnTo>
                    <a:pt x="321" y="1562"/>
                  </a:lnTo>
                  <a:lnTo>
                    <a:pt x="303" y="1598"/>
                  </a:lnTo>
                  <a:lnTo>
                    <a:pt x="285" y="1634"/>
                  </a:lnTo>
                  <a:lnTo>
                    <a:pt x="269" y="1671"/>
                  </a:lnTo>
                  <a:lnTo>
                    <a:pt x="252" y="1708"/>
                  </a:lnTo>
                  <a:lnTo>
                    <a:pt x="236" y="1747"/>
                  </a:lnTo>
                  <a:lnTo>
                    <a:pt x="220" y="1786"/>
                  </a:lnTo>
                  <a:lnTo>
                    <a:pt x="206" y="1825"/>
                  </a:lnTo>
                  <a:lnTo>
                    <a:pt x="191" y="1864"/>
                  </a:lnTo>
                  <a:lnTo>
                    <a:pt x="177" y="1904"/>
                  </a:lnTo>
                  <a:close/>
                  <a:moveTo>
                    <a:pt x="5" y="1885"/>
                  </a:moveTo>
                  <a:lnTo>
                    <a:pt x="7" y="1877"/>
                  </a:lnTo>
                  <a:lnTo>
                    <a:pt x="11" y="1871"/>
                  </a:lnTo>
                  <a:lnTo>
                    <a:pt x="14" y="1864"/>
                  </a:lnTo>
                  <a:lnTo>
                    <a:pt x="19" y="1859"/>
                  </a:lnTo>
                  <a:lnTo>
                    <a:pt x="25" y="1853"/>
                  </a:lnTo>
                  <a:lnTo>
                    <a:pt x="30" y="1848"/>
                  </a:lnTo>
                  <a:lnTo>
                    <a:pt x="36" y="1843"/>
                  </a:lnTo>
                  <a:lnTo>
                    <a:pt x="43" y="1838"/>
                  </a:lnTo>
                  <a:lnTo>
                    <a:pt x="5" y="188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7" name="Freeform 93"/>
            <p:cNvSpPr>
              <a:spLocks noChangeArrowheads="1"/>
            </p:cNvSpPr>
            <p:nvPr/>
          </p:nvSpPr>
          <p:spPr bwMode="auto">
            <a:xfrm>
              <a:off x="1357313" y="2466889"/>
              <a:ext cx="762000" cy="1223989"/>
            </a:xfrm>
            <a:custGeom>
              <a:avLst/>
              <a:gdLst>
                <a:gd name="T0" fmla="*/ 212 w 1696"/>
                <a:gd name="T1" fmla="*/ 2210 h 2210"/>
                <a:gd name="T2" fmla="*/ 0 w 1696"/>
                <a:gd name="T3" fmla="*/ 1828 h 2210"/>
                <a:gd name="T4" fmla="*/ 29 w 1696"/>
                <a:gd name="T5" fmla="*/ 1741 h 2210"/>
                <a:gd name="T6" fmla="*/ 61 w 1696"/>
                <a:gd name="T7" fmla="*/ 1657 h 2210"/>
                <a:gd name="T8" fmla="*/ 95 w 1696"/>
                <a:gd name="T9" fmla="*/ 1576 h 2210"/>
                <a:gd name="T10" fmla="*/ 131 w 1696"/>
                <a:gd name="T11" fmla="*/ 1498 h 2210"/>
                <a:gd name="T12" fmla="*/ 169 w 1696"/>
                <a:gd name="T13" fmla="*/ 1421 h 2210"/>
                <a:gd name="T14" fmla="*/ 209 w 1696"/>
                <a:gd name="T15" fmla="*/ 1348 h 2210"/>
                <a:gd name="T16" fmla="*/ 251 w 1696"/>
                <a:gd name="T17" fmla="*/ 1277 h 2210"/>
                <a:gd name="T18" fmla="*/ 295 w 1696"/>
                <a:gd name="T19" fmla="*/ 1207 h 2210"/>
                <a:gd name="T20" fmla="*/ 341 w 1696"/>
                <a:gd name="T21" fmla="*/ 1140 h 2210"/>
                <a:gd name="T22" fmla="*/ 389 w 1696"/>
                <a:gd name="T23" fmla="*/ 1075 h 2210"/>
                <a:gd name="T24" fmla="*/ 438 w 1696"/>
                <a:gd name="T25" fmla="*/ 1012 h 2210"/>
                <a:gd name="T26" fmla="*/ 489 w 1696"/>
                <a:gd name="T27" fmla="*/ 950 h 2210"/>
                <a:gd name="T28" fmla="*/ 540 w 1696"/>
                <a:gd name="T29" fmla="*/ 891 h 2210"/>
                <a:gd name="T30" fmla="*/ 594 w 1696"/>
                <a:gd name="T31" fmla="*/ 833 h 2210"/>
                <a:gd name="T32" fmla="*/ 649 w 1696"/>
                <a:gd name="T33" fmla="*/ 777 h 2210"/>
                <a:gd name="T34" fmla="*/ 705 w 1696"/>
                <a:gd name="T35" fmla="*/ 722 h 2210"/>
                <a:gd name="T36" fmla="*/ 762 w 1696"/>
                <a:gd name="T37" fmla="*/ 670 h 2210"/>
                <a:gd name="T38" fmla="*/ 820 w 1696"/>
                <a:gd name="T39" fmla="*/ 617 h 2210"/>
                <a:gd name="T40" fmla="*/ 880 w 1696"/>
                <a:gd name="T41" fmla="*/ 568 h 2210"/>
                <a:gd name="T42" fmla="*/ 940 w 1696"/>
                <a:gd name="T43" fmla="*/ 518 h 2210"/>
                <a:gd name="T44" fmla="*/ 1000 w 1696"/>
                <a:gd name="T45" fmla="*/ 471 h 2210"/>
                <a:gd name="T46" fmla="*/ 1061 w 1696"/>
                <a:gd name="T47" fmla="*/ 424 h 2210"/>
                <a:gd name="T48" fmla="*/ 1124 w 1696"/>
                <a:gd name="T49" fmla="*/ 378 h 2210"/>
                <a:gd name="T50" fmla="*/ 1187 w 1696"/>
                <a:gd name="T51" fmla="*/ 333 h 2210"/>
                <a:gd name="T52" fmla="*/ 1250 w 1696"/>
                <a:gd name="T53" fmla="*/ 290 h 2210"/>
                <a:gd name="T54" fmla="*/ 1313 w 1696"/>
                <a:gd name="T55" fmla="*/ 246 h 2210"/>
                <a:gd name="T56" fmla="*/ 1376 w 1696"/>
                <a:gd name="T57" fmla="*/ 204 h 2210"/>
                <a:gd name="T58" fmla="*/ 1440 w 1696"/>
                <a:gd name="T59" fmla="*/ 162 h 2210"/>
                <a:gd name="T60" fmla="*/ 1568 w 1696"/>
                <a:gd name="T61" fmla="*/ 80 h 2210"/>
                <a:gd name="T62" fmla="*/ 1696 w 1696"/>
                <a:gd name="T63" fmla="*/ 0 h 2210"/>
                <a:gd name="T64" fmla="*/ 1616 w 1696"/>
                <a:gd name="T65" fmla="*/ 116 h 2210"/>
                <a:gd name="T66" fmla="*/ 1539 w 1696"/>
                <a:gd name="T67" fmla="*/ 229 h 2210"/>
                <a:gd name="T68" fmla="*/ 1463 w 1696"/>
                <a:gd name="T69" fmla="*/ 336 h 2210"/>
                <a:gd name="T70" fmla="*/ 1388 w 1696"/>
                <a:gd name="T71" fmla="*/ 441 h 2210"/>
                <a:gd name="T72" fmla="*/ 1315 w 1696"/>
                <a:gd name="T73" fmla="*/ 543 h 2210"/>
                <a:gd name="T74" fmla="*/ 1244 w 1696"/>
                <a:gd name="T75" fmla="*/ 645 h 2210"/>
                <a:gd name="T76" fmla="*/ 1208 w 1696"/>
                <a:gd name="T77" fmla="*/ 697 h 2210"/>
                <a:gd name="T78" fmla="*/ 1174 w 1696"/>
                <a:gd name="T79" fmla="*/ 747 h 2210"/>
                <a:gd name="T80" fmla="*/ 1141 w 1696"/>
                <a:gd name="T81" fmla="*/ 799 h 2210"/>
                <a:gd name="T82" fmla="*/ 1108 w 1696"/>
                <a:gd name="T83" fmla="*/ 849 h 2210"/>
                <a:gd name="T84" fmla="*/ 1076 w 1696"/>
                <a:gd name="T85" fmla="*/ 902 h 2210"/>
                <a:gd name="T86" fmla="*/ 1044 w 1696"/>
                <a:gd name="T87" fmla="*/ 954 h 2210"/>
                <a:gd name="T88" fmla="*/ 1012 w 1696"/>
                <a:gd name="T89" fmla="*/ 1008 h 2210"/>
                <a:gd name="T90" fmla="*/ 982 w 1696"/>
                <a:gd name="T91" fmla="*/ 1063 h 2210"/>
                <a:gd name="T92" fmla="*/ 952 w 1696"/>
                <a:gd name="T93" fmla="*/ 1117 h 2210"/>
                <a:gd name="T94" fmla="*/ 923 w 1696"/>
                <a:gd name="T95" fmla="*/ 1174 h 2210"/>
                <a:gd name="T96" fmla="*/ 894 w 1696"/>
                <a:gd name="T97" fmla="*/ 1232 h 2210"/>
                <a:gd name="T98" fmla="*/ 868 w 1696"/>
                <a:gd name="T99" fmla="*/ 1290 h 2210"/>
                <a:gd name="T100" fmla="*/ 841 w 1696"/>
                <a:gd name="T101" fmla="*/ 1351 h 2210"/>
                <a:gd name="T102" fmla="*/ 815 w 1696"/>
                <a:gd name="T103" fmla="*/ 1413 h 2210"/>
                <a:gd name="T104" fmla="*/ 790 w 1696"/>
                <a:gd name="T105" fmla="*/ 1477 h 2210"/>
                <a:gd name="T106" fmla="*/ 766 w 1696"/>
                <a:gd name="T107" fmla="*/ 1543 h 2210"/>
                <a:gd name="T108" fmla="*/ 743 w 1696"/>
                <a:gd name="T109" fmla="*/ 1611 h 2210"/>
                <a:gd name="T110" fmla="*/ 720 w 1696"/>
                <a:gd name="T111" fmla="*/ 1681 h 2210"/>
                <a:gd name="T112" fmla="*/ 699 w 1696"/>
                <a:gd name="T113" fmla="*/ 1753 h 2210"/>
                <a:gd name="T114" fmla="*/ 679 w 1696"/>
                <a:gd name="T115" fmla="*/ 1828 h 2210"/>
                <a:gd name="T116" fmla="*/ 212 w 1696"/>
                <a:gd name="T117" fmla="*/ 2210 h 2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6" h="2210">
                  <a:moveTo>
                    <a:pt x="212" y="2210"/>
                  </a:moveTo>
                  <a:lnTo>
                    <a:pt x="0" y="1828"/>
                  </a:lnTo>
                  <a:lnTo>
                    <a:pt x="29" y="1741"/>
                  </a:lnTo>
                  <a:lnTo>
                    <a:pt x="61" y="1657"/>
                  </a:lnTo>
                  <a:lnTo>
                    <a:pt x="95" y="1576"/>
                  </a:lnTo>
                  <a:lnTo>
                    <a:pt x="131" y="1498"/>
                  </a:lnTo>
                  <a:lnTo>
                    <a:pt x="169" y="1421"/>
                  </a:lnTo>
                  <a:lnTo>
                    <a:pt x="209" y="1348"/>
                  </a:lnTo>
                  <a:lnTo>
                    <a:pt x="251" y="1277"/>
                  </a:lnTo>
                  <a:lnTo>
                    <a:pt x="295" y="1207"/>
                  </a:lnTo>
                  <a:lnTo>
                    <a:pt x="341" y="1140"/>
                  </a:lnTo>
                  <a:lnTo>
                    <a:pt x="389" y="1075"/>
                  </a:lnTo>
                  <a:lnTo>
                    <a:pt x="438" y="1012"/>
                  </a:lnTo>
                  <a:lnTo>
                    <a:pt x="489" y="950"/>
                  </a:lnTo>
                  <a:lnTo>
                    <a:pt x="540" y="891"/>
                  </a:lnTo>
                  <a:lnTo>
                    <a:pt x="594" y="833"/>
                  </a:lnTo>
                  <a:lnTo>
                    <a:pt x="649" y="777"/>
                  </a:lnTo>
                  <a:lnTo>
                    <a:pt x="705" y="722"/>
                  </a:lnTo>
                  <a:lnTo>
                    <a:pt x="762" y="670"/>
                  </a:lnTo>
                  <a:lnTo>
                    <a:pt x="820" y="617"/>
                  </a:lnTo>
                  <a:lnTo>
                    <a:pt x="880" y="568"/>
                  </a:lnTo>
                  <a:lnTo>
                    <a:pt x="940" y="518"/>
                  </a:lnTo>
                  <a:lnTo>
                    <a:pt x="1000" y="471"/>
                  </a:lnTo>
                  <a:lnTo>
                    <a:pt x="1061" y="424"/>
                  </a:lnTo>
                  <a:lnTo>
                    <a:pt x="1124" y="378"/>
                  </a:lnTo>
                  <a:lnTo>
                    <a:pt x="1187" y="333"/>
                  </a:lnTo>
                  <a:lnTo>
                    <a:pt x="1250" y="290"/>
                  </a:lnTo>
                  <a:lnTo>
                    <a:pt x="1313" y="246"/>
                  </a:lnTo>
                  <a:lnTo>
                    <a:pt x="1376" y="204"/>
                  </a:lnTo>
                  <a:lnTo>
                    <a:pt x="1440" y="162"/>
                  </a:lnTo>
                  <a:lnTo>
                    <a:pt x="1568" y="80"/>
                  </a:lnTo>
                  <a:lnTo>
                    <a:pt x="1696" y="0"/>
                  </a:lnTo>
                  <a:lnTo>
                    <a:pt x="1616" y="116"/>
                  </a:lnTo>
                  <a:lnTo>
                    <a:pt x="1539" y="229"/>
                  </a:lnTo>
                  <a:lnTo>
                    <a:pt x="1463" y="336"/>
                  </a:lnTo>
                  <a:lnTo>
                    <a:pt x="1388" y="441"/>
                  </a:lnTo>
                  <a:lnTo>
                    <a:pt x="1315" y="543"/>
                  </a:lnTo>
                  <a:lnTo>
                    <a:pt x="1244" y="645"/>
                  </a:lnTo>
                  <a:lnTo>
                    <a:pt x="1208" y="697"/>
                  </a:lnTo>
                  <a:lnTo>
                    <a:pt x="1174" y="747"/>
                  </a:lnTo>
                  <a:lnTo>
                    <a:pt x="1141" y="799"/>
                  </a:lnTo>
                  <a:lnTo>
                    <a:pt x="1108" y="849"/>
                  </a:lnTo>
                  <a:lnTo>
                    <a:pt x="1076" y="902"/>
                  </a:lnTo>
                  <a:lnTo>
                    <a:pt x="1044" y="954"/>
                  </a:lnTo>
                  <a:lnTo>
                    <a:pt x="1012" y="1008"/>
                  </a:lnTo>
                  <a:lnTo>
                    <a:pt x="982" y="1063"/>
                  </a:lnTo>
                  <a:lnTo>
                    <a:pt x="952" y="1117"/>
                  </a:lnTo>
                  <a:lnTo>
                    <a:pt x="923" y="1174"/>
                  </a:lnTo>
                  <a:lnTo>
                    <a:pt x="894" y="1232"/>
                  </a:lnTo>
                  <a:lnTo>
                    <a:pt x="868" y="1290"/>
                  </a:lnTo>
                  <a:lnTo>
                    <a:pt x="841" y="1351"/>
                  </a:lnTo>
                  <a:lnTo>
                    <a:pt x="815" y="1413"/>
                  </a:lnTo>
                  <a:lnTo>
                    <a:pt x="790" y="1477"/>
                  </a:lnTo>
                  <a:lnTo>
                    <a:pt x="766" y="1543"/>
                  </a:lnTo>
                  <a:lnTo>
                    <a:pt x="743" y="1611"/>
                  </a:lnTo>
                  <a:lnTo>
                    <a:pt x="720" y="1681"/>
                  </a:lnTo>
                  <a:lnTo>
                    <a:pt x="699" y="1753"/>
                  </a:lnTo>
                  <a:lnTo>
                    <a:pt x="679" y="1828"/>
                  </a:lnTo>
                  <a:lnTo>
                    <a:pt x="212" y="22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8" name="Freeform 94"/>
            <p:cNvSpPr>
              <a:spLocks noChangeArrowheads="1"/>
            </p:cNvSpPr>
            <p:nvPr/>
          </p:nvSpPr>
          <p:spPr bwMode="auto">
            <a:xfrm>
              <a:off x="911225" y="3267006"/>
              <a:ext cx="676275" cy="2687695"/>
            </a:xfrm>
            <a:custGeom>
              <a:avLst/>
              <a:gdLst>
                <a:gd name="T0" fmla="*/ 170 w 1512"/>
                <a:gd name="T1" fmla="*/ 3555 h 4847"/>
                <a:gd name="T2" fmla="*/ 94 w 1512"/>
                <a:gd name="T3" fmla="*/ 3416 h 4847"/>
                <a:gd name="T4" fmla="*/ 41 w 1512"/>
                <a:gd name="T5" fmla="*/ 3265 h 4847"/>
                <a:gd name="T6" fmla="*/ 10 w 1512"/>
                <a:gd name="T7" fmla="*/ 3102 h 4847"/>
                <a:gd name="T8" fmla="*/ 0 w 1512"/>
                <a:gd name="T9" fmla="*/ 2928 h 4847"/>
                <a:gd name="T10" fmla="*/ 8 w 1512"/>
                <a:gd name="T11" fmla="*/ 2746 h 4847"/>
                <a:gd name="T12" fmla="*/ 58 w 1512"/>
                <a:gd name="T13" fmla="*/ 2443 h 4847"/>
                <a:gd name="T14" fmla="*/ 208 w 1512"/>
                <a:gd name="T15" fmla="*/ 1951 h 4847"/>
                <a:gd name="T16" fmla="*/ 422 w 1512"/>
                <a:gd name="T17" fmla="*/ 1459 h 4847"/>
                <a:gd name="T18" fmla="*/ 674 w 1512"/>
                <a:gd name="T19" fmla="*/ 993 h 4847"/>
                <a:gd name="T20" fmla="*/ 933 w 1512"/>
                <a:gd name="T21" fmla="*/ 580 h 4847"/>
                <a:gd name="T22" fmla="*/ 1173 w 1512"/>
                <a:gd name="T23" fmla="*/ 250 h 4847"/>
                <a:gd name="T24" fmla="*/ 1367 w 1512"/>
                <a:gd name="T25" fmla="*/ 26 h 4847"/>
                <a:gd name="T26" fmla="*/ 1403 w 1512"/>
                <a:gd name="T27" fmla="*/ 4 h 4847"/>
                <a:gd name="T28" fmla="*/ 1443 w 1512"/>
                <a:gd name="T29" fmla="*/ 2 h 4847"/>
                <a:gd name="T30" fmla="*/ 1481 w 1512"/>
                <a:gd name="T31" fmla="*/ 20 h 4847"/>
                <a:gd name="T32" fmla="*/ 1511 w 1512"/>
                <a:gd name="T33" fmla="*/ 68 h 4847"/>
                <a:gd name="T34" fmla="*/ 1504 w 1512"/>
                <a:gd name="T35" fmla="*/ 126 h 4847"/>
                <a:gd name="T36" fmla="*/ 1414 w 1512"/>
                <a:gd name="T37" fmla="*/ 397 h 4847"/>
                <a:gd name="T38" fmla="*/ 1324 w 1512"/>
                <a:gd name="T39" fmla="*/ 739 h 4847"/>
                <a:gd name="T40" fmla="*/ 1231 w 1512"/>
                <a:gd name="T41" fmla="*/ 1138 h 4847"/>
                <a:gd name="T42" fmla="*/ 1121 w 1512"/>
                <a:gd name="T43" fmla="*/ 1682 h 4847"/>
                <a:gd name="T44" fmla="*/ 991 w 1512"/>
                <a:gd name="T45" fmla="*/ 2414 h 4847"/>
                <a:gd name="T46" fmla="*/ 815 w 1512"/>
                <a:gd name="T47" fmla="*/ 3622 h 4847"/>
                <a:gd name="T48" fmla="*/ 753 w 1512"/>
                <a:gd name="T49" fmla="*/ 4160 h 4847"/>
                <a:gd name="T50" fmla="*/ 715 w 1512"/>
                <a:gd name="T51" fmla="*/ 4614 h 4847"/>
                <a:gd name="T52" fmla="*/ 703 w 1512"/>
                <a:gd name="T53" fmla="*/ 4790 h 4847"/>
                <a:gd name="T54" fmla="*/ 680 w 1512"/>
                <a:gd name="T55" fmla="*/ 4824 h 4847"/>
                <a:gd name="T56" fmla="*/ 644 w 1512"/>
                <a:gd name="T57" fmla="*/ 4845 h 4847"/>
                <a:gd name="T58" fmla="*/ 605 w 1512"/>
                <a:gd name="T59" fmla="*/ 4846 h 4847"/>
                <a:gd name="T60" fmla="*/ 574 w 1512"/>
                <a:gd name="T61" fmla="*/ 4833 h 4847"/>
                <a:gd name="T62" fmla="*/ 550 w 1512"/>
                <a:gd name="T63" fmla="*/ 4808 h 4847"/>
                <a:gd name="T64" fmla="*/ 540 w 1512"/>
                <a:gd name="T65" fmla="*/ 4783 h 4847"/>
                <a:gd name="T66" fmla="*/ 214 w 1512"/>
                <a:gd name="T67" fmla="*/ 3248 h 4847"/>
                <a:gd name="T68" fmla="*/ 263 w 1512"/>
                <a:gd name="T69" fmla="*/ 3374 h 4847"/>
                <a:gd name="T70" fmla="*/ 332 w 1512"/>
                <a:gd name="T71" fmla="*/ 3488 h 4847"/>
                <a:gd name="T72" fmla="*/ 385 w 1512"/>
                <a:gd name="T73" fmla="*/ 3552 h 4847"/>
                <a:gd name="T74" fmla="*/ 575 w 1512"/>
                <a:gd name="T75" fmla="*/ 4237 h 4847"/>
                <a:gd name="T76" fmla="*/ 679 w 1512"/>
                <a:gd name="T77" fmla="*/ 3348 h 4847"/>
                <a:gd name="T78" fmla="*/ 828 w 1512"/>
                <a:gd name="T79" fmla="*/ 2351 h 4847"/>
                <a:gd name="T80" fmla="*/ 1007 w 1512"/>
                <a:gd name="T81" fmla="*/ 1371 h 4847"/>
                <a:gd name="T82" fmla="*/ 1120 w 1512"/>
                <a:gd name="T83" fmla="*/ 854 h 4847"/>
                <a:gd name="T84" fmla="*/ 1215 w 1512"/>
                <a:gd name="T85" fmla="*/ 475 h 4847"/>
                <a:gd name="T86" fmla="*/ 1027 w 1512"/>
                <a:gd name="T87" fmla="*/ 744 h 4847"/>
                <a:gd name="T88" fmla="*/ 830 w 1512"/>
                <a:gd name="T89" fmla="*/ 1059 h 4847"/>
                <a:gd name="T90" fmla="*/ 639 w 1512"/>
                <a:gd name="T91" fmla="*/ 1406 h 4847"/>
                <a:gd name="T92" fmla="*/ 464 w 1512"/>
                <a:gd name="T93" fmla="*/ 1772 h 4847"/>
                <a:gd name="T94" fmla="*/ 318 w 1512"/>
                <a:gd name="T95" fmla="*/ 2146 h 4847"/>
                <a:gd name="T96" fmla="*/ 216 w 1512"/>
                <a:gd name="T97" fmla="*/ 2516 h 4847"/>
                <a:gd name="T98" fmla="*/ 178 w 1512"/>
                <a:gd name="T99" fmla="*/ 2761 h 4847"/>
                <a:gd name="T100" fmla="*/ 171 w 1512"/>
                <a:gd name="T101" fmla="*/ 2925 h 4847"/>
                <a:gd name="T102" fmla="*/ 179 w 1512"/>
                <a:gd name="T103" fmla="*/ 3079 h 4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12" h="4847">
                  <a:moveTo>
                    <a:pt x="248" y="3655"/>
                  </a:moveTo>
                  <a:lnTo>
                    <a:pt x="227" y="3632"/>
                  </a:lnTo>
                  <a:lnTo>
                    <a:pt x="207" y="3607"/>
                  </a:lnTo>
                  <a:lnTo>
                    <a:pt x="188" y="3581"/>
                  </a:lnTo>
                  <a:lnTo>
                    <a:pt x="170" y="3555"/>
                  </a:lnTo>
                  <a:lnTo>
                    <a:pt x="153" y="3529"/>
                  </a:lnTo>
                  <a:lnTo>
                    <a:pt x="137" y="3501"/>
                  </a:lnTo>
                  <a:lnTo>
                    <a:pt x="122" y="3473"/>
                  </a:lnTo>
                  <a:lnTo>
                    <a:pt x="107" y="3445"/>
                  </a:lnTo>
                  <a:lnTo>
                    <a:pt x="94" y="3416"/>
                  </a:lnTo>
                  <a:lnTo>
                    <a:pt x="81" y="3387"/>
                  </a:lnTo>
                  <a:lnTo>
                    <a:pt x="70" y="3358"/>
                  </a:lnTo>
                  <a:lnTo>
                    <a:pt x="60" y="3327"/>
                  </a:lnTo>
                  <a:lnTo>
                    <a:pt x="51" y="3297"/>
                  </a:lnTo>
                  <a:lnTo>
                    <a:pt x="41" y="3265"/>
                  </a:lnTo>
                  <a:lnTo>
                    <a:pt x="33" y="3234"/>
                  </a:lnTo>
                  <a:lnTo>
                    <a:pt x="27" y="3202"/>
                  </a:lnTo>
                  <a:lnTo>
                    <a:pt x="21" y="3169"/>
                  </a:lnTo>
                  <a:lnTo>
                    <a:pt x="14" y="3135"/>
                  </a:lnTo>
                  <a:lnTo>
                    <a:pt x="10" y="3102"/>
                  </a:lnTo>
                  <a:lnTo>
                    <a:pt x="7" y="3068"/>
                  </a:lnTo>
                  <a:lnTo>
                    <a:pt x="4" y="3034"/>
                  </a:lnTo>
                  <a:lnTo>
                    <a:pt x="2" y="2999"/>
                  </a:lnTo>
                  <a:lnTo>
                    <a:pt x="0" y="2964"/>
                  </a:lnTo>
                  <a:lnTo>
                    <a:pt x="0" y="2928"/>
                  </a:lnTo>
                  <a:lnTo>
                    <a:pt x="0" y="2893"/>
                  </a:lnTo>
                  <a:lnTo>
                    <a:pt x="1" y="2857"/>
                  </a:lnTo>
                  <a:lnTo>
                    <a:pt x="3" y="2820"/>
                  </a:lnTo>
                  <a:lnTo>
                    <a:pt x="5" y="2783"/>
                  </a:lnTo>
                  <a:lnTo>
                    <a:pt x="8" y="2746"/>
                  </a:lnTo>
                  <a:lnTo>
                    <a:pt x="12" y="2709"/>
                  </a:lnTo>
                  <a:lnTo>
                    <a:pt x="17" y="2672"/>
                  </a:lnTo>
                  <a:lnTo>
                    <a:pt x="22" y="2635"/>
                  </a:lnTo>
                  <a:lnTo>
                    <a:pt x="38" y="2540"/>
                  </a:lnTo>
                  <a:lnTo>
                    <a:pt x="58" y="2443"/>
                  </a:lnTo>
                  <a:lnTo>
                    <a:pt x="81" y="2346"/>
                  </a:lnTo>
                  <a:lnTo>
                    <a:pt x="108" y="2248"/>
                  </a:lnTo>
                  <a:lnTo>
                    <a:pt x="138" y="2149"/>
                  </a:lnTo>
                  <a:lnTo>
                    <a:pt x="172" y="2050"/>
                  </a:lnTo>
                  <a:lnTo>
                    <a:pt x="208" y="1951"/>
                  </a:lnTo>
                  <a:lnTo>
                    <a:pt x="246" y="1851"/>
                  </a:lnTo>
                  <a:lnTo>
                    <a:pt x="287" y="1753"/>
                  </a:lnTo>
                  <a:lnTo>
                    <a:pt x="331" y="1654"/>
                  </a:lnTo>
                  <a:lnTo>
                    <a:pt x="375" y="1556"/>
                  </a:lnTo>
                  <a:lnTo>
                    <a:pt x="422" y="1459"/>
                  </a:lnTo>
                  <a:lnTo>
                    <a:pt x="471" y="1362"/>
                  </a:lnTo>
                  <a:lnTo>
                    <a:pt x="520" y="1267"/>
                  </a:lnTo>
                  <a:lnTo>
                    <a:pt x="571" y="1174"/>
                  </a:lnTo>
                  <a:lnTo>
                    <a:pt x="622" y="1082"/>
                  </a:lnTo>
                  <a:lnTo>
                    <a:pt x="674" y="993"/>
                  </a:lnTo>
                  <a:lnTo>
                    <a:pt x="725" y="905"/>
                  </a:lnTo>
                  <a:lnTo>
                    <a:pt x="778" y="820"/>
                  </a:lnTo>
                  <a:lnTo>
                    <a:pt x="830" y="737"/>
                  </a:lnTo>
                  <a:lnTo>
                    <a:pt x="882" y="658"/>
                  </a:lnTo>
                  <a:lnTo>
                    <a:pt x="933" y="580"/>
                  </a:lnTo>
                  <a:lnTo>
                    <a:pt x="984" y="507"/>
                  </a:lnTo>
                  <a:lnTo>
                    <a:pt x="1033" y="437"/>
                  </a:lnTo>
                  <a:lnTo>
                    <a:pt x="1082" y="370"/>
                  </a:lnTo>
                  <a:lnTo>
                    <a:pt x="1129" y="307"/>
                  </a:lnTo>
                  <a:lnTo>
                    <a:pt x="1173" y="250"/>
                  </a:lnTo>
                  <a:lnTo>
                    <a:pt x="1218" y="195"/>
                  </a:lnTo>
                  <a:lnTo>
                    <a:pt x="1258" y="145"/>
                  </a:lnTo>
                  <a:lnTo>
                    <a:pt x="1297" y="100"/>
                  </a:lnTo>
                  <a:lnTo>
                    <a:pt x="1333" y="60"/>
                  </a:lnTo>
                  <a:lnTo>
                    <a:pt x="1367" y="26"/>
                  </a:lnTo>
                  <a:lnTo>
                    <a:pt x="1373" y="20"/>
                  </a:lnTo>
                  <a:lnTo>
                    <a:pt x="1380" y="15"/>
                  </a:lnTo>
                  <a:lnTo>
                    <a:pt x="1387" y="10"/>
                  </a:lnTo>
                  <a:lnTo>
                    <a:pt x="1395" y="6"/>
                  </a:lnTo>
                  <a:lnTo>
                    <a:pt x="1403" y="4"/>
                  </a:lnTo>
                  <a:lnTo>
                    <a:pt x="1411" y="2"/>
                  </a:lnTo>
                  <a:lnTo>
                    <a:pt x="1419" y="1"/>
                  </a:lnTo>
                  <a:lnTo>
                    <a:pt x="1428" y="0"/>
                  </a:lnTo>
                  <a:lnTo>
                    <a:pt x="1435" y="1"/>
                  </a:lnTo>
                  <a:lnTo>
                    <a:pt x="1443" y="2"/>
                  </a:lnTo>
                  <a:lnTo>
                    <a:pt x="1451" y="4"/>
                  </a:lnTo>
                  <a:lnTo>
                    <a:pt x="1460" y="6"/>
                  </a:lnTo>
                  <a:lnTo>
                    <a:pt x="1467" y="10"/>
                  </a:lnTo>
                  <a:lnTo>
                    <a:pt x="1474" y="15"/>
                  </a:lnTo>
                  <a:lnTo>
                    <a:pt x="1481" y="20"/>
                  </a:lnTo>
                  <a:lnTo>
                    <a:pt x="1487" y="25"/>
                  </a:lnTo>
                  <a:lnTo>
                    <a:pt x="1496" y="35"/>
                  </a:lnTo>
                  <a:lnTo>
                    <a:pt x="1503" y="45"/>
                  </a:lnTo>
                  <a:lnTo>
                    <a:pt x="1508" y="57"/>
                  </a:lnTo>
                  <a:lnTo>
                    <a:pt x="1511" y="68"/>
                  </a:lnTo>
                  <a:lnTo>
                    <a:pt x="1512" y="80"/>
                  </a:lnTo>
                  <a:lnTo>
                    <a:pt x="1512" y="93"/>
                  </a:lnTo>
                  <a:lnTo>
                    <a:pt x="1511" y="104"/>
                  </a:lnTo>
                  <a:lnTo>
                    <a:pt x="1507" y="116"/>
                  </a:lnTo>
                  <a:lnTo>
                    <a:pt x="1504" y="126"/>
                  </a:lnTo>
                  <a:lnTo>
                    <a:pt x="1486" y="174"/>
                  </a:lnTo>
                  <a:lnTo>
                    <a:pt x="1469" y="225"/>
                  </a:lnTo>
                  <a:lnTo>
                    <a:pt x="1450" y="279"/>
                  </a:lnTo>
                  <a:lnTo>
                    <a:pt x="1433" y="337"/>
                  </a:lnTo>
                  <a:lnTo>
                    <a:pt x="1414" y="397"/>
                  </a:lnTo>
                  <a:lnTo>
                    <a:pt x="1397" y="461"/>
                  </a:lnTo>
                  <a:lnTo>
                    <a:pt x="1378" y="526"/>
                  </a:lnTo>
                  <a:lnTo>
                    <a:pt x="1361" y="595"/>
                  </a:lnTo>
                  <a:lnTo>
                    <a:pt x="1342" y="666"/>
                  </a:lnTo>
                  <a:lnTo>
                    <a:pt x="1324" y="739"/>
                  </a:lnTo>
                  <a:lnTo>
                    <a:pt x="1305" y="814"/>
                  </a:lnTo>
                  <a:lnTo>
                    <a:pt x="1287" y="893"/>
                  </a:lnTo>
                  <a:lnTo>
                    <a:pt x="1268" y="972"/>
                  </a:lnTo>
                  <a:lnTo>
                    <a:pt x="1249" y="1055"/>
                  </a:lnTo>
                  <a:lnTo>
                    <a:pt x="1231" y="1138"/>
                  </a:lnTo>
                  <a:lnTo>
                    <a:pt x="1213" y="1224"/>
                  </a:lnTo>
                  <a:lnTo>
                    <a:pt x="1190" y="1335"/>
                  </a:lnTo>
                  <a:lnTo>
                    <a:pt x="1166" y="1449"/>
                  </a:lnTo>
                  <a:lnTo>
                    <a:pt x="1143" y="1565"/>
                  </a:lnTo>
                  <a:lnTo>
                    <a:pt x="1121" y="1682"/>
                  </a:lnTo>
                  <a:lnTo>
                    <a:pt x="1098" y="1802"/>
                  </a:lnTo>
                  <a:lnTo>
                    <a:pt x="1076" y="1923"/>
                  </a:lnTo>
                  <a:lnTo>
                    <a:pt x="1054" y="2044"/>
                  </a:lnTo>
                  <a:lnTo>
                    <a:pt x="1033" y="2167"/>
                  </a:lnTo>
                  <a:lnTo>
                    <a:pt x="991" y="2414"/>
                  </a:lnTo>
                  <a:lnTo>
                    <a:pt x="951" y="2662"/>
                  </a:lnTo>
                  <a:lnTo>
                    <a:pt x="914" y="2909"/>
                  </a:lnTo>
                  <a:lnTo>
                    <a:pt x="878" y="3152"/>
                  </a:lnTo>
                  <a:lnTo>
                    <a:pt x="845" y="3391"/>
                  </a:lnTo>
                  <a:lnTo>
                    <a:pt x="815" y="3622"/>
                  </a:lnTo>
                  <a:lnTo>
                    <a:pt x="800" y="3735"/>
                  </a:lnTo>
                  <a:lnTo>
                    <a:pt x="787" y="3845"/>
                  </a:lnTo>
                  <a:lnTo>
                    <a:pt x="775" y="3953"/>
                  </a:lnTo>
                  <a:lnTo>
                    <a:pt x="763" y="4059"/>
                  </a:lnTo>
                  <a:lnTo>
                    <a:pt x="753" y="4160"/>
                  </a:lnTo>
                  <a:lnTo>
                    <a:pt x="744" y="4259"/>
                  </a:lnTo>
                  <a:lnTo>
                    <a:pt x="735" y="4353"/>
                  </a:lnTo>
                  <a:lnTo>
                    <a:pt x="727" y="4444"/>
                  </a:lnTo>
                  <a:lnTo>
                    <a:pt x="721" y="4531"/>
                  </a:lnTo>
                  <a:lnTo>
                    <a:pt x="715" y="4614"/>
                  </a:lnTo>
                  <a:lnTo>
                    <a:pt x="711" y="4691"/>
                  </a:lnTo>
                  <a:lnTo>
                    <a:pt x="708" y="4766"/>
                  </a:lnTo>
                  <a:lnTo>
                    <a:pt x="707" y="4774"/>
                  </a:lnTo>
                  <a:lnTo>
                    <a:pt x="705" y="4782"/>
                  </a:lnTo>
                  <a:lnTo>
                    <a:pt x="703" y="4790"/>
                  </a:lnTo>
                  <a:lnTo>
                    <a:pt x="699" y="4799"/>
                  </a:lnTo>
                  <a:lnTo>
                    <a:pt x="695" y="4806"/>
                  </a:lnTo>
                  <a:lnTo>
                    <a:pt x="691" y="4812"/>
                  </a:lnTo>
                  <a:lnTo>
                    <a:pt x="685" y="4819"/>
                  </a:lnTo>
                  <a:lnTo>
                    <a:pt x="680" y="4824"/>
                  </a:lnTo>
                  <a:lnTo>
                    <a:pt x="674" y="4830"/>
                  </a:lnTo>
                  <a:lnTo>
                    <a:pt x="666" y="4835"/>
                  </a:lnTo>
                  <a:lnTo>
                    <a:pt x="659" y="4839"/>
                  </a:lnTo>
                  <a:lnTo>
                    <a:pt x="652" y="4842"/>
                  </a:lnTo>
                  <a:lnTo>
                    <a:pt x="644" y="4845"/>
                  </a:lnTo>
                  <a:lnTo>
                    <a:pt x="636" y="4846"/>
                  </a:lnTo>
                  <a:lnTo>
                    <a:pt x="627" y="4847"/>
                  </a:lnTo>
                  <a:lnTo>
                    <a:pt x="619" y="4847"/>
                  </a:lnTo>
                  <a:lnTo>
                    <a:pt x="611" y="4847"/>
                  </a:lnTo>
                  <a:lnTo>
                    <a:pt x="605" y="4846"/>
                  </a:lnTo>
                  <a:lnTo>
                    <a:pt x="597" y="4844"/>
                  </a:lnTo>
                  <a:lnTo>
                    <a:pt x="591" y="4842"/>
                  </a:lnTo>
                  <a:lnTo>
                    <a:pt x="585" y="4839"/>
                  </a:lnTo>
                  <a:lnTo>
                    <a:pt x="579" y="4836"/>
                  </a:lnTo>
                  <a:lnTo>
                    <a:pt x="574" y="4833"/>
                  </a:lnTo>
                  <a:lnTo>
                    <a:pt x="568" y="4829"/>
                  </a:lnTo>
                  <a:lnTo>
                    <a:pt x="562" y="4823"/>
                  </a:lnTo>
                  <a:lnTo>
                    <a:pt x="558" y="4819"/>
                  </a:lnTo>
                  <a:lnTo>
                    <a:pt x="554" y="4814"/>
                  </a:lnTo>
                  <a:lnTo>
                    <a:pt x="550" y="4808"/>
                  </a:lnTo>
                  <a:lnTo>
                    <a:pt x="547" y="4803"/>
                  </a:lnTo>
                  <a:lnTo>
                    <a:pt x="544" y="4797"/>
                  </a:lnTo>
                  <a:lnTo>
                    <a:pt x="542" y="4790"/>
                  </a:lnTo>
                  <a:lnTo>
                    <a:pt x="540" y="4783"/>
                  </a:lnTo>
                  <a:lnTo>
                    <a:pt x="248" y="3655"/>
                  </a:lnTo>
                  <a:close/>
                  <a:moveTo>
                    <a:pt x="194" y="3167"/>
                  </a:moveTo>
                  <a:lnTo>
                    <a:pt x="200" y="3195"/>
                  </a:lnTo>
                  <a:lnTo>
                    <a:pt x="206" y="3221"/>
                  </a:lnTo>
                  <a:lnTo>
                    <a:pt x="214" y="3248"/>
                  </a:lnTo>
                  <a:lnTo>
                    <a:pt x="223" y="3274"/>
                  </a:lnTo>
                  <a:lnTo>
                    <a:pt x="231" y="3300"/>
                  </a:lnTo>
                  <a:lnTo>
                    <a:pt x="241" y="3326"/>
                  </a:lnTo>
                  <a:lnTo>
                    <a:pt x="251" y="3350"/>
                  </a:lnTo>
                  <a:lnTo>
                    <a:pt x="263" y="3374"/>
                  </a:lnTo>
                  <a:lnTo>
                    <a:pt x="275" y="3398"/>
                  </a:lnTo>
                  <a:lnTo>
                    <a:pt x="287" y="3421"/>
                  </a:lnTo>
                  <a:lnTo>
                    <a:pt x="301" y="3444"/>
                  </a:lnTo>
                  <a:lnTo>
                    <a:pt x="316" y="3467"/>
                  </a:lnTo>
                  <a:lnTo>
                    <a:pt x="332" y="3488"/>
                  </a:lnTo>
                  <a:lnTo>
                    <a:pt x="348" y="3510"/>
                  </a:lnTo>
                  <a:lnTo>
                    <a:pt x="365" y="3531"/>
                  </a:lnTo>
                  <a:lnTo>
                    <a:pt x="383" y="3550"/>
                  </a:lnTo>
                  <a:lnTo>
                    <a:pt x="384" y="3551"/>
                  </a:lnTo>
                  <a:lnTo>
                    <a:pt x="385" y="3552"/>
                  </a:lnTo>
                  <a:lnTo>
                    <a:pt x="393" y="3561"/>
                  </a:lnTo>
                  <a:lnTo>
                    <a:pt x="399" y="3571"/>
                  </a:lnTo>
                  <a:lnTo>
                    <a:pt x="404" y="3581"/>
                  </a:lnTo>
                  <a:lnTo>
                    <a:pt x="408" y="3593"/>
                  </a:lnTo>
                  <a:lnTo>
                    <a:pt x="575" y="4237"/>
                  </a:lnTo>
                  <a:lnTo>
                    <a:pt x="590" y="4074"/>
                  </a:lnTo>
                  <a:lnTo>
                    <a:pt x="610" y="3903"/>
                  </a:lnTo>
                  <a:lnTo>
                    <a:pt x="630" y="3723"/>
                  </a:lnTo>
                  <a:lnTo>
                    <a:pt x="653" y="3539"/>
                  </a:lnTo>
                  <a:lnTo>
                    <a:pt x="679" y="3348"/>
                  </a:lnTo>
                  <a:lnTo>
                    <a:pt x="706" y="3153"/>
                  </a:lnTo>
                  <a:lnTo>
                    <a:pt x="733" y="2956"/>
                  </a:lnTo>
                  <a:lnTo>
                    <a:pt x="764" y="2756"/>
                  </a:lnTo>
                  <a:lnTo>
                    <a:pt x="795" y="2553"/>
                  </a:lnTo>
                  <a:lnTo>
                    <a:pt x="828" y="2351"/>
                  </a:lnTo>
                  <a:lnTo>
                    <a:pt x="862" y="2150"/>
                  </a:lnTo>
                  <a:lnTo>
                    <a:pt x="897" y="1950"/>
                  </a:lnTo>
                  <a:lnTo>
                    <a:pt x="933" y="1754"/>
                  </a:lnTo>
                  <a:lnTo>
                    <a:pt x="970" y="1560"/>
                  </a:lnTo>
                  <a:lnTo>
                    <a:pt x="1007" y="1371"/>
                  </a:lnTo>
                  <a:lnTo>
                    <a:pt x="1046" y="1188"/>
                  </a:lnTo>
                  <a:lnTo>
                    <a:pt x="1064" y="1102"/>
                  </a:lnTo>
                  <a:lnTo>
                    <a:pt x="1083" y="1018"/>
                  </a:lnTo>
                  <a:lnTo>
                    <a:pt x="1101" y="935"/>
                  </a:lnTo>
                  <a:lnTo>
                    <a:pt x="1120" y="854"/>
                  </a:lnTo>
                  <a:lnTo>
                    <a:pt x="1138" y="775"/>
                  </a:lnTo>
                  <a:lnTo>
                    <a:pt x="1158" y="698"/>
                  </a:lnTo>
                  <a:lnTo>
                    <a:pt x="1176" y="624"/>
                  </a:lnTo>
                  <a:lnTo>
                    <a:pt x="1195" y="551"/>
                  </a:lnTo>
                  <a:lnTo>
                    <a:pt x="1215" y="475"/>
                  </a:lnTo>
                  <a:lnTo>
                    <a:pt x="1179" y="525"/>
                  </a:lnTo>
                  <a:lnTo>
                    <a:pt x="1142" y="576"/>
                  </a:lnTo>
                  <a:lnTo>
                    <a:pt x="1104" y="631"/>
                  </a:lnTo>
                  <a:lnTo>
                    <a:pt x="1066" y="687"/>
                  </a:lnTo>
                  <a:lnTo>
                    <a:pt x="1027" y="744"/>
                  </a:lnTo>
                  <a:lnTo>
                    <a:pt x="988" y="804"/>
                  </a:lnTo>
                  <a:lnTo>
                    <a:pt x="949" y="866"/>
                  </a:lnTo>
                  <a:lnTo>
                    <a:pt x="910" y="929"/>
                  </a:lnTo>
                  <a:lnTo>
                    <a:pt x="870" y="993"/>
                  </a:lnTo>
                  <a:lnTo>
                    <a:pt x="830" y="1059"/>
                  </a:lnTo>
                  <a:lnTo>
                    <a:pt x="791" y="1126"/>
                  </a:lnTo>
                  <a:lnTo>
                    <a:pt x="752" y="1195"/>
                  </a:lnTo>
                  <a:lnTo>
                    <a:pt x="714" y="1264"/>
                  </a:lnTo>
                  <a:lnTo>
                    <a:pt x="676" y="1334"/>
                  </a:lnTo>
                  <a:lnTo>
                    <a:pt x="639" y="1406"/>
                  </a:lnTo>
                  <a:lnTo>
                    <a:pt x="602" y="1478"/>
                  </a:lnTo>
                  <a:lnTo>
                    <a:pt x="566" y="1550"/>
                  </a:lnTo>
                  <a:lnTo>
                    <a:pt x="531" y="1625"/>
                  </a:lnTo>
                  <a:lnTo>
                    <a:pt x="497" y="1698"/>
                  </a:lnTo>
                  <a:lnTo>
                    <a:pt x="464" y="1772"/>
                  </a:lnTo>
                  <a:lnTo>
                    <a:pt x="432" y="1847"/>
                  </a:lnTo>
                  <a:lnTo>
                    <a:pt x="401" y="1922"/>
                  </a:lnTo>
                  <a:lnTo>
                    <a:pt x="372" y="1997"/>
                  </a:lnTo>
                  <a:lnTo>
                    <a:pt x="344" y="2072"/>
                  </a:lnTo>
                  <a:lnTo>
                    <a:pt x="318" y="2146"/>
                  </a:lnTo>
                  <a:lnTo>
                    <a:pt x="294" y="2222"/>
                  </a:lnTo>
                  <a:lnTo>
                    <a:pt x="272" y="2296"/>
                  </a:lnTo>
                  <a:lnTo>
                    <a:pt x="251" y="2370"/>
                  </a:lnTo>
                  <a:lnTo>
                    <a:pt x="233" y="2443"/>
                  </a:lnTo>
                  <a:lnTo>
                    <a:pt x="216" y="2516"/>
                  </a:lnTo>
                  <a:lnTo>
                    <a:pt x="203" y="2589"/>
                  </a:lnTo>
                  <a:lnTo>
                    <a:pt x="192" y="2660"/>
                  </a:lnTo>
                  <a:lnTo>
                    <a:pt x="187" y="2694"/>
                  </a:lnTo>
                  <a:lnTo>
                    <a:pt x="182" y="2728"/>
                  </a:lnTo>
                  <a:lnTo>
                    <a:pt x="178" y="2761"/>
                  </a:lnTo>
                  <a:lnTo>
                    <a:pt x="176" y="2794"/>
                  </a:lnTo>
                  <a:lnTo>
                    <a:pt x="173" y="2828"/>
                  </a:lnTo>
                  <a:lnTo>
                    <a:pt x="172" y="2860"/>
                  </a:lnTo>
                  <a:lnTo>
                    <a:pt x="171" y="2893"/>
                  </a:lnTo>
                  <a:lnTo>
                    <a:pt x="171" y="2925"/>
                  </a:lnTo>
                  <a:lnTo>
                    <a:pt x="171" y="2957"/>
                  </a:lnTo>
                  <a:lnTo>
                    <a:pt x="172" y="2987"/>
                  </a:lnTo>
                  <a:lnTo>
                    <a:pt x="174" y="3018"/>
                  </a:lnTo>
                  <a:lnTo>
                    <a:pt x="176" y="3049"/>
                  </a:lnTo>
                  <a:lnTo>
                    <a:pt x="179" y="3079"/>
                  </a:lnTo>
                  <a:lnTo>
                    <a:pt x="183" y="3109"/>
                  </a:lnTo>
                  <a:lnTo>
                    <a:pt x="189" y="3138"/>
                  </a:lnTo>
                  <a:lnTo>
                    <a:pt x="194" y="31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19" name="Freeform 95"/>
            <p:cNvSpPr>
              <a:spLocks noChangeArrowheads="1"/>
            </p:cNvSpPr>
            <p:nvPr/>
          </p:nvSpPr>
          <p:spPr bwMode="auto">
            <a:xfrm>
              <a:off x="946150" y="3319395"/>
              <a:ext cx="603250" cy="2589267"/>
            </a:xfrm>
            <a:custGeom>
              <a:avLst/>
              <a:gdLst>
                <a:gd name="T0" fmla="*/ 171 w 1342"/>
                <a:gd name="T1" fmla="*/ 3445 h 4676"/>
                <a:gd name="T2" fmla="*/ 70 w 1342"/>
                <a:gd name="T3" fmla="*/ 3256 h 4676"/>
                <a:gd name="T4" fmla="*/ 14 w 1342"/>
                <a:gd name="T5" fmla="*/ 3042 h 4676"/>
                <a:gd name="T6" fmla="*/ 0 w 1342"/>
                <a:gd name="T7" fmla="*/ 2808 h 4676"/>
                <a:gd name="T8" fmla="*/ 21 w 1342"/>
                <a:gd name="T9" fmla="*/ 2557 h 4676"/>
                <a:gd name="T10" fmla="*/ 74 w 1342"/>
                <a:gd name="T11" fmla="*/ 2295 h 4676"/>
                <a:gd name="T12" fmla="*/ 154 w 1342"/>
                <a:gd name="T13" fmla="*/ 2027 h 4676"/>
                <a:gd name="T14" fmla="*/ 256 w 1342"/>
                <a:gd name="T15" fmla="*/ 1756 h 4676"/>
                <a:gd name="T16" fmla="*/ 374 w 1342"/>
                <a:gd name="T17" fmla="*/ 1487 h 4676"/>
                <a:gd name="T18" fmla="*/ 506 w 1342"/>
                <a:gd name="T19" fmla="*/ 1225 h 4676"/>
                <a:gd name="T20" fmla="*/ 645 w 1342"/>
                <a:gd name="T21" fmla="*/ 974 h 4676"/>
                <a:gd name="T22" fmla="*/ 789 w 1342"/>
                <a:gd name="T23" fmla="*/ 739 h 4676"/>
                <a:gd name="T24" fmla="*/ 929 w 1342"/>
                <a:gd name="T25" fmla="*/ 524 h 4676"/>
                <a:gd name="T26" fmla="*/ 1064 w 1342"/>
                <a:gd name="T27" fmla="*/ 335 h 4676"/>
                <a:gd name="T28" fmla="*/ 1187 w 1342"/>
                <a:gd name="T29" fmla="*/ 175 h 4676"/>
                <a:gd name="T30" fmla="*/ 1295 w 1342"/>
                <a:gd name="T31" fmla="*/ 49 h 4676"/>
                <a:gd name="T32" fmla="*/ 1310 w 1342"/>
                <a:gd name="T33" fmla="*/ 89 h 4676"/>
                <a:gd name="T34" fmla="*/ 1244 w 1342"/>
                <a:gd name="T35" fmla="*/ 297 h 4676"/>
                <a:gd name="T36" fmla="*/ 1178 w 1342"/>
                <a:gd name="T37" fmla="*/ 539 h 4676"/>
                <a:gd name="T38" fmla="*/ 1111 w 1342"/>
                <a:gd name="T39" fmla="*/ 812 h 4676"/>
                <a:gd name="T40" fmla="*/ 1045 w 1342"/>
                <a:gd name="T41" fmla="*/ 1110 h 4676"/>
                <a:gd name="T42" fmla="*/ 980 w 1342"/>
                <a:gd name="T43" fmla="*/ 1427 h 4676"/>
                <a:gd name="T44" fmla="*/ 917 w 1342"/>
                <a:gd name="T45" fmla="*/ 1759 h 4676"/>
                <a:gd name="T46" fmla="*/ 857 w 1342"/>
                <a:gd name="T47" fmla="*/ 2102 h 4676"/>
                <a:gd name="T48" fmla="*/ 799 w 1342"/>
                <a:gd name="T49" fmla="*/ 2448 h 4676"/>
                <a:gd name="T50" fmla="*/ 745 w 1342"/>
                <a:gd name="T51" fmla="*/ 2794 h 4676"/>
                <a:gd name="T52" fmla="*/ 696 w 1342"/>
                <a:gd name="T53" fmla="*/ 3134 h 4676"/>
                <a:gd name="T54" fmla="*/ 652 w 1342"/>
                <a:gd name="T55" fmla="*/ 3463 h 4676"/>
                <a:gd name="T56" fmla="*/ 613 w 1342"/>
                <a:gd name="T57" fmla="*/ 3777 h 4676"/>
                <a:gd name="T58" fmla="*/ 582 w 1342"/>
                <a:gd name="T59" fmla="*/ 4069 h 4676"/>
                <a:gd name="T60" fmla="*/ 558 w 1342"/>
                <a:gd name="T61" fmla="*/ 4336 h 4676"/>
                <a:gd name="T62" fmla="*/ 541 w 1342"/>
                <a:gd name="T63" fmla="*/ 4571 h 4676"/>
                <a:gd name="T64" fmla="*/ 240 w 1342"/>
                <a:gd name="T65" fmla="*/ 3528 h 4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2" h="4676">
                  <a:moveTo>
                    <a:pt x="240" y="3528"/>
                  </a:moveTo>
                  <a:lnTo>
                    <a:pt x="171" y="3445"/>
                  </a:lnTo>
                  <a:lnTo>
                    <a:pt x="114" y="3354"/>
                  </a:lnTo>
                  <a:lnTo>
                    <a:pt x="70" y="3256"/>
                  </a:lnTo>
                  <a:lnTo>
                    <a:pt x="37" y="3152"/>
                  </a:lnTo>
                  <a:lnTo>
                    <a:pt x="14" y="3042"/>
                  </a:lnTo>
                  <a:lnTo>
                    <a:pt x="2" y="2927"/>
                  </a:lnTo>
                  <a:lnTo>
                    <a:pt x="0" y="2808"/>
                  </a:lnTo>
                  <a:lnTo>
                    <a:pt x="6" y="2684"/>
                  </a:lnTo>
                  <a:lnTo>
                    <a:pt x="21" y="2557"/>
                  </a:lnTo>
                  <a:lnTo>
                    <a:pt x="44" y="2427"/>
                  </a:lnTo>
                  <a:lnTo>
                    <a:pt x="74" y="2295"/>
                  </a:lnTo>
                  <a:lnTo>
                    <a:pt x="111" y="2161"/>
                  </a:lnTo>
                  <a:lnTo>
                    <a:pt x="154" y="2027"/>
                  </a:lnTo>
                  <a:lnTo>
                    <a:pt x="202" y="1891"/>
                  </a:lnTo>
                  <a:lnTo>
                    <a:pt x="256" y="1756"/>
                  </a:lnTo>
                  <a:lnTo>
                    <a:pt x="314" y="1621"/>
                  </a:lnTo>
                  <a:lnTo>
                    <a:pt x="374" y="1487"/>
                  </a:lnTo>
                  <a:lnTo>
                    <a:pt x="439" y="1355"/>
                  </a:lnTo>
                  <a:lnTo>
                    <a:pt x="506" y="1225"/>
                  </a:lnTo>
                  <a:lnTo>
                    <a:pt x="575" y="1097"/>
                  </a:lnTo>
                  <a:lnTo>
                    <a:pt x="645" y="974"/>
                  </a:lnTo>
                  <a:lnTo>
                    <a:pt x="716" y="854"/>
                  </a:lnTo>
                  <a:lnTo>
                    <a:pt x="789" y="739"/>
                  </a:lnTo>
                  <a:lnTo>
                    <a:pt x="860" y="629"/>
                  </a:lnTo>
                  <a:lnTo>
                    <a:pt x="929" y="524"/>
                  </a:lnTo>
                  <a:lnTo>
                    <a:pt x="998" y="426"/>
                  </a:lnTo>
                  <a:lnTo>
                    <a:pt x="1064" y="335"/>
                  </a:lnTo>
                  <a:lnTo>
                    <a:pt x="1127" y="251"/>
                  </a:lnTo>
                  <a:lnTo>
                    <a:pt x="1187" y="175"/>
                  </a:lnTo>
                  <a:lnTo>
                    <a:pt x="1243" y="107"/>
                  </a:lnTo>
                  <a:lnTo>
                    <a:pt x="1295" y="49"/>
                  </a:lnTo>
                  <a:lnTo>
                    <a:pt x="1342" y="0"/>
                  </a:lnTo>
                  <a:lnTo>
                    <a:pt x="1310" y="89"/>
                  </a:lnTo>
                  <a:lnTo>
                    <a:pt x="1277" y="188"/>
                  </a:lnTo>
                  <a:lnTo>
                    <a:pt x="1244" y="297"/>
                  </a:lnTo>
                  <a:lnTo>
                    <a:pt x="1211" y="414"/>
                  </a:lnTo>
                  <a:lnTo>
                    <a:pt x="1178" y="539"/>
                  </a:lnTo>
                  <a:lnTo>
                    <a:pt x="1145" y="672"/>
                  </a:lnTo>
                  <a:lnTo>
                    <a:pt x="1111" y="812"/>
                  </a:lnTo>
                  <a:lnTo>
                    <a:pt x="1078" y="957"/>
                  </a:lnTo>
                  <a:lnTo>
                    <a:pt x="1045" y="1110"/>
                  </a:lnTo>
                  <a:lnTo>
                    <a:pt x="1013" y="1266"/>
                  </a:lnTo>
                  <a:lnTo>
                    <a:pt x="980" y="1427"/>
                  </a:lnTo>
                  <a:lnTo>
                    <a:pt x="948" y="1591"/>
                  </a:lnTo>
                  <a:lnTo>
                    <a:pt x="917" y="1759"/>
                  </a:lnTo>
                  <a:lnTo>
                    <a:pt x="886" y="1929"/>
                  </a:lnTo>
                  <a:lnTo>
                    <a:pt x="857" y="2102"/>
                  </a:lnTo>
                  <a:lnTo>
                    <a:pt x="828" y="2274"/>
                  </a:lnTo>
                  <a:lnTo>
                    <a:pt x="799" y="2448"/>
                  </a:lnTo>
                  <a:lnTo>
                    <a:pt x="772" y="2621"/>
                  </a:lnTo>
                  <a:lnTo>
                    <a:pt x="745" y="2794"/>
                  </a:lnTo>
                  <a:lnTo>
                    <a:pt x="720" y="2964"/>
                  </a:lnTo>
                  <a:lnTo>
                    <a:pt x="696" y="3134"/>
                  </a:lnTo>
                  <a:lnTo>
                    <a:pt x="673" y="3300"/>
                  </a:lnTo>
                  <a:lnTo>
                    <a:pt x="652" y="3463"/>
                  </a:lnTo>
                  <a:lnTo>
                    <a:pt x="632" y="3622"/>
                  </a:lnTo>
                  <a:lnTo>
                    <a:pt x="613" y="3777"/>
                  </a:lnTo>
                  <a:lnTo>
                    <a:pt x="597" y="3926"/>
                  </a:lnTo>
                  <a:lnTo>
                    <a:pt x="582" y="4069"/>
                  </a:lnTo>
                  <a:lnTo>
                    <a:pt x="569" y="4207"/>
                  </a:lnTo>
                  <a:lnTo>
                    <a:pt x="558" y="4336"/>
                  </a:lnTo>
                  <a:lnTo>
                    <a:pt x="549" y="4458"/>
                  </a:lnTo>
                  <a:lnTo>
                    <a:pt x="541" y="4571"/>
                  </a:lnTo>
                  <a:lnTo>
                    <a:pt x="536" y="4676"/>
                  </a:lnTo>
                  <a:lnTo>
                    <a:pt x="240" y="352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0" name="Freeform 96"/>
            <p:cNvSpPr>
              <a:spLocks noChangeArrowheads="1"/>
            </p:cNvSpPr>
            <p:nvPr/>
          </p:nvSpPr>
          <p:spPr bwMode="auto">
            <a:xfrm>
              <a:off x="1054100" y="4090936"/>
              <a:ext cx="784225" cy="2244773"/>
            </a:xfrm>
            <a:custGeom>
              <a:avLst/>
              <a:gdLst>
                <a:gd name="T0" fmla="*/ 24 w 1737"/>
                <a:gd name="T1" fmla="*/ 3784 h 4038"/>
                <a:gd name="T2" fmla="*/ 91 w 1737"/>
                <a:gd name="T3" fmla="*/ 3400 h 4038"/>
                <a:gd name="T4" fmla="*/ 172 w 1737"/>
                <a:gd name="T5" fmla="*/ 3016 h 4038"/>
                <a:gd name="T6" fmla="*/ 269 w 1737"/>
                <a:gd name="T7" fmla="*/ 2614 h 4038"/>
                <a:gd name="T8" fmla="*/ 413 w 1737"/>
                <a:gd name="T9" fmla="*/ 2131 h 4038"/>
                <a:gd name="T10" fmla="*/ 579 w 1737"/>
                <a:gd name="T11" fmla="*/ 1664 h 4038"/>
                <a:gd name="T12" fmla="*/ 774 w 1737"/>
                <a:gd name="T13" fmla="*/ 1221 h 4038"/>
                <a:gd name="T14" fmla="*/ 997 w 1737"/>
                <a:gd name="T15" fmla="*/ 806 h 4038"/>
                <a:gd name="T16" fmla="*/ 1249 w 1737"/>
                <a:gd name="T17" fmla="*/ 426 h 4038"/>
                <a:gd name="T18" fmla="*/ 1532 w 1737"/>
                <a:gd name="T19" fmla="*/ 87 h 4038"/>
                <a:gd name="T20" fmla="*/ 1621 w 1737"/>
                <a:gd name="T21" fmla="*/ 6 h 4038"/>
                <a:gd name="T22" fmla="*/ 1661 w 1737"/>
                <a:gd name="T23" fmla="*/ 0 h 4038"/>
                <a:gd name="T24" fmla="*/ 1699 w 1737"/>
                <a:gd name="T25" fmla="*/ 13 h 4038"/>
                <a:gd name="T26" fmla="*/ 1725 w 1737"/>
                <a:gd name="T27" fmla="*/ 41 h 4038"/>
                <a:gd name="T28" fmla="*/ 1736 w 1737"/>
                <a:gd name="T29" fmla="*/ 73 h 4038"/>
                <a:gd name="T30" fmla="*/ 1734 w 1737"/>
                <a:gd name="T31" fmla="*/ 106 h 4038"/>
                <a:gd name="T32" fmla="*/ 1651 w 1737"/>
                <a:gd name="T33" fmla="*/ 288 h 4038"/>
                <a:gd name="T34" fmla="*/ 1481 w 1737"/>
                <a:gd name="T35" fmla="*/ 689 h 4038"/>
                <a:gd name="T36" fmla="*/ 1339 w 1737"/>
                <a:gd name="T37" fmla="*/ 1085 h 4038"/>
                <a:gd name="T38" fmla="*/ 1219 w 1737"/>
                <a:gd name="T39" fmla="*/ 1485 h 4038"/>
                <a:gd name="T40" fmla="*/ 1120 w 1737"/>
                <a:gd name="T41" fmla="*/ 1901 h 4038"/>
                <a:gd name="T42" fmla="*/ 1039 w 1737"/>
                <a:gd name="T43" fmla="*/ 2341 h 4038"/>
                <a:gd name="T44" fmla="*/ 974 w 1737"/>
                <a:gd name="T45" fmla="*/ 2815 h 4038"/>
                <a:gd name="T46" fmla="*/ 955 w 1737"/>
                <a:gd name="T47" fmla="*/ 2858 h 4038"/>
                <a:gd name="T48" fmla="*/ 911 w 1737"/>
                <a:gd name="T49" fmla="*/ 2898 h 4038"/>
                <a:gd name="T50" fmla="*/ 853 w 1737"/>
                <a:gd name="T51" fmla="*/ 2991 h 4038"/>
                <a:gd name="T52" fmla="*/ 754 w 1737"/>
                <a:gd name="T53" fmla="*/ 3231 h 4038"/>
                <a:gd name="T54" fmla="*/ 711 w 1737"/>
                <a:gd name="T55" fmla="*/ 3342 h 4038"/>
                <a:gd name="T56" fmla="*/ 666 w 1737"/>
                <a:gd name="T57" fmla="*/ 3444 h 4038"/>
                <a:gd name="T58" fmla="*/ 605 w 1737"/>
                <a:gd name="T59" fmla="*/ 3528 h 4038"/>
                <a:gd name="T60" fmla="*/ 510 w 1737"/>
                <a:gd name="T61" fmla="*/ 3641 h 4038"/>
                <a:gd name="T62" fmla="*/ 333 w 1737"/>
                <a:gd name="T63" fmla="*/ 3814 h 4038"/>
                <a:gd name="T64" fmla="*/ 201 w 1737"/>
                <a:gd name="T65" fmla="*/ 3946 h 4038"/>
                <a:gd name="T66" fmla="*/ 131 w 1737"/>
                <a:gd name="T67" fmla="*/ 4024 h 4038"/>
                <a:gd name="T68" fmla="*/ 93 w 1737"/>
                <a:gd name="T69" fmla="*/ 4037 h 4038"/>
                <a:gd name="T70" fmla="*/ 53 w 1737"/>
                <a:gd name="T71" fmla="*/ 4033 h 4038"/>
                <a:gd name="T72" fmla="*/ 15 w 1737"/>
                <a:gd name="T73" fmla="*/ 4003 h 4038"/>
                <a:gd name="T74" fmla="*/ 0 w 1737"/>
                <a:gd name="T75" fmla="*/ 3953 h 4038"/>
                <a:gd name="T76" fmla="*/ 256 w 1737"/>
                <a:gd name="T77" fmla="*/ 3442 h 4038"/>
                <a:gd name="T78" fmla="*/ 217 w 1737"/>
                <a:gd name="T79" fmla="*/ 3654 h 4038"/>
                <a:gd name="T80" fmla="*/ 349 w 1737"/>
                <a:gd name="T81" fmla="*/ 3565 h 4038"/>
                <a:gd name="T82" fmla="*/ 486 w 1737"/>
                <a:gd name="T83" fmla="*/ 3406 h 4038"/>
                <a:gd name="T84" fmla="*/ 546 w 1737"/>
                <a:gd name="T85" fmla="*/ 3296 h 4038"/>
                <a:gd name="T86" fmla="*/ 595 w 1737"/>
                <a:gd name="T87" fmla="*/ 3172 h 4038"/>
                <a:gd name="T88" fmla="*/ 691 w 1737"/>
                <a:gd name="T89" fmla="*/ 2941 h 4038"/>
                <a:gd name="T90" fmla="*/ 761 w 1737"/>
                <a:gd name="T91" fmla="*/ 2818 h 4038"/>
                <a:gd name="T92" fmla="*/ 835 w 1737"/>
                <a:gd name="T93" fmla="*/ 2570 h 4038"/>
                <a:gd name="T94" fmla="*/ 906 w 1737"/>
                <a:gd name="T95" fmla="*/ 2114 h 4038"/>
                <a:gd name="T96" fmla="*/ 995 w 1737"/>
                <a:gd name="T97" fmla="*/ 1686 h 4038"/>
                <a:gd name="T98" fmla="*/ 1092 w 1737"/>
                <a:gd name="T99" fmla="*/ 1310 h 4038"/>
                <a:gd name="T100" fmla="*/ 1166 w 1737"/>
                <a:gd name="T101" fmla="*/ 1069 h 4038"/>
                <a:gd name="T102" fmla="*/ 1248 w 1737"/>
                <a:gd name="T103" fmla="*/ 829 h 4038"/>
                <a:gd name="T104" fmla="*/ 1339 w 1737"/>
                <a:gd name="T105" fmla="*/ 589 h 4038"/>
                <a:gd name="T106" fmla="*/ 1149 w 1737"/>
                <a:gd name="T107" fmla="*/ 881 h 4038"/>
                <a:gd name="T108" fmla="*/ 976 w 1737"/>
                <a:gd name="T109" fmla="*/ 1194 h 4038"/>
                <a:gd name="T110" fmla="*/ 820 w 1737"/>
                <a:gd name="T111" fmla="*/ 1526 h 4038"/>
                <a:gd name="T112" fmla="*/ 681 w 1737"/>
                <a:gd name="T113" fmla="*/ 1873 h 4038"/>
                <a:gd name="T114" fmla="*/ 557 w 1737"/>
                <a:gd name="T115" fmla="*/ 2233 h 4038"/>
                <a:gd name="T116" fmla="*/ 448 w 1737"/>
                <a:gd name="T117" fmla="*/ 2603 h 4038"/>
                <a:gd name="T118" fmla="*/ 353 w 1737"/>
                <a:gd name="T119" fmla="*/ 2979 h 4038"/>
                <a:gd name="T120" fmla="*/ 273 w 1737"/>
                <a:gd name="T121" fmla="*/ 3356 h 4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7" h="4038">
                  <a:moveTo>
                    <a:pt x="1" y="3943"/>
                  </a:moveTo>
                  <a:lnTo>
                    <a:pt x="1" y="3940"/>
                  </a:lnTo>
                  <a:lnTo>
                    <a:pt x="2" y="3937"/>
                  </a:lnTo>
                  <a:lnTo>
                    <a:pt x="12" y="3860"/>
                  </a:lnTo>
                  <a:lnTo>
                    <a:pt x="24" y="3784"/>
                  </a:lnTo>
                  <a:lnTo>
                    <a:pt x="37" y="3708"/>
                  </a:lnTo>
                  <a:lnTo>
                    <a:pt x="50" y="3630"/>
                  </a:lnTo>
                  <a:lnTo>
                    <a:pt x="63" y="3554"/>
                  </a:lnTo>
                  <a:lnTo>
                    <a:pt x="77" y="3477"/>
                  </a:lnTo>
                  <a:lnTo>
                    <a:pt x="91" y="3400"/>
                  </a:lnTo>
                  <a:lnTo>
                    <a:pt x="107" y="3324"/>
                  </a:lnTo>
                  <a:lnTo>
                    <a:pt x="122" y="3247"/>
                  </a:lnTo>
                  <a:lnTo>
                    <a:pt x="138" y="3169"/>
                  </a:lnTo>
                  <a:lnTo>
                    <a:pt x="154" y="3093"/>
                  </a:lnTo>
                  <a:lnTo>
                    <a:pt x="172" y="3016"/>
                  </a:lnTo>
                  <a:lnTo>
                    <a:pt x="188" y="2940"/>
                  </a:lnTo>
                  <a:lnTo>
                    <a:pt x="207" y="2863"/>
                  </a:lnTo>
                  <a:lnTo>
                    <a:pt x="225" y="2787"/>
                  </a:lnTo>
                  <a:lnTo>
                    <a:pt x="245" y="2711"/>
                  </a:lnTo>
                  <a:lnTo>
                    <a:pt x="269" y="2614"/>
                  </a:lnTo>
                  <a:lnTo>
                    <a:pt x="296" y="2516"/>
                  </a:lnTo>
                  <a:lnTo>
                    <a:pt x="324" y="2419"/>
                  </a:lnTo>
                  <a:lnTo>
                    <a:pt x="353" y="2322"/>
                  </a:lnTo>
                  <a:lnTo>
                    <a:pt x="382" y="2226"/>
                  </a:lnTo>
                  <a:lnTo>
                    <a:pt x="413" y="2131"/>
                  </a:lnTo>
                  <a:lnTo>
                    <a:pt x="443" y="2037"/>
                  </a:lnTo>
                  <a:lnTo>
                    <a:pt x="476" y="1942"/>
                  </a:lnTo>
                  <a:lnTo>
                    <a:pt x="509" y="1849"/>
                  </a:lnTo>
                  <a:lnTo>
                    <a:pt x="544" y="1756"/>
                  </a:lnTo>
                  <a:lnTo>
                    <a:pt x="579" y="1664"/>
                  </a:lnTo>
                  <a:lnTo>
                    <a:pt x="617" y="1574"/>
                  </a:lnTo>
                  <a:lnTo>
                    <a:pt x="655" y="1484"/>
                  </a:lnTo>
                  <a:lnTo>
                    <a:pt x="694" y="1395"/>
                  </a:lnTo>
                  <a:lnTo>
                    <a:pt x="733" y="1308"/>
                  </a:lnTo>
                  <a:lnTo>
                    <a:pt x="774" y="1221"/>
                  </a:lnTo>
                  <a:lnTo>
                    <a:pt x="816" y="1136"/>
                  </a:lnTo>
                  <a:lnTo>
                    <a:pt x="860" y="1051"/>
                  </a:lnTo>
                  <a:lnTo>
                    <a:pt x="904" y="969"/>
                  </a:lnTo>
                  <a:lnTo>
                    <a:pt x="950" y="886"/>
                  </a:lnTo>
                  <a:lnTo>
                    <a:pt x="997" y="806"/>
                  </a:lnTo>
                  <a:lnTo>
                    <a:pt x="1045" y="727"/>
                  </a:lnTo>
                  <a:lnTo>
                    <a:pt x="1094" y="649"/>
                  </a:lnTo>
                  <a:lnTo>
                    <a:pt x="1145" y="574"/>
                  </a:lnTo>
                  <a:lnTo>
                    <a:pt x="1196" y="499"/>
                  </a:lnTo>
                  <a:lnTo>
                    <a:pt x="1249" y="426"/>
                  </a:lnTo>
                  <a:lnTo>
                    <a:pt x="1303" y="354"/>
                  </a:lnTo>
                  <a:lnTo>
                    <a:pt x="1358" y="285"/>
                  </a:lnTo>
                  <a:lnTo>
                    <a:pt x="1415" y="217"/>
                  </a:lnTo>
                  <a:lnTo>
                    <a:pt x="1472" y="151"/>
                  </a:lnTo>
                  <a:lnTo>
                    <a:pt x="1532" y="87"/>
                  </a:lnTo>
                  <a:lnTo>
                    <a:pt x="1593" y="24"/>
                  </a:lnTo>
                  <a:lnTo>
                    <a:pt x="1599" y="19"/>
                  </a:lnTo>
                  <a:lnTo>
                    <a:pt x="1606" y="14"/>
                  </a:lnTo>
                  <a:lnTo>
                    <a:pt x="1614" y="9"/>
                  </a:lnTo>
                  <a:lnTo>
                    <a:pt x="1621" y="6"/>
                  </a:lnTo>
                  <a:lnTo>
                    <a:pt x="1628" y="3"/>
                  </a:lnTo>
                  <a:lnTo>
                    <a:pt x="1636" y="1"/>
                  </a:lnTo>
                  <a:lnTo>
                    <a:pt x="1644" y="0"/>
                  </a:lnTo>
                  <a:lnTo>
                    <a:pt x="1653" y="0"/>
                  </a:lnTo>
                  <a:lnTo>
                    <a:pt x="1661" y="0"/>
                  </a:lnTo>
                  <a:lnTo>
                    <a:pt x="1669" y="1"/>
                  </a:lnTo>
                  <a:lnTo>
                    <a:pt x="1676" y="3"/>
                  </a:lnTo>
                  <a:lnTo>
                    <a:pt x="1685" y="6"/>
                  </a:lnTo>
                  <a:lnTo>
                    <a:pt x="1692" y="9"/>
                  </a:lnTo>
                  <a:lnTo>
                    <a:pt x="1699" y="13"/>
                  </a:lnTo>
                  <a:lnTo>
                    <a:pt x="1706" y="18"/>
                  </a:lnTo>
                  <a:lnTo>
                    <a:pt x="1712" y="24"/>
                  </a:lnTo>
                  <a:lnTo>
                    <a:pt x="1717" y="30"/>
                  </a:lnTo>
                  <a:lnTo>
                    <a:pt x="1722" y="35"/>
                  </a:lnTo>
                  <a:lnTo>
                    <a:pt x="1725" y="41"/>
                  </a:lnTo>
                  <a:lnTo>
                    <a:pt x="1728" y="47"/>
                  </a:lnTo>
                  <a:lnTo>
                    <a:pt x="1731" y="53"/>
                  </a:lnTo>
                  <a:lnTo>
                    <a:pt x="1733" y="59"/>
                  </a:lnTo>
                  <a:lnTo>
                    <a:pt x="1735" y="66"/>
                  </a:lnTo>
                  <a:lnTo>
                    <a:pt x="1736" y="73"/>
                  </a:lnTo>
                  <a:lnTo>
                    <a:pt x="1737" y="79"/>
                  </a:lnTo>
                  <a:lnTo>
                    <a:pt x="1737" y="86"/>
                  </a:lnTo>
                  <a:lnTo>
                    <a:pt x="1736" y="92"/>
                  </a:lnTo>
                  <a:lnTo>
                    <a:pt x="1736" y="100"/>
                  </a:lnTo>
                  <a:lnTo>
                    <a:pt x="1734" y="106"/>
                  </a:lnTo>
                  <a:lnTo>
                    <a:pt x="1732" y="112"/>
                  </a:lnTo>
                  <a:lnTo>
                    <a:pt x="1730" y="118"/>
                  </a:lnTo>
                  <a:lnTo>
                    <a:pt x="1727" y="124"/>
                  </a:lnTo>
                  <a:lnTo>
                    <a:pt x="1688" y="207"/>
                  </a:lnTo>
                  <a:lnTo>
                    <a:pt x="1651" y="288"/>
                  </a:lnTo>
                  <a:lnTo>
                    <a:pt x="1615" y="370"/>
                  </a:lnTo>
                  <a:lnTo>
                    <a:pt x="1580" y="450"/>
                  </a:lnTo>
                  <a:lnTo>
                    <a:pt x="1546" y="531"/>
                  </a:lnTo>
                  <a:lnTo>
                    <a:pt x="1513" y="610"/>
                  </a:lnTo>
                  <a:lnTo>
                    <a:pt x="1481" y="689"/>
                  </a:lnTo>
                  <a:lnTo>
                    <a:pt x="1451" y="769"/>
                  </a:lnTo>
                  <a:lnTo>
                    <a:pt x="1421" y="848"/>
                  </a:lnTo>
                  <a:lnTo>
                    <a:pt x="1392" y="926"/>
                  </a:lnTo>
                  <a:lnTo>
                    <a:pt x="1364" y="1006"/>
                  </a:lnTo>
                  <a:lnTo>
                    <a:pt x="1339" y="1085"/>
                  </a:lnTo>
                  <a:lnTo>
                    <a:pt x="1313" y="1164"/>
                  </a:lnTo>
                  <a:lnTo>
                    <a:pt x="1288" y="1244"/>
                  </a:lnTo>
                  <a:lnTo>
                    <a:pt x="1263" y="1324"/>
                  </a:lnTo>
                  <a:lnTo>
                    <a:pt x="1241" y="1404"/>
                  </a:lnTo>
                  <a:lnTo>
                    <a:pt x="1219" y="1485"/>
                  </a:lnTo>
                  <a:lnTo>
                    <a:pt x="1197" y="1567"/>
                  </a:lnTo>
                  <a:lnTo>
                    <a:pt x="1177" y="1649"/>
                  </a:lnTo>
                  <a:lnTo>
                    <a:pt x="1157" y="1732"/>
                  </a:lnTo>
                  <a:lnTo>
                    <a:pt x="1138" y="1816"/>
                  </a:lnTo>
                  <a:lnTo>
                    <a:pt x="1120" y="1901"/>
                  </a:lnTo>
                  <a:lnTo>
                    <a:pt x="1103" y="1986"/>
                  </a:lnTo>
                  <a:lnTo>
                    <a:pt x="1086" y="2074"/>
                  </a:lnTo>
                  <a:lnTo>
                    <a:pt x="1070" y="2161"/>
                  </a:lnTo>
                  <a:lnTo>
                    <a:pt x="1054" y="2250"/>
                  </a:lnTo>
                  <a:lnTo>
                    <a:pt x="1039" y="2341"/>
                  </a:lnTo>
                  <a:lnTo>
                    <a:pt x="1025" y="2432"/>
                  </a:lnTo>
                  <a:lnTo>
                    <a:pt x="1011" y="2526"/>
                  </a:lnTo>
                  <a:lnTo>
                    <a:pt x="999" y="2621"/>
                  </a:lnTo>
                  <a:lnTo>
                    <a:pt x="985" y="2717"/>
                  </a:lnTo>
                  <a:lnTo>
                    <a:pt x="974" y="2815"/>
                  </a:lnTo>
                  <a:lnTo>
                    <a:pt x="972" y="2825"/>
                  </a:lnTo>
                  <a:lnTo>
                    <a:pt x="969" y="2833"/>
                  </a:lnTo>
                  <a:lnTo>
                    <a:pt x="966" y="2843"/>
                  </a:lnTo>
                  <a:lnTo>
                    <a:pt x="961" y="2851"/>
                  </a:lnTo>
                  <a:lnTo>
                    <a:pt x="955" y="2858"/>
                  </a:lnTo>
                  <a:lnTo>
                    <a:pt x="949" y="2865"/>
                  </a:lnTo>
                  <a:lnTo>
                    <a:pt x="942" y="2872"/>
                  </a:lnTo>
                  <a:lnTo>
                    <a:pt x="935" y="2877"/>
                  </a:lnTo>
                  <a:lnTo>
                    <a:pt x="923" y="2887"/>
                  </a:lnTo>
                  <a:lnTo>
                    <a:pt x="911" y="2898"/>
                  </a:lnTo>
                  <a:lnTo>
                    <a:pt x="900" y="2913"/>
                  </a:lnTo>
                  <a:lnTo>
                    <a:pt x="887" y="2930"/>
                  </a:lnTo>
                  <a:lnTo>
                    <a:pt x="876" y="2949"/>
                  </a:lnTo>
                  <a:lnTo>
                    <a:pt x="865" y="2969"/>
                  </a:lnTo>
                  <a:lnTo>
                    <a:pt x="853" y="2991"/>
                  </a:lnTo>
                  <a:lnTo>
                    <a:pt x="842" y="3015"/>
                  </a:lnTo>
                  <a:lnTo>
                    <a:pt x="819" y="3065"/>
                  </a:lnTo>
                  <a:lnTo>
                    <a:pt x="797" y="3120"/>
                  </a:lnTo>
                  <a:lnTo>
                    <a:pt x="775" y="3176"/>
                  </a:lnTo>
                  <a:lnTo>
                    <a:pt x="754" y="3231"/>
                  </a:lnTo>
                  <a:lnTo>
                    <a:pt x="754" y="3232"/>
                  </a:lnTo>
                  <a:lnTo>
                    <a:pt x="743" y="3260"/>
                  </a:lnTo>
                  <a:lnTo>
                    <a:pt x="732" y="3288"/>
                  </a:lnTo>
                  <a:lnTo>
                    <a:pt x="722" y="3315"/>
                  </a:lnTo>
                  <a:lnTo>
                    <a:pt x="711" y="3342"/>
                  </a:lnTo>
                  <a:lnTo>
                    <a:pt x="701" y="3367"/>
                  </a:lnTo>
                  <a:lnTo>
                    <a:pt x="690" y="3392"/>
                  </a:lnTo>
                  <a:lnTo>
                    <a:pt x="679" y="3416"/>
                  </a:lnTo>
                  <a:lnTo>
                    <a:pt x="668" y="3439"/>
                  </a:lnTo>
                  <a:lnTo>
                    <a:pt x="666" y="3444"/>
                  </a:lnTo>
                  <a:lnTo>
                    <a:pt x="663" y="3448"/>
                  </a:lnTo>
                  <a:lnTo>
                    <a:pt x="644" y="3476"/>
                  </a:lnTo>
                  <a:lnTo>
                    <a:pt x="625" y="3502"/>
                  </a:lnTo>
                  <a:lnTo>
                    <a:pt x="605" y="3528"/>
                  </a:lnTo>
                  <a:lnTo>
                    <a:pt x="587" y="3553"/>
                  </a:lnTo>
                  <a:lnTo>
                    <a:pt x="567" y="3577"/>
                  </a:lnTo>
                  <a:lnTo>
                    <a:pt x="549" y="3598"/>
                  </a:lnTo>
                  <a:lnTo>
                    <a:pt x="530" y="3620"/>
                  </a:lnTo>
                  <a:lnTo>
                    <a:pt x="510" y="3641"/>
                  </a:lnTo>
                  <a:lnTo>
                    <a:pt x="472" y="3681"/>
                  </a:lnTo>
                  <a:lnTo>
                    <a:pt x="435" y="3718"/>
                  </a:lnTo>
                  <a:lnTo>
                    <a:pt x="397" y="3754"/>
                  </a:lnTo>
                  <a:lnTo>
                    <a:pt x="359" y="3789"/>
                  </a:lnTo>
                  <a:lnTo>
                    <a:pt x="333" y="3814"/>
                  </a:lnTo>
                  <a:lnTo>
                    <a:pt x="306" y="3838"/>
                  </a:lnTo>
                  <a:lnTo>
                    <a:pt x="280" y="3864"/>
                  </a:lnTo>
                  <a:lnTo>
                    <a:pt x="254" y="3890"/>
                  </a:lnTo>
                  <a:lnTo>
                    <a:pt x="227" y="3917"/>
                  </a:lnTo>
                  <a:lnTo>
                    <a:pt x="201" y="3946"/>
                  </a:lnTo>
                  <a:lnTo>
                    <a:pt x="176" y="3976"/>
                  </a:lnTo>
                  <a:lnTo>
                    <a:pt x="150" y="4007"/>
                  </a:lnTo>
                  <a:lnTo>
                    <a:pt x="144" y="4013"/>
                  </a:lnTo>
                  <a:lnTo>
                    <a:pt x="138" y="4019"/>
                  </a:lnTo>
                  <a:lnTo>
                    <a:pt x="131" y="4024"/>
                  </a:lnTo>
                  <a:lnTo>
                    <a:pt x="124" y="4028"/>
                  </a:lnTo>
                  <a:lnTo>
                    <a:pt x="117" y="4032"/>
                  </a:lnTo>
                  <a:lnTo>
                    <a:pt x="109" y="4034"/>
                  </a:lnTo>
                  <a:lnTo>
                    <a:pt x="100" y="4036"/>
                  </a:lnTo>
                  <a:lnTo>
                    <a:pt x="93" y="4037"/>
                  </a:lnTo>
                  <a:lnTo>
                    <a:pt x="85" y="4038"/>
                  </a:lnTo>
                  <a:lnTo>
                    <a:pt x="77" y="4038"/>
                  </a:lnTo>
                  <a:lnTo>
                    <a:pt x="69" y="4037"/>
                  </a:lnTo>
                  <a:lnTo>
                    <a:pt x="60" y="4035"/>
                  </a:lnTo>
                  <a:lnTo>
                    <a:pt x="53" y="4033"/>
                  </a:lnTo>
                  <a:lnTo>
                    <a:pt x="45" y="4029"/>
                  </a:lnTo>
                  <a:lnTo>
                    <a:pt x="38" y="4025"/>
                  </a:lnTo>
                  <a:lnTo>
                    <a:pt x="30" y="4020"/>
                  </a:lnTo>
                  <a:lnTo>
                    <a:pt x="22" y="4013"/>
                  </a:lnTo>
                  <a:lnTo>
                    <a:pt x="15" y="4003"/>
                  </a:lnTo>
                  <a:lnTo>
                    <a:pt x="10" y="3994"/>
                  </a:lnTo>
                  <a:lnTo>
                    <a:pt x="6" y="3985"/>
                  </a:lnTo>
                  <a:lnTo>
                    <a:pt x="2" y="3975"/>
                  </a:lnTo>
                  <a:lnTo>
                    <a:pt x="1" y="3964"/>
                  </a:lnTo>
                  <a:lnTo>
                    <a:pt x="0" y="3953"/>
                  </a:lnTo>
                  <a:lnTo>
                    <a:pt x="1" y="3943"/>
                  </a:lnTo>
                  <a:close/>
                  <a:moveTo>
                    <a:pt x="273" y="3356"/>
                  </a:moveTo>
                  <a:lnTo>
                    <a:pt x="263" y="3398"/>
                  </a:lnTo>
                  <a:lnTo>
                    <a:pt x="256" y="3442"/>
                  </a:lnTo>
                  <a:lnTo>
                    <a:pt x="248" y="3484"/>
                  </a:lnTo>
                  <a:lnTo>
                    <a:pt x="240" y="3527"/>
                  </a:lnTo>
                  <a:lnTo>
                    <a:pt x="232" y="3569"/>
                  </a:lnTo>
                  <a:lnTo>
                    <a:pt x="224" y="3612"/>
                  </a:lnTo>
                  <a:lnTo>
                    <a:pt x="217" y="3654"/>
                  </a:lnTo>
                  <a:lnTo>
                    <a:pt x="210" y="3696"/>
                  </a:lnTo>
                  <a:lnTo>
                    <a:pt x="245" y="3664"/>
                  </a:lnTo>
                  <a:lnTo>
                    <a:pt x="280" y="3632"/>
                  </a:lnTo>
                  <a:lnTo>
                    <a:pt x="314" y="3599"/>
                  </a:lnTo>
                  <a:lnTo>
                    <a:pt x="349" y="3565"/>
                  </a:lnTo>
                  <a:lnTo>
                    <a:pt x="383" y="3529"/>
                  </a:lnTo>
                  <a:lnTo>
                    <a:pt x="418" y="3491"/>
                  </a:lnTo>
                  <a:lnTo>
                    <a:pt x="452" y="3450"/>
                  </a:lnTo>
                  <a:lnTo>
                    <a:pt x="469" y="3428"/>
                  </a:lnTo>
                  <a:lnTo>
                    <a:pt x="486" y="3406"/>
                  </a:lnTo>
                  <a:lnTo>
                    <a:pt x="503" y="3382"/>
                  </a:lnTo>
                  <a:lnTo>
                    <a:pt x="520" y="3357"/>
                  </a:lnTo>
                  <a:lnTo>
                    <a:pt x="529" y="3339"/>
                  </a:lnTo>
                  <a:lnTo>
                    <a:pt x="538" y="3318"/>
                  </a:lnTo>
                  <a:lnTo>
                    <a:pt x="546" y="3296"/>
                  </a:lnTo>
                  <a:lnTo>
                    <a:pt x="557" y="3273"/>
                  </a:lnTo>
                  <a:lnTo>
                    <a:pt x="566" y="3249"/>
                  </a:lnTo>
                  <a:lnTo>
                    <a:pt x="575" y="3224"/>
                  </a:lnTo>
                  <a:lnTo>
                    <a:pt x="586" y="3198"/>
                  </a:lnTo>
                  <a:lnTo>
                    <a:pt x="595" y="3172"/>
                  </a:lnTo>
                  <a:lnTo>
                    <a:pt x="596" y="3172"/>
                  </a:lnTo>
                  <a:lnTo>
                    <a:pt x="618" y="3113"/>
                  </a:lnTo>
                  <a:lnTo>
                    <a:pt x="640" y="3054"/>
                  </a:lnTo>
                  <a:lnTo>
                    <a:pt x="665" y="2996"/>
                  </a:lnTo>
                  <a:lnTo>
                    <a:pt x="691" y="2941"/>
                  </a:lnTo>
                  <a:lnTo>
                    <a:pt x="703" y="2914"/>
                  </a:lnTo>
                  <a:lnTo>
                    <a:pt x="717" y="2888"/>
                  </a:lnTo>
                  <a:lnTo>
                    <a:pt x="731" y="2863"/>
                  </a:lnTo>
                  <a:lnTo>
                    <a:pt x="745" y="2841"/>
                  </a:lnTo>
                  <a:lnTo>
                    <a:pt x="761" y="2818"/>
                  </a:lnTo>
                  <a:lnTo>
                    <a:pt x="776" y="2797"/>
                  </a:lnTo>
                  <a:lnTo>
                    <a:pt x="793" y="2779"/>
                  </a:lnTo>
                  <a:lnTo>
                    <a:pt x="810" y="2761"/>
                  </a:lnTo>
                  <a:lnTo>
                    <a:pt x="821" y="2664"/>
                  </a:lnTo>
                  <a:lnTo>
                    <a:pt x="835" y="2570"/>
                  </a:lnTo>
                  <a:lnTo>
                    <a:pt x="847" y="2476"/>
                  </a:lnTo>
                  <a:lnTo>
                    <a:pt x="862" y="2383"/>
                  </a:lnTo>
                  <a:lnTo>
                    <a:pt x="876" y="2292"/>
                  </a:lnTo>
                  <a:lnTo>
                    <a:pt x="891" y="2203"/>
                  </a:lnTo>
                  <a:lnTo>
                    <a:pt x="906" y="2114"/>
                  </a:lnTo>
                  <a:lnTo>
                    <a:pt x="922" y="2026"/>
                  </a:lnTo>
                  <a:lnTo>
                    <a:pt x="939" y="1940"/>
                  </a:lnTo>
                  <a:lnTo>
                    <a:pt x="956" y="1855"/>
                  </a:lnTo>
                  <a:lnTo>
                    <a:pt x="975" y="1771"/>
                  </a:lnTo>
                  <a:lnTo>
                    <a:pt x="995" y="1686"/>
                  </a:lnTo>
                  <a:lnTo>
                    <a:pt x="1014" y="1604"/>
                  </a:lnTo>
                  <a:lnTo>
                    <a:pt x="1035" y="1521"/>
                  </a:lnTo>
                  <a:lnTo>
                    <a:pt x="1056" y="1440"/>
                  </a:lnTo>
                  <a:lnTo>
                    <a:pt x="1078" y="1358"/>
                  </a:lnTo>
                  <a:lnTo>
                    <a:pt x="1092" y="1310"/>
                  </a:lnTo>
                  <a:lnTo>
                    <a:pt x="1106" y="1261"/>
                  </a:lnTo>
                  <a:lnTo>
                    <a:pt x="1120" y="1213"/>
                  </a:lnTo>
                  <a:lnTo>
                    <a:pt x="1136" y="1164"/>
                  </a:lnTo>
                  <a:lnTo>
                    <a:pt x="1150" y="1117"/>
                  </a:lnTo>
                  <a:lnTo>
                    <a:pt x="1166" y="1069"/>
                  </a:lnTo>
                  <a:lnTo>
                    <a:pt x="1181" y="1021"/>
                  </a:lnTo>
                  <a:lnTo>
                    <a:pt x="1197" y="973"/>
                  </a:lnTo>
                  <a:lnTo>
                    <a:pt x="1214" y="925"/>
                  </a:lnTo>
                  <a:lnTo>
                    <a:pt x="1230" y="877"/>
                  </a:lnTo>
                  <a:lnTo>
                    <a:pt x="1248" y="829"/>
                  </a:lnTo>
                  <a:lnTo>
                    <a:pt x="1265" y="781"/>
                  </a:lnTo>
                  <a:lnTo>
                    <a:pt x="1283" y="734"/>
                  </a:lnTo>
                  <a:lnTo>
                    <a:pt x="1301" y="686"/>
                  </a:lnTo>
                  <a:lnTo>
                    <a:pt x="1320" y="638"/>
                  </a:lnTo>
                  <a:lnTo>
                    <a:pt x="1339" y="589"/>
                  </a:lnTo>
                  <a:lnTo>
                    <a:pt x="1299" y="646"/>
                  </a:lnTo>
                  <a:lnTo>
                    <a:pt x="1260" y="704"/>
                  </a:lnTo>
                  <a:lnTo>
                    <a:pt x="1223" y="762"/>
                  </a:lnTo>
                  <a:lnTo>
                    <a:pt x="1185" y="821"/>
                  </a:lnTo>
                  <a:lnTo>
                    <a:pt x="1149" y="881"/>
                  </a:lnTo>
                  <a:lnTo>
                    <a:pt x="1113" y="942"/>
                  </a:lnTo>
                  <a:lnTo>
                    <a:pt x="1078" y="1004"/>
                  </a:lnTo>
                  <a:lnTo>
                    <a:pt x="1043" y="1067"/>
                  </a:lnTo>
                  <a:lnTo>
                    <a:pt x="1009" y="1130"/>
                  </a:lnTo>
                  <a:lnTo>
                    <a:pt x="976" y="1194"/>
                  </a:lnTo>
                  <a:lnTo>
                    <a:pt x="944" y="1259"/>
                  </a:lnTo>
                  <a:lnTo>
                    <a:pt x="912" y="1325"/>
                  </a:lnTo>
                  <a:lnTo>
                    <a:pt x="881" y="1391"/>
                  </a:lnTo>
                  <a:lnTo>
                    <a:pt x="850" y="1458"/>
                  </a:lnTo>
                  <a:lnTo>
                    <a:pt x="820" y="1526"/>
                  </a:lnTo>
                  <a:lnTo>
                    <a:pt x="792" y="1594"/>
                  </a:lnTo>
                  <a:lnTo>
                    <a:pt x="763" y="1663"/>
                  </a:lnTo>
                  <a:lnTo>
                    <a:pt x="735" y="1732"/>
                  </a:lnTo>
                  <a:lnTo>
                    <a:pt x="707" y="1803"/>
                  </a:lnTo>
                  <a:lnTo>
                    <a:pt x="681" y="1873"/>
                  </a:lnTo>
                  <a:lnTo>
                    <a:pt x="655" y="1945"/>
                  </a:lnTo>
                  <a:lnTo>
                    <a:pt x="630" y="2016"/>
                  </a:lnTo>
                  <a:lnTo>
                    <a:pt x="605" y="2088"/>
                  </a:lnTo>
                  <a:lnTo>
                    <a:pt x="580" y="2160"/>
                  </a:lnTo>
                  <a:lnTo>
                    <a:pt x="557" y="2233"/>
                  </a:lnTo>
                  <a:lnTo>
                    <a:pt x="534" y="2307"/>
                  </a:lnTo>
                  <a:lnTo>
                    <a:pt x="511" y="2380"/>
                  </a:lnTo>
                  <a:lnTo>
                    <a:pt x="490" y="2454"/>
                  </a:lnTo>
                  <a:lnTo>
                    <a:pt x="468" y="2528"/>
                  </a:lnTo>
                  <a:lnTo>
                    <a:pt x="448" y="2603"/>
                  </a:lnTo>
                  <a:lnTo>
                    <a:pt x="428" y="2678"/>
                  </a:lnTo>
                  <a:lnTo>
                    <a:pt x="408" y="2753"/>
                  </a:lnTo>
                  <a:lnTo>
                    <a:pt x="389" y="2828"/>
                  </a:lnTo>
                  <a:lnTo>
                    <a:pt x="371" y="2904"/>
                  </a:lnTo>
                  <a:lnTo>
                    <a:pt x="353" y="2979"/>
                  </a:lnTo>
                  <a:lnTo>
                    <a:pt x="335" y="3054"/>
                  </a:lnTo>
                  <a:lnTo>
                    <a:pt x="319" y="3129"/>
                  </a:lnTo>
                  <a:lnTo>
                    <a:pt x="302" y="3206"/>
                  </a:lnTo>
                  <a:lnTo>
                    <a:pt x="287" y="3281"/>
                  </a:lnTo>
                  <a:lnTo>
                    <a:pt x="273" y="33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1" name="Freeform 97"/>
            <p:cNvSpPr>
              <a:spLocks noChangeArrowheads="1"/>
            </p:cNvSpPr>
            <p:nvPr/>
          </p:nvSpPr>
          <p:spPr bwMode="auto">
            <a:xfrm>
              <a:off x="1090613" y="4143325"/>
              <a:ext cx="704850" cy="2138408"/>
            </a:xfrm>
            <a:custGeom>
              <a:avLst/>
              <a:gdLst>
                <a:gd name="T0" fmla="*/ 21 w 1569"/>
                <a:gd name="T1" fmla="*/ 3733 h 3868"/>
                <a:gd name="T2" fmla="*/ 66 w 1569"/>
                <a:gd name="T3" fmla="*/ 3460 h 3868"/>
                <a:gd name="T4" fmla="*/ 118 w 1569"/>
                <a:gd name="T5" fmla="*/ 3188 h 3868"/>
                <a:gd name="T6" fmla="*/ 177 w 1569"/>
                <a:gd name="T7" fmla="*/ 2915 h 3868"/>
                <a:gd name="T8" fmla="*/ 243 w 1569"/>
                <a:gd name="T9" fmla="*/ 2644 h 3868"/>
                <a:gd name="T10" fmla="*/ 315 w 1569"/>
                <a:gd name="T11" fmla="*/ 2377 h 3868"/>
                <a:gd name="T12" fmla="*/ 396 w 1569"/>
                <a:gd name="T13" fmla="*/ 2113 h 3868"/>
                <a:gd name="T14" fmla="*/ 483 w 1569"/>
                <a:gd name="T15" fmla="*/ 1855 h 3868"/>
                <a:gd name="T16" fmla="*/ 579 w 1569"/>
                <a:gd name="T17" fmla="*/ 1601 h 3868"/>
                <a:gd name="T18" fmla="*/ 682 w 1569"/>
                <a:gd name="T19" fmla="*/ 1355 h 3868"/>
                <a:gd name="T20" fmla="*/ 794 w 1569"/>
                <a:gd name="T21" fmla="*/ 1118 h 3868"/>
                <a:gd name="T22" fmla="*/ 914 w 1569"/>
                <a:gd name="T23" fmla="*/ 889 h 3868"/>
                <a:gd name="T24" fmla="*/ 1043 w 1569"/>
                <a:gd name="T25" fmla="*/ 670 h 3868"/>
                <a:gd name="T26" fmla="*/ 1181 w 1569"/>
                <a:gd name="T27" fmla="*/ 462 h 3868"/>
                <a:gd name="T28" fmla="*/ 1329 w 1569"/>
                <a:gd name="T29" fmla="*/ 267 h 3868"/>
                <a:gd name="T30" fmla="*/ 1486 w 1569"/>
                <a:gd name="T31" fmla="*/ 86 h 3868"/>
                <a:gd name="T32" fmla="*/ 1529 w 1569"/>
                <a:gd name="T33" fmla="*/ 83 h 3868"/>
                <a:gd name="T34" fmla="*/ 1454 w 1569"/>
                <a:gd name="T35" fmla="*/ 248 h 3868"/>
                <a:gd name="T36" fmla="*/ 1384 w 1569"/>
                <a:gd name="T37" fmla="*/ 410 h 3868"/>
                <a:gd name="T38" fmla="*/ 1319 w 1569"/>
                <a:gd name="T39" fmla="*/ 572 h 3868"/>
                <a:gd name="T40" fmla="*/ 1258 w 1569"/>
                <a:gd name="T41" fmla="*/ 732 h 3868"/>
                <a:gd name="T42" fmla="*/ 1201 w 1569"/>
                <a:gd name="T43" fmla="*/ 893 h 3868"/>
                <a:gd name="T44" fmla="*/ 1148 w 1569"/>
                <a:gd name="T45" fmla="*/ 1054 h 3868"/>
                <a:gd name="T46" fmla="*/ 1099 w 1569"/>
                <a:gd name="T47" fmla="*/ 1215 h 3868"/>
                <a:gd name="T48" fmla="*/ 1053 w 1569"/>
                <a:gd name="T49" fmla="*/ 1378 h 3868"/>
                <a:gd name="T50" fmla="*/ 1010 w 1569"/>
                <a:gd name="T51" fmla="*/ 1544 h 3868"/>
                <a:gd name="T52" fmla="*/ 971 w 1569"/>
                <a:gd name="T53" fmla="*/ 1712 h 3868"/>
                <a:gd name="T54" fmla="*/ 935 w 1569"/>
                <a:gd name="T55" fmla="*/ 1885 h 3868"/>
                <a:gd name="T56" fmla="*/ 902 w 1569"/>
                <a:gd name="T57" fmla="*/ 2061 h 3868"/>
                <a:gd name="T58" fmla="*/ 871 w 1569"/>
                <a:gd name="T59" fmla="*/ 2242 h 3868"/>
                <a:gd name="T60" fmla="*/ 844 w 1569"/>
                <a:gd name="T61" fmla="*/ 2429 h 3868"/>
                <a:gd name="T62" fmla="*/ 818 w 1569"/>
                <a:gd name="T63" fmla="*/ 2622 h 3868"/>
                <a:gd name="T64" fmla="*/ 794 w 1569"/>
                <a:gd name="T65" fmla="*/ 2729 h 3868"/>
                <a:gd name="T66" fmla="*/ 770 w 1569"/>
                <a:gd name="T67" fmla="*/ 2750 h 3868"/>
                <a:gd name="T68" fmla="*/ 749 w 1569"/>
                <a:gd name="T69" fmla="*/ 2777 h 3868"/>
                <a:gd name="T70" fmla="*/ 727 w 1569"/>
                <a:gd name="T71" fmla="*/ 2808 h 3868"/>
                <a:gd name="T72" fmla="*/ 697 w 1569"/>
                <a:gd name="T73" fmla="*/ 2862 h 3868"/>
                <a:gd name="T74" fmla="*/ 659 w 1569"/>
                <a:gd name="T75" fmla="*/ 2943 h 3868"/>
                <a:gd name="T76" fmla="*/ 607 w 1569"/>
                <a:gd name="T77" fmla="*/ 3075 h 3868"/>
                <a:gd name="T78" fmla="*/ 556 w 1569"/>
                <a:gd name="T79" fmla="*/ 3205 h 3868"/>
                <a:gd name="T80" fmla="*/ 524 w 1569"/>
                <a:gd name="T81" fmla="*/ 3281 h 3868"/>
                <a:gd name="T82" fmla="*/ 493 w 1569"/>
                <a:gd name="T83" fmla="*/ 3339 h 3868"/>
                <a:gd name="T84" fmla="*/ 461 w 1569"/>
                <a:gd name="T85" fmla="*/ 3383 h 3868"/>
                <a:gd name="T86" fmla="*/ 413 w 1569"/>
                <a:gd name="T87" fmla="*/ 3443 h 3868"/>
                <a:gd name="T88" fmla="*/ 350 w 1569"/>
                <a:gd name="T89" fmla="*/ 3514 h 3868"/>
                <a:gd name="T90" fmla="*/ 286 w 1569"/>
                <a:gd name="T91" fmla="*/ 3577 h 3868"/>
                <a:gd name="T92" fmla="*/ 191 w 1569"/>
                <a:gd name="T93" fmla="*/ 3667 h 3868"/>
                <a:gd name="T94" fmla="*/ 96 w 1569"/>
                <a:gd name="T95" fmla="*/ 3760 h 3868"/>
                <a:gd name="T96" fmla="*/ 32 w 1569"/>
                <a:gd name="T97" fmla="*/ 3830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69" h="3868">
                  <a:moveTo>
                    <a:pt x="0" y="3868"/>
                  </a:moveTo>
                  <a:lnTo>
                    <a:pt x="21" y="3733"/>
                  </a:lnTo>
                  <a:lnTo>
                    <a:pt x="42" y="3597"/>
                  </a:lnTo>
                  <a:lnTo>
                    <a:pt x="66" y="3460"/>
                  </a:lnTo>
                  <a:lnTo>
                    <a:pt x="92" y="3324"/>
                  </a:lnTo>
                  <a:lnTo>
                    <a:pt x="118" y="3188"/>
                  </a:lnTo>
                  <a:lnTo>
                    <a:pt x="147" y="3051"/>
                  </a:lnTo>
                  <a:lnTo>
                    <a:pt x="177" y="2915"/>
                  </a:lnTo>
                  <a:lnTo>
                    <a:pt x="209" y="2779"/>
                  </a:lnTo>
                  <a:lnTo>
                    <a:pt x="243" y="2644"/>
                  </a:lnTo>
                  <a:lnTo>
                    <a:pt x="278" y="2510"/>
                  </a:lnTo>
                  <a:lnTo>
                    <a:pt x="315" y="2377"/>
                  </a:lnTo>
                  <a:lnTo>
                    <a:pt x="354" y="2244"/>
                  </a:lnTo>
                  <a:lnTo>
                    <a:pt x="396" y="2113"/>
                  </a:lnTo>
                  <a:lnTo>
                    <a:pt x="439" y="1982"/>
                  </a:lnTo>
                  <a:lnTo>
                    <a:pt x="483" y="1855"/>
                  </a:lnTo>
                  <a:lnTo>
                    <a:pt x="529" y="1727"/>
                  </a:lnTo>
                  <a:lnTo>
                    <a:pt x="579" y="1601"/>
                  </a:lnTo>
                  <a:lnTo>
                    <a:pt x="629" y="1477"/>
                  </a:lnTo>
                  <a:lnTo>
                    <a:pt x="682" y="1355"/>
                  </a:lnTo>
                  <a:lnTo>
                    <a:pt x="736" y="1235"/>
                  </a:lnTo>
                  <a:lnTo>
                    <a:pt x="794" y="1118"/>
                  </a:lnTo>
                  <a:lnTo>
                    <a:pt x="853" y="1001"/>
                  </a:lnTo>
                  <a:lnTo>
                    <a:pt x="914" y="889"/>
                  </a:lnTo>
                  <a:lnTo>
                    <a:pt x="977" y="777"/>
                  </a:lnTo>
                  <a:lnTo>
                    <a:pt x="1043" y="670"/>
                  </a:lnTo>
                  <a:lnTo>
                    <a:pt x="1111" y="564"/>
                  </a:lnTo>
                  <a:lnTo>
                    <a:pt x="1181" y="462"/>
                  </a:lnTo>
                  <a:lnTo>
                    <a:pt x="1254" y="363"/>
                  </a:lnTo>
                  <a:lnTo>
                    <a:pt x="1329" y="267"/>
                  </a:lnTo>
                  <a:lnTo>
                    <a:pt x="1406" y="174"/>
                  </a:lnTo>
                  <a:lnTo>
                    <a:pt x="1486" y="86"/>
                  </a:lnTo>
                  <a:lnTo>
                    <a:pt x="1569" y="0"/>
                  </a:lnTo>
                  <a:lnTo>
                    <a:pt x="1529" y="83"/>
                  </a:lnTo>
                  <a:lnTo>
                    <a:pt x="1491" y="166"/>
                  </a:lnTo>
                  <a:lnTo>
                    <a:pt x="1454" y="248"/>
                  </a:lnTo>
                  <a:lnTo>
                    <a:pt x="1418" y="329"/>
                  </a:lnTo>
                  <a:lnTo>
                    <a:pt x="1384" y="410"/>
                  </a:lnTo>
                  <a:lnTo>
                    <a:pt x="1351" y="491"/>
                  </a:lnTo>
                  <a:lnTo>
                    <a:pt x="1319" y="572"/>
                  </a:lnTo>
                  <a:lnTo>
                    <a:pt x="1289" y="652"/>
                  </a:lnTo>
                  <a:lnTo>
                    <a:pt x="1258" y="732"/>
                  </a:lnTo>
                  <a:lnTo>
                    <a:pt x="1229" y="812"/>
                  </a:lnTo>
                  <a:lnTo>
                    <a:pt x="1201" y="893"/>
                  </a:lnTo>
                  <a:lnTo>
                    <a:pt x="1174" y="973"/>
                  </a:lnTo>
                  <a:lnTo>
                    <a:pt x="1148" y="1054"/>
                  </a:lnTo>
                  <a:lnTo>
                    <a:pt x="1123" y="1134"/>
                  </a:lnTo>
                  <a:lnTo>
                    <a:pt x="1099" y="1215"/>
                  </a:lnTo>
                  <a:lnTo>
                    <a:pt x="1075" y="1296"/>
                  </a:lnTo>
                  <a:lnTo>
                    <a:pt x="1053" y="1378"/>
                  </a:lnTo>
                  <a:lnTo>
                    <a:pt x="1031" y="1461"/>
                  </a:lnTo>
                  <a:lnTo>
                    <a:pt x="1010" y="1544"/>
                  </a:lnTo>
                  <a:lnTo>
                    <a:pt x="991" y="1628"/>
                  </a:lnTo>
                  <a:lnTo>
                    <a:pt x="971" y="1712"/>
                  </a:lnTo>
                  <a:lnTo>
                    <a:pt x="953" y="1798"/>
                  </a:lnTo>
                  <a:lnTo>
                    <a:pt x="935" y="1885"/>
                  </a:lnTo>
                  <a:lnTo>
                    <a:pt x="919" y="1972"/>
                  </a:lnTo>
                  <a:lnTo>
                    <a:pt x="902" y="2061"/>
                  </a:lnTo>
                  <a:lnTo>
                    <a:pt x="887" y="2152"/>
                  </a:lnTo>
                  <a:lnTo>
                    <a:pt x="871" y="2242"/>
                  </a:lnTo>
                  <a:lnTo>
                    <a:pt x="857" y="2335"/>
                  </a:lnTo>
                  <a:lnTo>
                    <a:pt x="844" y="2429"/>
                  </a:lnTo>
                  <a:lnTo>
                    <a:pt x="830" y="2525"/>
                  </a:lnTo>
                  <a:lnTo>
                    <a:pt x="818" y="2622"/>
                  </a:lnTo>
                  <a:lnTo>
                    <a:pt x="805" y="2721"/>
                  </a:lnTo>
                  <a:lnTo>
                    <a:pt x="794" y="2729"/>
                  </a:lnTo>
                  <a:lnTo>
                    <a:pt x="782" y="2739"/>
                  </a:lnTo>
                  <a:lnTo>
                    <a:pt x="770" y="2750"/>
                  </a:lnTo>
                  <a:lnTo>
                    <a:pt x="760" y="2764"/>
                  </a:lnTo>
                  <a:lnTo>
                    <a:pt x="749" y="2777"/>
                  </a:lnTo>
                  <a:lnTo>
                    <a:pt x="737" y="2793"/>
                  </a:lnTo>
                  <a:lnTo>
                    <a:pt x="727" y="2808"/>
                  </a:lnTo>
                  <a:lnTo>
                    <a:pt x="717" y="2826"/>
                  </a:lnTo>
                  <a:lnTo>
                    <a:pt x="697" y="2862"/>
                  </a:lnTo>
                  <a:lnTo>
                    <a:pt x="678" y="2901"/>
                  </a:lnTo>
                  <a:lnTo>
                    <a:pt x="659" y="2943"/>
                  </a:lnTo>
                  <a:lnTo>
                    <a:pt x="642" y="2987"/>
                  </a:lnTo>
                  <a:lnTo>
                    <a:pt x="607" y="3075"/>
                  </a:lnTo>
                  <a:lnTo>
                    <a:pt x="573" y="3163"/>
                  </a:lnTo>
                  <a:lnTo>
                    <a:pt x="556" y="3205"/>
                  </a:lnTo>
                  <a:lnTo>
                    <a:pt x="541" y="3244"/>
                  </a:lnTo>
                  <a:lnTo>
                    <a:pt x="524" y="3281"/>
                  </a:lnTo>
                  <a:lnTo>
                    <a:pt x="509" y="3315"/>
                  </a:lnTo>
                  <a:lnTo>
                    <a:pt x="493" y="3339"/>
                  </a:lnTo>
                  <a:lnTo>
                    <a:pt x="477" y="3362"/>
                  </a:lnTo>
                  <a:lnTo>
                    <a:pt x="461" y="3383"/>
                  </a:lnTo>
                  <a:lnTo>
                    <a:pt x="445" y="3404"/>
                  </a:lnTo>
                  <a:lnTo>
                    <a:pt x="413" y="3443"/>
                  </a:lnTo>
                  <a:lnTo>
                    <a:pt x="381" y="3479"/>
                  </a:lnTo>
                  <a:lnTo>
                    <a:pt x="350" y="3514"/>
                  </a:lnTo>
                  <a:lnTo>
                    <a:pt x="318" y="3546"/>
                  </a:lnTo>
                  <a:lnTo>
                    <a:pt x="286" y="3577"/>
                  </a:lnTo>
                  <a:lnTo>
                    <a:pt x="254" y="3608"/>
                  </a:lnTo>
                  <a:lnTo>
                    <a:pt x="191" y="3667"/>
                  </a:lnTo>
                  <a:lnTo>
                    <a:pt x="128" y="3728"/>
                  </a:lnTo>
                  <a:lnTo>
                    <a:pt x="96" y="3760"/>
                  </a:lnTo>
                  <a:lnTo>
                    <a:pt x="64" y="3794"/>
                  </a:lnTo>
                  <a:lnTo>
                    <a:pt x="32" y="3830"/>
                  </a:lnTo>
                  <a:lnTo>
                    <a:pt x="0" y="38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2" name="Freeform 98"/>
            <p:cNvSpPr>
              <a:spLocks noChangeArrowheads="1"/>
            </p:cNvSpPr>
            <p:nvPr/>
          </p:nvSpPr>
          <p:spPr bwMode="auto">
            <a:xfrm>
              <a:off x="923925" y="4703724"/>
              <a:ext cx="409575" cy="1676436"/>
            </a:xfrm>
            <a:custGeom>
              <a:avLst/>
              <a:gdLst>
                <a:gd name="T0" fmla="*/ 81 w 907"/>
                <a:gd name="T1" fmla="*/ 2822 h 3018"/>
                <a:gd name="T2" fmla="*/ 34 w 907"/>
                <a:gd name="T3" fmla="*/ 2511 h 3018"/>
                <a:gd name="T4" fmla="*/ 8 w 907"/>
                <a:gd name="T5" fmla="*/ 2184 h 3018"/>
                <a:gd name="T6" fmla="*/ 0 w 907"/>
                <a:gd name="T7" fmla="*/ 1851 h 3018"/>
                <a:gd name="T8" fmla="*/ 8 w 907"/>
                <a:gd name="T9" fmla="*/ 1521 h 3018"/>
                <a:gd name="T10" fmla="*/ 30 w 907"/>
                <a:gd name="T11" fmla="*/ 1202 h 3018"/>
                <a:gd name="T12" fmla="*/ 64 w 907"/>
                <a:gd name="T13" fmla="*/ 900 h 3018"/>
                <a:gd name="T14" fmla="*/ 105 w 907"/>
                <a:gd name="T15" fmla="*/ 626 h 3018"/>
                <a:gd name="T16" fmla="*/ 152 w 907"/>
                <a:gd name="T17" fmla="*/ 387 h 3018"/>
                <a:gd name="T18" fmla="*/ 204 w 907"/>
                <a:gd name="T19" fmla="*/ 192 h 3018"/>
                <a:gd name="T20" fmla="*/ 258 w 907"/>
                <a:gd name="T21" fmla="*/ 49 h 3018"/>
                <a:gd name="T22" fmla="*/ 271 w 907"/>
                <a:gd name="T23" fmla="*/ 28 h 3018"/>
                <a:gd name="T24" fmla="*/ 290 w 907"/>
                <a:gd name="T25" fmla="*/ 12 h 3018"/>
                <a:gd name="T26" fmla="*/ 313 w 907"/>
                <a:gd name="T27" fmla="*/ 3 h 3018"/>
                <a:gd name="T28" fmla="*/ 338 w 907"/>
                <a:gd name="T29" fmla="*/ 0 h 3018"/>
                <a:gd name="T30" fmla="*/ 363 w 907"/>
                <a:gd name="T31" fmla="*/ 4 h 3018"/>
                <a:gd name="T32" fmla="*/ 391 w 907"/>
                <a:gd name="T33" fmla="*/ 21 h 3018"/>
                <a:gd name="T34" fmla="*/ 413 w 907"/>
                <a:gd name="T35" fmla="*/ 50 h 3018"/>
                <a:gd name="T36" fmla="*/ 420 w 907"/>
                <a:gd name="T37" fmla="*/ 85 h 3018"/>
                <a:gd name="T38" fmla="*/ 420 w 907"/>
                <a:gd name="T39" fmla="*/ 86 h 3018"/>
                <a:gd name="T40" fmla="*/ 421 w 907"/>
                <a:gd name="T41" fmla="*/ 179 h 3018"/>
                <a:gd name="T42" fmla="*/ 429 w 907"/>
                <a:gd name="T43" fmla="*/ 312 h 3018"/>
                <a:gd name="T44" fmla="*/ 442 w 907"/>
                <a:gd name="T45" fmla="*/ 448 h 3018"/>
                <a:gd name="T46" fmla="*/ 480 w 907"/>
                <a:gd name="T47" fmla="*/ 730 h 3018"/>
                <a:gd name="T48" fmla="*/ 533 w 907"/>
                <a:gd name="T49" fmla="*/ 1019 h 3018"/>
                <a:gd name="T50" fmla="*/ 594 w 907"/>
                <a:gd name="T51" fmla="*/ 1314 h 3018"/>
                <a:gd name="T52" fmla="*/ 662 w 907"/>
                <a:gd name="T53" fmla="*/ 1613 h 3018"/>
                <a:gd name="T54" fmla="*/ 722 w 907"/>
                <a:gd name="T55" fmla="*/ 1881 h 3018"/>
                <a:gd name="T56" fmla="*/ 780 w 907"/>
                <a:gd name="T57" fmla="*/ 2149 h 3018"/>
                <a:gd name="T58" fmla="*/ 830 w 907"/>
                <a:gd name="T59" fmla="*/ 2414 h 3018"/>
                <a:gd name="T60" fmla="*/ 872 w 907"/>
                <a:gd name="T61" fmla="*/ 2677 h 3018"/>
                <a:gd name="T62" fmla="*/ 901 w 907"/>
                <a:gd name="T63" fmla="*/ 2933 h 3018"/>
                <a:gd name="T64" fmla="*/ 730 w 907"/>
                <a:gd name="T65" fmla="*/ 2937 h 3018"/>
                <a:gd name="T66" fmla="*/ 701 w 907"/>
                <a:gd name="T67" fmla="*/ 2687 h 3018"/>
                <a:gd name="T68" fmla="*/ 660 w 907"/>
                <a:gd name="T69" fmla="*/ 2432 h 3018"/>
                <a:gd name="T70" fmla="*/ 610 w 907"/>
                <a:gd name="T71" fmla="*/ 2174 h 3018"/>
                <a:gd name="T72" fmla="*/ 554 w 907"/>
                <a:gd name="T73" fmla="*/ 1913 h 3018"/>
                <a:gd name="T74" fmla="*/ 495 w 907"/>
                <a:gd name="T75" fmla="*/ 1651 h 3018"/>
                <a:gd name="T76" fmla="*/ 449 w 907"/>
                <a:gd name="T77" fmla="*/ 1446 h 3018"/>
                <a:gd name="T78" fmla="*/ 405 w 907"/>
                <a:gd name="T79" fmla="*/ 1242 h 3018"/>
                <a:gd name="T80" fmla="*/ 363 w 907"/>
                <a:gd name="T81" fmla="*/ 1039 h 3018"/>
                <a:gd name="T82" fmla="*/ 326 w 907"/>
                <a:gd name="T83" fmla="*/ 839 h 3018"/>
                <a:gd name="T84" fmla="*/ 295 w 907"/>
                <a:gd name="T85" fmla="*/ 642 h 3018"/>
                <a:gd name="T86" fmla="*/ 264 w 907"/>
                <a:gd name="T87" fmla="*/ 700 h 3018"/>
                <a:gd name="T88" fmla="*/ 233 w 907"/>
                <a:gd name="T89" fmla="*/ 899 h 3018"/>
                <a:gd name="T90" fmla="*/ 208 w 907"/>
                <a:gd name="T91" fmla="*/ 1112 h 3018"/>
                <a:gd name="T92" fmla="*/ 187 w 907"/>
                <a:gd name="T93" fmla="*/ 1339 h 3018"/>
                <a:gd name="T94" fmla="*/ 174 w 907"/>
                <a:gd name="T95" fmla="*/ 1575 h 3018"/>
                <a:gd name="T96" fmla="*/ 169 w 907"/>
                <a:gd name="T97" fmla="*/ 1815 h 3018"/>
                <a:gd name="T98" fmla="*/ 172 w 907"/>
                <a:gd name="T99" fmla="*/ 2057 h 3018"/>
                <a:gd name="T100" fmla="*/ 184 w 907"/>
                <a:gd name="T101" fmla="*/ 2298 h 3018"/>
                <a:gd name="T102" fmla="*/ 208 w 907"/>
                <a:gd name="T103" fmla="*/ 2534 h 3018"/>
                <a:gd name="T104" fmla="*/ 244 w 907"/>
                <a:gd name="T105" fmla="*/ 2761 h 3018"/>
                <a:gd name="T106" fmla="*/ 292 w 907"/>
                <a:gd name="T107" fmla="*/ 2976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7" h="3018">
                  <a:moveTo>
                    <a:pt x="127" y="3018"/>
                  </a:moveTo>
                  <a:lnTo>
                    <a:pt x="103" y="2922"/>
                  </a:lnTo>
                  <a:lnTo>
                    <a:pt x="81" y="2822"/>
                  </a:lnTo>
                  <a:lnTo>
                    <a:pt x="64" y="2720"/>
                  </a:lnTo>
                  <a:lnTo>
                    <a:pt x="47" y="2616"/>
                  </a:lnTo>
                  <a:lnTo>
                    <a:pt x="34" y="2511"/>
                  </a:lnTo>
                  <a:lnTo>
                    <a:pt x="24" y="2403"/>
                  </a:lnTo>
                  <a:lnTo>
                    <a:pt x="14" y="2294"/>
                  </a:lnTo>
                  <a:lnTo>
                    <a:pt x="8" y="2184"/>
                  </a:lnTo>
                  <a:lnTo>
                    <a:pt x="3" y="2074"/>
                  </a:lnTo>
                  <a:lnTo>
                    <a:pt x="1" y="1962"/>
                  </a:lnTo>
                  <a:lnTo>
                    <a:pt x="0" y="1851"/>
                  </a:lnTo>
                  <a:lnTo>
                    <a:pt x="1" y="1741"/>
                  </a:lnTo>
                  <a:lnTo>
                    <a:pt x="4" y="1630"/>
                  </a:lnTo>
                  <a:lnTo>
                    <a:pt x="8" y="1521"/>
                  </a:lnTo>
                  <a:lnTo>
                    <a:pt x="14" y="1413"/>
                  </a:lnTo>
                  <a:lnTo>
                    <a:pt x="22" y="1306"/>
                  </a:lnTo>
                  <a:lnTo>
                    <a:pt x="30" y="1202"/>
                  </a:lnTo>
                  <a:lnTo>
                    <a:pt x="40" y="1099"/>
                  </a:lnTo>
                  <a:lnTo>
                    <a:pt x="52" y="998"/>
                  </a:lnTo>
                  <a:lnTo>
                    <a:pt x="64" y="900"/>
                  </a:lnTo>
                  <a:lnTo>
                    <a:pt x="76" y="806"/>
                  </a:lnTo>
                  <a:lnTo>
                    <a:pt x="91" y="714"/>
                  </a:lnTo>
                  <a:lnTo>
                    <a:pt x="105" y="626"/>
                  </a:lnTo>
                  <a:lnTo>
                    <a:pt x="121" y="542"/>
                  </a:lnTo>
                  <a:lnTo>
                    <a:pt x="136" y="463"/>
                  </a:lnTo>
                  <a:lnTo>
                    <a:pt x="152" y="387"/>
                  </a:lnTo>
                  <a:lnTo>
                    <a:pt x="170" y="317"/>
                  </a:lnTo>
                  <a:lnTo>
                    <a:pt x="187" y="252"/>
                  </a:lnTo>
                  <a:lnTo>
                    <a:pt x="204" y="192"/>
                  </a:lnTo>
                  <a:lnTo>
                    <a:pt x="223" y="139"/>
                  </a:lnTo>
                  <a:lnTo>
                    <a:pt x="240" y="90"/>
                  </a:lnTo>
                  <a:lnTo>
                    <a:pt x="258" y="49"/>
                  </a:lnTo>
                  <a:lnTo>
                    <a:pt x="262" y="42"/>
                  </a:lnTo>
                  <a:lnTo>
                    <a:pt x="266" y="35"/>
                  </a:lnTo>
                  <a:lnTo>
                    <a:pt x="271" y="28"/>
                  </a:lnTo>
                  <a:lnTo>
                    <a:pt x="277" y="21"/>
                  </a:lnTo>
                  <a:lnTo>
                    <a:pt x="283" y="16"/>
                  </a:lnTo>
                  <a:lnTo>
                    <a:pt x="290" y="12"/>
                  </a:lnTo>
                  <a:lnTo>
                    <a:pt x="298" y="8"/>
                  </a:lnTo>
                  <a:lnTo>
                    <a:pt x="305" y="5"/>
                  </a:lnTo>
                  <a:lnTo>
                    <a:pt x="313" y="3"/>
                  </a:lnTo>
                  <a:lnTo>
                    <a:pt x="321" y="1"/>
                  </a:lnTo>
                  <a:lnTo>
                    <a:pt x="330" y="0"/>
                  </a:lnTo>
                  <a:lnTo>
                    <a:pt x="338" y="0"/>
                  </a:lnTo>
                  <a:lnTo>
                    <a:pt x="346" y="0"/>
                  </a:lnTo>
                  <a:lnTo>
                    <a:pt x="354" y="2"/>
                  </a:lnTo>
                  <a:lnTo>
                    <a:pt x="363" y="4"/>
                  </a:lnTo>
                  <a:lnTo>
                    <a:pt x="371" y="7"/>
                  </a:lnTo>
                  <a:lnTo>
                    <a:pt x="382" y="13"/>
                  </a:lnTo>
                  <a:lnTo>
                    <a:pt x="391" y="21"/>
                  </a:lnTo>
                  <a:lnTo>
                    <a:pt x="400" y="30"/>
                  </a:lnTo>
                  <a:lnTo>
                    <a:pt x="407" y="40"/>
                  </a:lnTo>
                  <a:lnTo>
                    <a:pt x="413" y="50"/>
                  </a:lnTo>
                  <a:lnTo>
                    <a:pt x="417" y="62"/>
                  </a:lnTo>
                  <a:lnTo>
                    <a:pt x="419" y="73"/>
                  </a:lnTo>
                  <a:lnTo>
                    <a:pt x="420" y="85"/>
                  </a:lnTo>
                  <a:lnTo>
                    <a:pt x="420" y="86"/>
                  </a:lnTo>
                  <a:lnTo>
                    <a:pt x="420" y="92"/>
                  </a:lnTo>
                  <a:lnTo>
                    <a:pt x="420" y="136"/>
                  </a:lnTo>
                  <a:lnTo>
                    <a:pt x="421" y="179"/>
                  </a:lnTo>
                  <a:lnTo>
                    <a:pt x="423" y="223"/>
                  </a:lnTo>
                  <a:lnTo>
                    <a:pt x="426" y="268"/>
                  </a:lnTo>
                  <a:lnTo>
                    <a:pt x="429" y="312"/>
                  </a:lnTo>
                  <a:lnTo>
                    <a:pt x="433" y="357"/>
                  </a:lnTo>
                  <a:lnTo>
                    <a:pt x="437" y="403"/>
                  </a:lnTo>
                  <a:lnTo>
                    <a:pt x="442" y="448"/>
                  </a:lnTo>
                  <a:lnTo>
                    <a:pt x="452" y="541"/>
                  </a:lnTo>
                  <a:lnTo>
                    <a:pt x="466" y="635"/>
                  </a:lnTo>
                  <a:lnTo>
                    <a:pt x="480" y="730"/>
                  </a:lnTo>
                  <a:lnTo>
                    <a:pt x="496" y="824"/>
                  </a:lnTo>
                  <a:lnTo>
                    <a:pt x="514" y="921"/>
                  </a:lnTo>
                  <a:lnTo>
                    <a:pt x="533" y="1019"/>
                  </a:lnTo>
                  <a:lnTo>
                    <a:pt x="552" y="1117"/>
                  </a:lnTo>
                  <a:lnTo>
                    <a:pt x="574" y="1215"/>
                  </a:lnTo>
                  <a:lnTo>
                    <a:pt x="594" y="1314"/>
                  </a:lnTo>
                  <a:lnTo>
                    <a:pt x="617" y="1414"/>
                  </a:lnTo>
                  <a:lnTo>
                    <a:pt x="640" y="1514"/>
                  </a:lnTo>
                  <a:lnTo>
                    <a:pt x="662" y="1613"/>
                  </a:lnTo>
                  <a:lnTo>
                    <a:pt x="682" y="1703"/>
                  </a:lnTo>
                  <a:lnTo>
                    <a:pt x="702" y="1792"/>
                  </a:lnTo>
                  <a:lnTo>
                    <a:pt x="722" y="1881"/>
                  </a:lnTo>
                  <a:lnTo>
                    <a:pt x="742" y="1971"/>
                  </a:lnTo>
                  <a:lnTo>
                    <a:pt x="760" y="2060"/>
                  </a:lnTo>
                  <a:lnTo>
                    <a:pt x="780" y="2149"/>
                  </a:lnTo>
                  <a:lnTo>
                    <a:pt x="797" y="2238"/>
                  </a:lnTo>
                  <a:lnTo>
                    <a:pt x="814" y="2326"/>
                  </a:lnTo>
                  <a:lnTo>
                    <a:pt x="830" y="2414"/>
                  </a:lnTo>
                  <a:lnTo>
                    <a:pt x="846" y="2503"/>
                  </a:lnTo>
                  <a:lnTo>
                    <a:pt x="859" y="2589"/>
                  </a:lnTo>
                  <a:lnTo>
                    <a:pt x="872" y="2677"/>
                  </a:lnTo>
                  <a:lnTo>
                    <a:pt x="884" y="2762"/>
                  </a:lnTo>
                  <a:lnTo>
                    <a:pt x="893" y="2849"/>
                  </a:lnTo>
                  <a:lnTo>
                    <a:pt x="901" y="2933"/>
                  </a:lnTo>
                  <a:lnTo>
                    <a:pt x="907" y="3018"/>
                  </a:lnTo>
                  <a:lnTo>
                    <a:pt x="736" y="3018"/>
                  </a:lnTo>
                  <a:lnTo>
                    <a:pt x="730" y="2937"/>
                  </a:lnTo>
                  <a:lnTo>
                    <a:pt x="722" y="2854"/>
                  </a:lnTo>
                  <a:lnTo>
                    <a:pt x="712" y="2772"/>
                  </a:lnTo>
                  <a:lnTo>
                    <a:pt x="701" y="2687"/>
                  </a:lnTo>
                  <a:lnTo>
                    <a:pt x="689" y="2604"/>
                  </a:lnTo>
                  <a:lnTo>
                    <a:pt x="675" y="2518"/>
                  </a:lnTo>
                  <a:lnTo>
                    <a:pt x="660" y="2432"/>
                  </a:lnTo>
                  <a:lnTo>
                    <a:pt x="645" y="2347"/>
                  </a:lnTo>
                  <a:lnTo>
                    <a:pt x="627" y="2260"/>
                  </a:lnTo>
                  <a:lnTo>
                    <a:pt x="610" y="2174"/>
                  </a:lnTo>
                  <a:lnTo>
                    <a:pt x="592" y="2087"/>
                  </a:lnTo>
                  <a:lnTo>
                    <a:pt x="574" y="2000"/>
                  </a:lnTo>
                  <a:lnTo>
                    <a:pt x="554" y="1913"/>
                  </a:lnTo>
                  <a:lnTo>
                    <a:pt x="535" y="1825"/>
                  </a:lnTo>
                  <a:lnTo>
                    <a:pt x="515" y="1739"/>
                  </a:lnTo>
                  <a:lnTo>
                    <a:pt x="495" y="1651"/>
                  </a:lnTo>
                  <a:lnTo>
                    <a:pt x="480" y="1582"/>
                  </a:lnTo>
                  <a:lnTo>
                    <a:pt x="465" y="1514"/>
                  </a:lnTo>
                  <a:lnTo>
                    <a:pt x="449" y="1446"/>
                  </a:lnTo>
                  <a:lnTo>
                    <a:pt x="434" y="1378"/>
                  </a:lnTo>
                  <a:lnTo>
                    <a:pt x="419" y="1310"/>
                  </a:lnTo>
                  <a:lnTo>
                    <a:pt x="405" y="1242"/>
                  </a:lnTo>
                  <a:lnTo>
                    <a:pt x="390" y="1174"/>
                  </a:lnTo>
                  <a:lnTo>
                    <a:pt x="376" y="1106"/>
                  </a:lnTo>
                  <a:lnTo>
                    <a:pt x="363" y="1039"/>
                  </a:lnTo>
                  <a:lnTo>
                    <a:pt x="350" y="972"/>
                  </a:lnTo>
                  <a:lnTo>
                    <a:pt x="337" y="906"/>
                  </a:lnTo>
                  <a:lnTo>
                    <a:pt x="326" y="839"/>
                  </a:lnTo>
                  <a:lnTo>
                    <a:pt x="314" y="773"/>
                  </a:lnTo>
                  <a:lnTo>
                    <a:pt x="304" y="707"/>
                  </a:lnTo>
                  <a:lnTo>
                    <a:pt x="295" y="642"/>
                  </a:lnTo>
                  <a:lnTo>
                    <a:pt x="285" y="577"/>
                  </a:lnTo>
                  <a:lnTo>
                    <a:pt x="274" y="637"/>
                  </a:lnTo>
                  <a:lnTo>
                    <a:pt x="264" y="700"/>
                  </a:lnTo>
                  <a:lnTo>
                    <a:pt x="252" y="764"/>
                  </a:lnTo>
                  <a:lnTo>
                    <a:pt x="243" y="830"/>
                  </a:lnTo>
                  <a:lnTo>
                    <a:pt x="233" y="899"/>
                  </a:lnTo>
                  <a:lnTo>
                    <a:pt x="225" y="968"/>
                  </a:lnTo>
                  <a:lnTo>
                    <a:pt x="215" y="1040"/>
                  </a:lnTo>
                  <a:lnTo>
                    <a:pt x="208" y="1112"/>
                  </a:lnTo>
                  <a:lnTo>
                    <a:pt x="200" y="1187"/>
                  </a:lnTo>
                  <a:lnTo>
                    <a:pt x="194" y="1262"/>
                  </a:lnTo>
                  <a:lnTo>
                    <a:pt x="187" y="1339"/>
                  </a:lnTo>
                  <a:lnTo>
                    <a:pt x="182" y="1417"/>
                  </a:lnTo>
                  <a:lnTo>
                    <a:pt x="178" y="1495"/>
                  </a:lnTo>
                  <a:lnTo>
                    <a:pt x="174" y="1575"/>
                  </a:lnTo>
                  <a:lnTo>
                    <a:pt x="172" y="1654"/>
                  </a:lnTo>
                  <a:lnTo>
                    <a:pt x="170" y="1735"/>
                  </a:lnTo>
                  <a:lnTo>
                    <a:pt x="169" y="1815"/>
                  </a:lnTo>
                  <a:lnTo>
                    <a:pt x="169" y="1895"/>
                  </a:lnTo>
                  <a:lnTo>
                    <a:pt x="170" y="1977"/>
                  </a:lnTo>
                  <a:lnTo>
                    <a:pt x="172" y="2057"/>
                  </a:lnTo>
                  <a:lnTo>
                    <a:pt x="175" y="2138"/>
                  </a:lnTo>
                  <a:lnTo>
                    <a:pt x="179" y="2218"/>
                  </a:lnTo>
                  <a:lnTo>
                    <a:pt x="184" y="2298"/>
                  </a:lnTo>
                  <a:lnTo>
                    <a:pt x="192" y="2378"/>
                  </a:lnTo>
                  <a:lnTo>
                    <a:pt x="199" y="2456"/>
                  </a:lnTo>
                  <a:lnTo>
                    <a:pt x="208" y="2534"/>
                  </a:lnTo>
                  <a:lnTo>
                    <a:pt x="218" y="2611"/>
                  </a:lnTo>
                  <a:lnTo>
                    <a:pt x="231" y="2686"/>
                  </a:lnTo>
                  <a:lnTo>
                    <a:pt x="244" y="2761"/>
                  </a:lnTo>
                  <a:lnTo>
                    <a:pt x="259" y="2835"/>
                  </a:lnTo>
                  <a:lnTo>
                    <a:pt x="274" y="2906"/>
                  </a:lnTo>
                  <a:lnTo>
                    <a:pt x="292" y="2976"/>
                  </a:lnTo>
                  <a:lnTo>
                    <a:pt x="304" y="3018"/>
                  </a:lnTo>
                  <a:lnTo>
                    <a:pt x="127" y="30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3" name="Freeform 99"/>
            <p:cNvSpPr>
              <a:spLocks noChangeArrowheads="1"/>
            </p:cNvSpPr>
            <p:nvPr/>
          </p:nvSpPr>
          <p:spPr bwMode="auto">
            <a:xfrm>
              <a:off x="960438" y="4756113"/>
              <a:ext cx="330200" cy="1624047"/>
            </a:xfrm>
            <a:custGeom>
              <a:avLst/>
              <a:gdLst>
                <a:gd name="T0" fmla="*/ 131 w 738"/>
                <a:gd name="T1" fmla="*/ 2933 h 2933"/>
                <a:gd name="T2" fmla="*/ 108 w 738"/>
                <a:gd name="T3" fmla="*/ 2838 h 2933"/>
                <a:gd name="T4" fmla="*/ 86 w 738"/>
                <a:gd name="T5" fmla="*/ 2740 h 2933"/>
                <a:gd name="T6" fmla="*/ 67 w 738"/>
                <a:gd name="T7" fmla="*/ 2640 h 2933"/>
                <a:gd name="T8" fmla="*/ 51 w 738"/>
                <a:gd name="T9" fmla="*/ 2538 h 2933"/>
                <a:gd name="T10" fmla="*/ 38 w 738"/>
                <a:gd name="T11" fmla="*/ 2433 h 2933"/>
                <a:gd name="T12" fmla="*/ 26 w 738"/>
                <a:gd name="T13" fmla="*/ 2327 h 2933"/>
                <a:gd name="T14" fmla="*/ 17 w 738"/>
                <a:gd name="T15" fmla="*/ 2220 h 2933"/>
                <a:gd name="T16" fmla="*/ 10 w 738"/>
                <a:gd name="T17" fmla="*/ 2111 h 2933"/>
                <a:gd name="T18" fmla="*/ 5 w 738"/>
                <a:gd name="T19" fmla="*/ 2002 h 2933"/>
                <a:gd name="T20" fmla="*/ 2 w 738"/>
                <a:gd name="T21" fmla="*/ 1893 h 2933"/>
                <a:gd name="T22" fmla="*/ 0 w 738"/>
                <a:gd name="T23" fmla="*/ 1783 h 2933"/>
                <a:gd name="T24" fmla="*/ 2 w 738"/>
                <a:gd name="T25" fmla="*/ 1673 h 2933"/>
                <a:gd name="T26" fmla="*/ 4 w 738"/>
                <a:gd name="T27" fmla="*/ 1564 h 2933"/>
                <a:gd name="T28" fmla="*/ 8 w 738"/>
                <a:gd name="T29" fmla="*/ 1456 h 2933"/>
                <a:gd name="T30" fmla="*/ 13 w 738"/>
                <a:gd name="T31" fmla="*/ 1350 h 2933"/>
                <a:gd name="T32" fmla="*/ 20 w 738"/>
                <a:gd name="T33" fmla="*/ 1243 h 2933"/>
                <a:gd name="T34" fmla="*/ 28 w 738"/>
                <a:gd name="T35" fmla="*/ 1139 h 2933"/>
                <a:gd name="T36" fmla="*/ 39 w 738"/>
                <a:gd name="T37" fmla="*/ 1038 h 2933"/>
                <a:gd name="T38" fmla="*/ 49 w 738"/>
                <a:gd name="T39" fmla="*/ 938 h 2933"/>
                <a:gd name="T40" fmla="*/ 60 w 738"/>
                <a:gd name="T41" fmla="*/ 841 h 2933"/>
                <a:gd name="T42" fmla="*/ 74 w 738"/>
                <a:gd name="T43" fmla="*/ 748 h 2933"/>
                <a:gd name="T44" fmla="*/ 87 w 738"/>
                <a:gd name="T45" fmla="*/ 657 h 2933"/>
                <a:gd name="T46" fmla="*/ 101 w 738"/>
                <a:gd name="T47" fmla="*/ 570 h 2933"/>
                <a:gd name="T48" fmla="*/ 116 w 738"/>
                <a:gd name="T49" fmla="*/ 487 h 2933"/>
                <a:gd name="T50" fmla="*/ 132 w 738"/>
                <a:gd name="T51" fmla="*/ 408 h 2933"/>
                <a:gd name="T52" fmla="*/ 148 w 738"/>
                <a:gd name="T53" fmla="*/ 334 h 2933"/>
                <a:gd name="T54" fmla="*/ 164 w 738"/>
                <a:gd name="T55" fmla="*/ 264 h 2933"/>
                <a:gd name="T56" fmla="*/ 182 w 738"/>
                <a:gd name="T57" fmla="*/ 200 h 2933"/>
                <a:gd name="T58" fmla="*/ 199 w 738"/>
                <a:gd name="T59" fmla="*/ 141 h 2933"/>
                <a:gd name="T60" fmla="*/ 216 w 738"/>
                <a:gd name="T61" fmla="*/ 88 h 2933"/>
                <a:gd name="T62" fmla="*/ 233 w 738"/>
                <a:gd name="T63" fmla="*/ 40 h 2933"/>
                <a:gd name="T64" fmla="*/ 251 w 738"/>
                <a:gd name="T65" fmla="*/ 0 h 2933"/>
                <a:gd name="T66" fmla="*/ 252 w 738"/>
                <a:gd name="T67" fmla="*/ 84 h 2933"/>
                <a:gd name="T68" fmla="*/ 256 w 738"/>
                <a:gd name="T69" fmla="*/ 168 h 2933"/>
                <a:gd name="T70" fmla="*/ 261 w 738"/>
                <a:gd name="T71" fmla="*/ 254 h 2933"/>
                <a:gd name="T72" fmla="*/ 269 w 738"/>
                <a:gd name="T73" fmla="*/ 340 h 2933"/>
                <a:gd name="T74" fmla="*/ 279 w 738"/>
                <a:gd name="T75" fmla="*/ 428 h 2933"/>
                <a:gd name="T76" fmla="*/ 290 w 738"/>
                <a:gd name="T77" fmla="*/ 517 h 2933"/>
                <a:gd name="T78" fmla="*/ 303 w 738"/>
                <a:gd name="T79" fmla="*/ 606 h 2933"/>
                <a:gd name="T80" fmla="*/ 318 w 738"/>
                <a:gd name="T81" fmla="*/ 697 h 2933"/>
                <a:gd name="T82" fmla="*/ 334 w 738"/>
                <a:gd name="T83" fmla="*/ 788 h 2933"/>
                <a:gd name="T84" fmla="*/ 351 w 738"/>
                <a:gd name="T85" fmla="*/ 880 h 2933"/>
                <a:gd name="T86" fmla="*/ 369 w 738"/>
                <a:gd name="T87" fmla="*/ 972 h 2933"/>
                <a:gd name="T88" fmla="*/ 388 w 738"/>
                <a:gd name="T89" fmla="*/ 1065 h 2933"/>
                <a:gd name="T90" fmla="*/ 428 w 738"/>
                <a:gd name="T91" fmla="*/ 1253 h 2933"/>
                <a:gd name="T92" fmla="*/ 470 w 738"/>
                <a:gd name="T93" fmla="*/ 1441 h 2933"/>
                <a:gd name="T94" fmla="*/ 513 w 738"/>
                <a:gd name="T95" fmla="*/ 1631 h 2933"/>
                <a:gd name="T96" fmla="*/ 556 w 738"/>
                <a:gd name="T97" fmla="*/ 1821 h 2933"/>
                <a:gd name="T98" fmla="*/ 576 w 738"/>
                <a:gd name="T99" fmla="*/ 1917 h 2933"/>
                <a:gd name="T100" fmla="*/ 597 w 738"/>
                <a:gd name="T101" fmla="*/ 2010 h 2933"/>
                <a:gd name="T102" fmla="*/ 616 w 738"/>
                <a:gd name="T103" fmla="*/ 2105 h 2933"/>
                <a:gd name="T104" fmla="*/ 635 w 738"/>
                <a:gd name="T105" fmla="*/ 2199 h 2933"/>
                <a:gd name="T106" fmla="*/ 652 w 738"/>
                <a:gd name="T107" fmla="*/ 2293 h 2933"/>
                <a:gd name="T108" fmla="*/ 670 w 738"/>
                <a:gd name="T109" fmla="*/ 2387 h 2933"/>
                <a:gd name="T110" fmla="*/ 684 w 738"/>
                <a:gd name="T111" fmla="*/ 2479 h 2933"/>
                <a:gd name="T112" fmla="*/ 699 w 738"/>
                <a:gd name="T113" fmla="*/ 2571 h 2933"/>
                <a:gd name="T114" fmla="*/ 711 w 738"/>
                <a:gd name="T115" fmla="*/ 2663 h 2933"/>
                <a:gd name="T116" fmla="*/ 723 w 738"/>
                <a:gd name="T117" fmla="*/ 2754 h 2933"/>
                <a:gd name="T118" fmla="*/ 731 w 738"/>
                <a:gd name="T119" fmla="*/ 2844 h 2933"/>
                <a:gd name="T120" fmla="*/ 738 w 738"/>
                <a:gd name="T121" fmla="*/ 2933 h 2933"/>
                <a:gd name="T122" fmla="*/ 131 w 738"/>
                <a:gd name="T123" fmla="*/ 2933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8" h="2933">
                  <a:moveTo>
                    <a:pt x="131" y="2933"/>
                  </a:moveTo>
                  <a:lnTo>
                    <a:pt x="108" y="2838"/>
                  </a:lnTo>
                  <a:lnTo>
                    <a:pt x="86" y="2740"/>
                  </a:lnTo>
                  <a:lnTo>
                    <a:pt x="67" y="2640"/>
                  </a:lnTo>
                  <a:lnTo>
                    <a:pt x="51" y="2538"/>
                  </a:lnTo>
                  <a:lnTo>
                    <a:pt x="38" y="2433"/>
                  </a:lnTo>
                  <a:lnTo>
                    <a:pt x="26" y="2327"/>
                  </a:lnTo>
                  <a:lnTo>
                    <a:pt x="17" y="2220"/>
                  </a:lnTo>
                  <a:lnTo>
                    <a:pt x="10" y="2111"/>
                  </a:lnTo>
                  <a:lnTo>
                    <a:pt x="5" y="2002"/>
                  </a:lnTo>
                  <a:lnTo>
                    <a:pt x="2" y="1893"/>
                  </a:lnTo>
                  <a:lnTo>
                    <a:pt x="0" y="1783"/>
                  </a:lnTo>
                  <a:lnTo>
                    <a:pt x="2" y="1673"/>
                  </a:lnTo>
                  <a:lnTo>
                    <a:pt x="4" y="1564"/>
                  </a:lnTo>
                  <a:lnTo>
                    <a:pt x="8" y="1456"/>
                  </a:lnTo>
                  <a:lnTo>
                    <a:pt x="13" y="1350"/>
                  </a:lnTo>
                  <a:lnTo>
                    <a:pt x="20" y="1243"/>
                  </a:lnTo>
                  <a:lnTo>
                    <a:pt x="28" y="1139"/>
                  </a:lnTo>
                  <a:lnTo>
                    <a:pt x="39" y="1038"/>
                  </a:lnTo>
                  <a:lnTo>
                    <a:pt x="49" y="938"/>
                  </a:lnTo>
                  <a:lnTo>
                    <a:pt x="60" y="841"/>
                  </a:lnTo>
                  <a:lnTo>
                    <a:pt x="74" y="748"/>
                  </a:lnTo>
                  <a:lnTo>
                    <a:pt x="87" y="657"/>
                  </a:lnTo>
                  <a:lnTo>
                    <a:pt x="101" y="570"/>
                  </a:lnTo>
                  <a:lnTo>
                    <a:pt x="116" y="487"/>
                  </a:lnTo>
                  <a:lnTo>
                    <a:pt x="132" y="408"/>
                  </a:lnTo>
                  <a:lnTo>
                    <a:pt x="148" y="334"/>
                  </a:lnTo>
                  <a:lnTo>
                    <a:pt x="164" y="264"/>
                  </a:lnTo>
                  <a:lnTo>
                    <a:pt x="182" y="200"/>
                  </a:lnTo>
                  <a:lnTo>
                    <a:pt x="199" y="141"/>
                  </a:lnTo>
                  <a:lnTo>
                    <a:pt x="216" y="88"/>
                  </a:lnTo>
                  <a:lnTo>
                    <a:pt x="233" y="40"/>
                  </a:lnTo>
                  <a:lnTo>
                    <a:pt x="251" y="0"/>
                  </a:lnTo>
                  <a:lnTo>
                    <a:pt x="252" y="84"/>
                  </a:lnTo>
                  <a:lnTo>
                    <a:pt x="256" y="168"/>
                  </a:lnTo>
                  <a:lnTo>
                    <a:pt x="261" y="254"/>
                  </a:lnTo>
                  <a:lnTo>
                    <a:pt x="269" y="340"/>
                  </a:lnTo>
                  <a:lnTo>
                    <a:pt x="279" y="428"/>
                  </a:lnTo>
                  <a:lnTo>
                    <a:pt x="290" y="517"/>
                  </a:lnTo>
                  <a:lnTo>
                    <a:pt x="303" y="606"/>
                  </a:lnTo>
                  <a:lnTo>
                    <a:pt x="318" y="697"/>
                  </a:lnTo>
                  <a:lnTo>
                    <a:pt x="334" y="788"/>
                  </a:lnTo>
                  <a:lnTo>
                    <a:pt x="351" y="880"/>
                  </a:lnTo>
                  <a:lnTo>
                    <a:pt x="369" y="972"/>
                  </a:lnTo>
                  <a:lnTo>
                    <a:pt x="388" y="1065"/>
                  </a:lnTo>
                  <a:lnTo>
                    <a:pt x="428" y="1253"/>
                  </a:lnTo>
                  <a:lnTo>
                    <a:pt x="470" y="1441"/>
                  </a:lnTo>
                  <a:lnTo>
                    <a:pt x="513" y="1631"/>
                  </a:lnTo>
                  <a:lnTo>
                    <a:pt x="556" y="1821"/>
                  </a:lnTo>
                  <a:lnTo>
                    <a:pt x="576" y="1917"/>
                  </a:lnTo>
                  <a:lnTo>
                    <a:pt x="597" y="2010"/>
                  </a:lnTo>
                  <a:lnTo>
                    <a:pt x="616" y="2105"/>
                  </a:lnTo>
                  <a:lnTo>
                    <a:pt x="635" y="2199"/>
                  </a:lnTo>
                  <a:lnTo>
                    <a:pt x="652" y="2293"/>
                  </a:lnTo>
                  <a:lnTo>
                    <a:pt x="670" y="2387"/>
                  </a:lnTo>
                  <a:lnTo>
                    <a:pt x="684" y="2479"/>
                  </a:lnTo>
                  <a:lnTo>
                    <a:pt x="699" y="2571"/>
                  </a:lnTo>
                  <a:lnTo>
                    <a:pt x="711" y="2663"/>
                  </a:lnTo>
                  <a:lnTo>
                    <a:pt x="723" y="2754"/>
                  </a:lnTo>
                  <a:lnTo>
                    <a:pt x="731" y="2844"/>
                  </a:lnTo>
                  <a:lnTo>
                    <a:pt x="738" y="2933"/>
                  </a:lnTo>
                  <a:lnTo>
                    <a:pt x="131" y="29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4" name="Freeform 100"/>
            <p:cNvSpPr>
              <a:spLocks noChangeArrowheads="1"/>
            </p:cNvSpPr>
            <p:nvPr/>
          </p:nvSpPr>
          <p:spPr bwMode="auto">
            <a:xfrm>
              <a:off x="1544638" y="6026139"/>
              <a:ext cx="179387" cy="354021"/>
            </a:xfrm>
            <a:custGeom>
              <a:avLst/>
              <a:gdLst>
                <a:gd name="T0" fmla="*/ 0 w 403"/>
                <a:gd name="T1" fmla="*/ 638 h 638"/>
                <a:gd name="T2" fmla="*/ 11 w 403"/>
                <a:gd name="T3" fmla="*/ 599 h 638"/>
                <a:gd name="T4" fmla="*/ 23 w 403"/>
                <a:gd name="T5" fmla="*/ 560 h 638"/>
                <a:gd name="T6" fmla="*/ 35 w 403"/>
                <a:gd name="T7" fmla="*/ 520 h 638"/>
                <a:gd name="T8" fmla="*/ 47 w 403"/>
                <a:gd name="T9" fmla="*/ 482 h 638"/>
                <a:gd name="T10" fmla="*/ 61 w 403"/>
                <a:gd name="T11" fmla="*/ 443 h 638"/>
                <a:gd name="T12" fmla="*/ 75 w 403"/>
                <a:gd name="T13" fmla="*/ 405 h 638"/>
                <a:gd name="T14" fmla="*/ 90 w 403"/>
                <a:gd name="T15" fmla="*/ 368 h 638"/>
                <a:gd name="T16" fmla="*/ 104 w 403"/>
                <a:gd name="T17" fmla="*/ 331 h 638"/>
                <a:gd name="T18" fmla="*/ 120 w 403"/>
                <a:gd name="T19" fmla="*/ 294 h 638"/>
                <a:gd name="T20" fmla="*/ 136 w 403"/>
                <a:gd name="T21" fmla="*/ 257 h 638"/>
                <a:gd name="T22" fmla="*/ 152 w 403"/>
                <a:gd name="T23" fmla="*/ 221 h 638"/>
                <a:gd name="T24" fmla="*/ 170 w 403"/>
                <a:gd name="T25" fmla="*/ 184 h 638"/>
                <a:gd name="T26" fmla="*/ 187 w 403"/>
                <a:gd name="T27" fmla="*/ 148 h 638"/>
                <a:gd name="T28" fmla="*/ 206 w 403"/>
                <a:gd name="T29" fmla="*/ 112 h 638"/>
                <a:gd name="T30" fmla="*/ 226 w 403"/>
                <a:gd name="T31" fmla="*/ 77 h 638"/>
                <a:gd name="T32" fmla="*/ 245 w 403"/>
                <a:gd name="T33" fmla="*/ 43 h 638"/>
                <a:gd name="T34" fmla="*/ 249 w 403"/>
                <a:gd name="T35" fmla="*/ 36 h 638"/>
                <a:gd name="T36" fmla="*/ 255 w 403"/>
                <a:gd name="T37" fmla="*/ 29 h 638"/>
                <a:gd name="T38" fmla="*/ 261 w 403"/>
                <a:gd name="T39" fmla="*/ 23 h 638"/>
                <a:gd name="T40" fmla="*/ 268 w 403"/>
                <a:gd name="T41" fmla="*/ 17 h 638"/>
                <a:gd name="T42" fmla="*/ 274 w 403"/>
                <a:gd name="T43" fmla="*/ 12 h 638"/>
                <a:gd name="T44" fmla="*/ 281 w 403"/>
                <a:gd name="T45" fmla="*/ 9 h 638"/>
                <a:gd name="T46" fmla="*/ 288 w 403"/>
                <a:gd name="T47" fmla="*/ 5 h 638"/>
                <a:gd name="T48" fmla="*/ 297 w 403"/>
                <a:gd name="T49" fmla="*/ 3 h 638"/>
                <a:gd name="T50" fmla="*/ 305 w 403"/>
                <a:gd name="T51" fmla="*/ 1 h 638"/>
                <a:gd name="T52" fmla="*/ 313 w 403"/>
                <a:gd name="T53" fmla="*/ 0 h 638"/>
                <a:gd name="T54" fmla="*/ 320 w 403"/>
                <a:gd name="T55" fmla="*/ 0 h 638"/>
                <a:gd name="T56" fmla="*/ 330 w 403"/>
                <a:gd name="T57" fmla="*/ 1 h 638"/>
                <a:gd name="T58" fmla="*/ 337 w 403"/>
                <a:gd name="T59" fmla="*/ 2 h 638"/>
                <a:gd name="T60" fmla="*/ 345 w 403"/>
                <a:gd name="T61" fmla="*/ 4 h 638"/>
                <a:gd name="T62" fmla="*/ 353 w 403"/>
                <a:gd name="T63" fmla="*/ 7 h 638"/>
                <a:gd name="T64" fmla="*/ 362 w 403"/>
                <a:gd name="T65" fmla="*/ 11 h 638"/>
                <a:gd name="T66" fmla="*/ 372 w 403"/>
                <a:gd name="T67" fmla="*/ 18 h 638"/>
                <a:gd name="T68" fmla="*/ 381 w 403"/>
                <a:gd name="T69" fmla="*/ 28 h 638"/>
                <a:gd name="T70" fmla="*/ 389 w 403"/>
                <a:gd name="T71" fmla="*/ 38 h 638"/>
                <a:gd name="T72" fmla="*/ 396 w 403"/>
                <a:gd name="T73" fmla="*/ 49 h 638"/>
                <a:gd name="T74" fmla="*/ 400 w 403"/>
                <a:gd name="T75" fmla="*/ 62 h 638"/>
                <a:gd name="T76" fmla="*/ 403 w 403"/>
                <a:gd name="T77" fmla="*/ 74 h 638"/>
                <a:gd name="T78" fmla="*/ 403 w 403"/>
                <a:gd name="T79" fmla="*/ 86 h 638"/>
                <a:gd name="T80" fmla="*/ 402 w 403"/>
                <a:gd name="T81" fmla="*/ 100 h 638"/>
                <a:gd name="T82" fmla="*/ 395 w 403"/>
                <a:gd name="T83" fmla="*/ 170 h 638"/>
                <a:gd name="T84" fmla="*/ 388 w 403"/>
                <a:gd name="T85" fmla="*/ 240 h 638"/>
                <a:gd name="T86" fmla="*/ 383 w 403"/>
                <a:gd name="T87" fmla="*/ 308 h 638"/>
                <a:gd name="T88" fmla="*/ 379 w 403"/>
                <a:gd name="T89" fmla="*/ 375 h 638"/>
                <a:gd name="T90" fmla="*/ 376 w 403"/>
                <a:gd name="T91" fmla="*/ 442 h 638"/>
                <a:gd name="T92" fmla="*/ 373 w 403"/>
                <a:gd name="T93" fmla="*/ 508 h 638"/>
                <a:gd name="T94" fmla="*/ 372 w 403"/>
                <a:gd name="T95" fmla="*/ 573 h 638"/>
                <a:gd name="T96" fmla="*/ 371 w 403"/>
                <a:gd name="T97" fmla="*/ 638 h 638"/>
                <a:gd name="T98" fmla="*/ 202 w 403"/>
                <a:gd name="T99" fmla="*/ 638 h 638"/>
                <a:gd name="T100" fmla="*/ 202 w 403"/>
                <a:gd name="T101" fmla="*/ 616 h 638"/>
                <a:gd name="T102" fmla="*/ 202 w 403"/>
                <a:gd name="T103" fmla="*/ 595 h 638"/>
                <a:gd name="T104" fmla="*/ 203 w 403"/>
                <a:gd name="T105" fmla="*/ 572 h 638"/>
                <a:gd name="T106" fmla="*/ 203 w 403"/>
                <a:gd name="T107" fmla="*/ 550 h 638"/>
                <a:gd name="T108" fmla="*/ 196 w 403"/>
                <a:gd name="T109" fmla="*/ 572 h 638"/>
                <a:gd name="T110" fmla="*/ 189 w 403"/>
                <a:gd name="T111" fmla="*/ 594 h 638"/>
                <a:gd name="T112" fmla="*/ 182 w 403"/>
                <a:gd name="T113" fmla="*/ 616 h 638"/>
                <a:gd name="T114" fmla="*/ 175 w 403"/>
                <a:gd name="T115" fmla="*/ 638 h 638"/>
                <a:gd name="T116" fmla="*/ 0 w 403"/>
                <a:gd name="T117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3" h="638">
                  <a:moveTo>
                    <a:pt x="0" y="638"/>
                  </a:moveTo>
                  <a:lnTo>
                    <a:pt x="11" y="599"/>
                  </a:lnTo>
                  <a:lnTo>
                    <a:pt x="23" y="560"/>
                  </a:lnTo>
                  <a:lnTo>
                    <a:pt x="35" y="520"/>
                  </a:lnTo>
                  <a:lnTo>
                    <a:pt x="47" y="482"/>
                  </a:lnTo>
                  <a:lnTo>
                    <a:pt x="61" y="443"/>
                  </a:lnTo>
                  <a:lnTo>
                    <a:pt x="75" y="405"/>
                  </a:lnTo>
                  <a:lnTo>
                    <a:pt x="90" y="368"/>
                  </a:lnTo>
                  <a:lnTo>
                    <a:pt x="104" y="331"/>
                  </a:lnTo>
                  <a:lnTo>
                    <a:pt x="120" y="294"/>
                  </a:lnTo>
                  <a:lnTo>
                    <a:pt x="136" y="257"/>
                  </a:lnTo>
                  <a:lnTo>
                    <a:pt x="152" y="221"/>
                  </a:lnTo>
                  <a:lnTo>
                    <a:pt x="170" y="184"/>
                  </a:lnTo>
                  <a:lnTo>
                    <a:pt x="187" y="148"/>
                  </a:lnTo>
                  <a:lnTo>
                    <a:pt x="206" y="112"/>
                  </a:lnTo>
                  <a:lnTo>
                    <a:pt x="226" y="77"/>
                  </a:lnTo>
                  <a:lnTo>
                    <a:pt x="245" y="43"/>
                  </a:lnTo>
                  <a:lnTo>
                    <a:pt x="249" y="36"/>
                  </a:lnTo>
                  <a:lnTo>
                    <a:pt x="255" y="29"/>
                  </a:lnTo>
                  <a:lnTo>
                    <a:pt x="261" y="23"/>
                  </a:lnTo>
                  <a:lnTo>
                    <a:pt x="268" y="17"/>
                  </a:lnTo>
                  <a:lnTo>
                    <a:pt x="274" y="12"/>
                  </a:lnTo>
                  <a:lnTo>
                    <a:pt x="281" y="9"/>
                  </a:lnTo>
                  <a:lnTo>
                    <a:pt x="288" y="5"/>
                  </a:lnTo>
                  <a:lnTo>
                    <a:pt x="297" y="3"/>
                  </a:lnTo>
                  <a:lnTo>
                    <a:pt x="305" y="1"/>
                  </a:lnTo>
                  <a:lnTo>
                    <a:pt x="313" y="0"/>
                  </a:lnTo>
                  <a:lnTo>
                    <a:pt x="320" y="0"/>
                  </a:lnTo>
                  <a:lnTo>
                    <a:pt x="330" y="1"/>
                  </a:lnTo>
                  <a:lnTo>
                    <a:pt x="337" y="2"/>
                  </a:lnTo>
                  <a:lnTo>
                    <a:pt x="345" y="4"/>
                  </a:lnTo>
                  <a:lnTo>
                    <a:pt x="353" y="7"/>
                  </a:lnTo>
                  <a:lnTo>
                    <a:pt x="362" y="11"/>
                  </a:lnTo>
                  <a:lnTo>
                    <a:pt x="372" y="18"/>
                  </a:lnTo>
                  <a:lnTo>
                    <a:pt x="381" y="28"/>
                  </a:lnTo>
                  <a:lnTo>
                    <a:pt x="389" y="38"/>
                  </a:lnTo>
                  <a:lnTo>
                    <a:pt x="396" y="49"/>
                  </a:lnTo>
                  <a:lnTo>
                    <a:pt x="400" y="62"/>
                  </a:lnTo>
                  <a:lnTo>
                    <a:pt x="403" y="74"/>
                  </a:lnTo>
                  <a:lnTo>
                    <a:pt x="403" y="86"/>
                  </a:lnTo>
                  <a:lnTo>
                    <a:pt x="402" y="100"/>
                  </a:lnTo>
                  <a:lnTo>
                    <a:pt x="395" y="170"/>
                  </a:lnTo>
                  <a:lnTo>
                    <a:pt x="388" y="240"/>
                  </a:lnTo>
                  <a:lnTo>
                    <a:pt x="383" y="308"/>
                  </a:lnTo>
                  <a:lnTo>
                    <a:pt x="379" y="375"/>
                  </a:lnTo>
                  <a:lnTo>
                    <a:pt x="376" y="442"/>
                  </a:lnTo>
                  <a:lnTo>
                    <a:pt x="373" y="508"/>
                  </a:lnTo>
                  <a:lnTo>
                    <a:pt x="372" y="573"/>
                  </a:lnTo>
                  <a:lnTo>
                    <a:pt x="371" y="638"/>
                  </a:lnTo>
                  <a:lnTo>
                    <a:pt x="202" y="638"/>
                  </a:lnTo>
                  <a:lnTo>
                    <a:pt x="202" y="616"/>
                  </a:lnTo>
                  <a:lnTo>
                    <a:pt x="202" y="595"/>
                  </a:lnTo>
                  <a:lnTo>
                    <a:pt x="203" y="572"/>
                  </a:lnTo>
                  <a:lnTo>
                    <a:pt x="203" y="550"/>
                  </a:lnTo>
                  <a:lnTo>
                    <a:pt x="196" y="572"/>
                  </a:lnTo>
                  <a:lnTo>
                    <a:pt x="189" y="594"/>
                  </a:lnTo>
                  <a:lnTo>
                    <a:pt x="182" y="616"/>
                  </a:lnTo>
                  <a:lnTo>
                    <a:pt x="175" y="638"/>
                  </a:lnTo>
                  <a:lnTo>
                    <a:pt x="0" y="6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5" name="Freeform 101"/>
            <p:cNvSpPr>
              <a:spLocks noChangeArrowheads="1"/>
            </p:cNvSpPr>
            <p:nvPr/>
          </p:nvSpPr>
          <p:spPr bwMode="auto">
            <a:xfrm>
              <a:off x="1579563" y="6070590"/>
              <a:ext cx="107950" cy="309570"/>
            </a:xfrm>
            <a:custGeom>
              <a:avLst/>
              <a:gdLst>
                <a:gd name="T0" fmla="*/ 0 w 230"/>
                <a:gd name="T1" fmla="*/ 553 h 553"/>
                <a:gd name="T2" fmla="*/ 11 w 230"/>
                <a:gd name="T3" fmla="*/ 517 h 553"/>
                <a:gd name="T4" fmla="*/ 21 w 230"/>
                <a:gd name="T5" fmla="*/ 480 h 553"/>
                <a:gd name="T6" fmla="*/ 34 w 230"/>
                <a:gd name="T7" fmla="*/ 444 h 553"/>
                <a:gd name="T8" fmla="*/ 45 w 230"/>
                <a:gd name="T9" fmla="*/ 408 h 553"/>
                <a:gd name="T10" fmla="*/ 58 w 230"/>
                <a:gd name="T11" fmla="*/ 373 h 553"/>
                <a:gd name="T12" fmla="*/ 71 w 230"/>
                <a:gd name="T13" fmla="*/ 338 h 553"/>
                <a:gd name="T14" fmla="*/ 85 w 230"/>
                <a:gd name="T15" fmla="*/ 303 h 553"/>
                <a:gd name="T16" fmla="*/ 98 w 230"/>
                <a:gd name="T17" fmla="*/ 267 h 553"/>
                <a:gd name="T18" fmla="*/ 113 w 230"/>
                <a:gd name="T19" fmla="*/ 233 h 553"/>
                <a:gd name="T20" fmla="*/ 128 w 230"/>
                <a:gd name="T21" fmla="*/ 199 h 553"/>
                <a:gd name="T22" fmla="*/ 144 w 230"/>
                <a:gd name="T23" fmla="*/ 165 h 553"/>
                <a:gd name="T24" fmla="*/ 160 w 230"/>
                <a:gd name="T25" fmla="*/ 131 h 553"/>
                <a:gd name="T26" fmla="*/ 177 w 230"/>
                <a:gd name="T27" fmla="*/ 98 h 553"/>
                <a:gd name="T28" fmla="*/ 194 w 230"/>
                <a:gd name="T29" fmla="*/ 65 h 553"/>
                <a:gd name="T30" fmla="*/ 212 w 230"/>
                <a:gd name="T31" fmla="*/ 32 h 553"/>
                <a:gd name="T32" fmla="*/ 230 w 230"/>
                <a:gd name="T33" fmla="*/ 0 h 553"/>
                <a:gd name="T34" fmla="*/ 223 w 230"/>
                <a:gd name="T35" fmla="*/ 73 h 553"/>
                <a:gd name="T36" fmla="*/ 217 w 230"/>
                <a:gd name="T37" fmla="*/ 144 h 553"/>
                <a:gd name="T38" fmla="*/ 212 w 230"/>
                <a:gd name="T39" fmla="*/ 214 h 553"/>
                <a:gd name="T40" fmla="*/ 207 w 230"/>
                <a:gd name="T41" fmla="*/ 284 h 553"/>
                <a:gd name="T42" fmla="*/ 204 w 230"/>
                <a:gd name="T43" fmla="*/ 352 h 553"/>
                <a:gd name="T44" fmla="*/ 200 w 230"/>
                <a:gd name="T45" fmla="*/ 420 h 553"/>
                <a:gd name="T46" fmla="*/ 199 w 230"/>
                <a:gd name="T47" fmla="*/ 487 h 553"/>
                <a:gd name="T48" fmla="*/ 198 w 230"/>
                <a:gd name="T49" fmla="*/ 553 h 553"/>
                <a:gd name="T50" fmla="*/ 0 w 230"/>
                <a:gd name="T51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0" h="553">
                  <a:moveTo>
                    <a:pt x="0" y="553"/>
                  </a:moveTo>
                  <a:lnTo>
                    <a:pt x="11" y="517"/>
                  </a:lnTo>
                  <a:lnTo>
                    <a:pt x="21" y="480"/>
                  </a:lnTo>
                  <a:lnTo>
                    <a:pt x="34" y="444"/>
                  </a:lnTo>
                  <a:lnTo>
                    <a:pt x="45" y="408"/>
                  </a:lnTo>
                  <a:lnTo>
                    <a:pt x="58" y="373"/>
                  </a:lnTo>
                  <a:lnTo>
                    <a:pt x="71" y="338"/>
                  </a:lnTo>
                  <a:lnTo>
                    <a:pt x="85" y="303"/>
                  </a:lnTo>
                  <a:lnTo>
                    <a:pt x="98" y="267"/>
                  </a:lnTo>
                  <a:lnTo>
                    <a:pt x="113" y="233"/>
                  </a:lnTo>
                  <a:lnTo>
                    <a:pt x="128" y="199"/>
                  </a:lnTo>
                  <a:lnTo>
                    <a:pt x="144" y="165"/>
                  </a:lnTo>
                  <a:lnTo>
                    <a:pt x="160" y="131"/>
                  </a:lnTo>
                  <a:lnTo>
                    <a:pt x="177" y="98"/>
                  </a:lnTo>
                  <a:lnTo>
                    <a:pt x="194" y="65"/>
                  </a:lnTo>
                  <a:lnTo>
                    <a:pt x="212" y="32"/>
                  </a:lnTo>
                  <a:lnTo>
                    <a:pt x="230" y="0"/>
                  </a:lnTo>
                  <a:lnTo>
                    <a:pt x="223" y="73"/>
                  </a:lnTo>
                  <a:lnTo>
                    <a:pt x="217" y="144"/>
                  </a:lnTo>
                  <a:lnTo>
                    <a:pt x="212" y="214"/>
                  </a:lnTo>
                  <a:lnTo>
                    <a:pt x="207" y="284"/>
                  </a:lnTo>
                  <a:lnTo>
                    <a:pt x="204" y="352"/>
                  </a:lnTo>
                  <a:lnTo>
                    <a:pt x="200" y="420"/>
                  </a:lnTo>
                  <a:lnTo>
                    <a:pt x="199" y="487"/>
                  </a:lnTo>
                  <a:lnTo>
                    <a:pt x="198" y="553"/>
                  </a:lnTo>
                  <a:lnTo>
                    <a:pt x="0" y="55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6" name="Freeform 102"/>
            <p:cNvSpPr>
              <a:spLocks noChangeArrowheads="1"/>
            </p:cNvSpPr>
            <p:nvPr/>
          </p:nvSpPr>
          <p:spPr bwMode="auto">
            <a:xfrm>
              <a:off x="1155700" y="6354759"/>
              <a:ext cx="63500" cy="25401"/>
            </a:xfrm>
            <a:custGeom>
              <a:avLst/>
              <a:gdLst>
                <a:gd name="T0" fmla="*/ 0 w 146"/>
                <a:gd name="T1" fmla="*/ 43 h 43"/>
                <a:gd name="T2" fmla="*/ 7 w 146"/>
                <a:gd name="T3" fmla="*/ 33 h 43"/>
                <a:gd name="T4" fmla="*/ 16 w 146"/>
                <a:gd name="T5" fmla="*/ 22 h 43"/>
                <a:gd name="T6" fmla="*/ 26 w 146"/>
                <a:gd name="T7" fmla="*/ 15 h 43"/>
                <a:gd name="T8" fmla="*/ 37 w 146"/>
                <a:gd name="T9" fmla="*/ 9 h 43"/>
                <a:gd name="T10" fmla="*/ 48 w 146"/>
                <a:gd name="T11" fmla="*/ 4 h 43"/>
                <a:gd name="T12" fmla="*/ 61 w 146"/>
                <a:gd name="T13" fmla="*/ 1 h 43"/>
                <a:gd name="T14" fmla="*/ 68 w 146"/>
                <a:gd name="T15" fmla="*/ 1 h 43"/>
                <a:gd name="T16" fmla="*/ 74 w 146"/>
                <a:gd name="T17" fmla="*/ 0 h 43"/>
                <a:gd name="T18" fmla="*/ 81 w 146"/>
                <a:gd name="T19" fmla="*/ 1 h 43"/>
                <a:gd name="T20" fmla="*/ 88 w 146"/>
                <a:gd name="T21" fmla="*/ 2 h 43"/>
                <a:gd name="T22" fmla="*/ 97 w 146"/>
                <a:gd name="T23" fmla="*/ 4 h 43"/>
                <a:gd name="T24" fmla="*/ 106 w 146"/>
                <a:gd name="T25" fmla="*/ 7 h 43"/>
                <a:gd name="T26" fmla="*/ 114 w 146"/>
                <a:gd name="T27" fmla="*/ 11 h 43"/>
                <a:gd name="T28" fmla="*/ 122 w 146"/>
                <a:gd name="T29" fmla="*/ 16 h 43"/>
                <a:gd name="T30" fmla="*/ 129 w 146"/>
                <a:gd name="T31" fmla="*/ 22 h 43"/>
                <a:gd name="T32" fmla="*/ 136 w 146"/>
                <a:gd name="T33" fmla="*/ 29 h 43"/>
                <a:gd name="T34" fmla="*/ 141 w 146"/>
                <a:gd name="T35" fmla="*/ 36 h 43"/>
                <a:gd name="T36" fmla="*/ 146 w 146"/>
                <a:gd name="T37" fmla="*/ 43 h 43"/>
                <a:gd name="T38" fmla="*/ 0 w 146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6" h="43">
                  <a:moveTo>
                    <a:pt x="0" y="43"/>
                  </a:moveTo>
                  <a:lnTo>
                    <a:pt x="7" y="33"/>
                  </a:lnTo>
                  <a:lnTo>
                    <a:pt x="16" y="22"/>
                  </a:lnTo>
                  <a:lnTo>
                    <a:pt x="26" y="15"/>
                  </a:lnTo>
                  <a:lnTo>
                    <a:pt x="37" y="9"/>
                  </a:lnTo>
                  <a:lnTo>
                    <a:pt x="48" y="4"/>
                  </a:lnTo>
                  <a:lnTo>
                    <a:pt x="61" y="1"/>
                  </a:lnTo>
                  <a:lnTo>
                    <a:pt x="68" y="1"/>
                  </a:lnTo>
                  <a:lnTo>
                    <a:pt x="74" y="0"/>
                  </a:lnTo>
                  <a:lnTo>
                    <a:pt x="81" y="1"/>
                  </a:lnTo>
                  <a:lnTo>
                    <a:pt x="88" y="2"/>
                  </a:lnTo>
                  <a:lnTo>
                    <a:pt x="97" y="4"/>
                  </a:lnTo>
                  <a:lnTo>
                    <a:pt x="106" y="7"/>
                  </a:lnTo>
                  <a:lnTo>
                    <a:pt x="114" y="11"/>
                  </a:lnTo>
                  <a:lnTo>
                    <a:pt x="122" y="16"/>
                  </a:lnTo>
                  <a:lnTo>
                    <a:pt x="129" y="22"/>
                  </a:lnTo>
                  <a:lnTo>
                    <a:pt x="136" y="29"/>
                  </a:lnTo>
                  <a:lnTo>
                    <a:pt x="141" y="36"/>
                  </a:lnTo>
                  <a:lnTo>
                    <a:pt x="146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29" name="Freeform 5"/>
            <p:cNvSpPr>
              <a:spLocks noChangeArrowheads="1"/>
            </p:cNvSpPr>
            <p:nvPr/>
          </p:nvSpPr>
          <p:spPr bwMode="auto">
            <a:xfrm>
              <a:off x="4616450" y="1277827"/>
              <a:ext cx="1533525" cy="541348"/>
            </a:xfrm>
            <a:custGeom>
              <a:avLst/>
              <a:gdLst>
                <a:gd name="T0" fmla="*/ 260 w 3395"/>
                <a:gd name="T1" fmla="*/ 235 h 975"/>
                <a:gd name="T2" fmla="*/ 459 w 3395"/>
                <a:gd name="T3" fmla="*/ 201 h 975"/>
                <a:gd name="T4" fmla="*/ 808 w 3395"/>
                <a:gd name="T5" fmla="*/ 101 h 975"/>
                <a:gd name="T6" fmla="*/ 1163 w 3395"/>
                <a:gd name="T7" fmla="*/ 26 h 975"/>
                <a:gd name="T8" fmla="*/ 1392 w 3395"/>
                <a:gd name="T9" fmla="*/ 3 h 975"/>
                <a:gd name="T10" fmla="*/ 1649 w 3395"/>
                <a:gd name="T11" fmla="*/ 2 h 975"/>
                <a:gd name="T12" fmla="*/ 2024 w 3395"/>
                <a:gd name="T13" fmla="*/ 39 h 975"/>
                <a:gd name="T14" fmla="*/ 2439 w 3395"/>
                <a:gd name="T15" fmla="*/ 110 h 975"/>
                <a:gd name="T16" fmla="*/ 2739 w 3395"/>
                <a:gd name="T17" fmla="*/ 185 h 975"/>
                <a:gd name="T18" fmla="*/ 2990 w 3395"/>
                <a:gd name="T19" fmla="*/ 271 h 975"/>
                <a:gd name="T20" fmla="*/ 3198 w 3395"/>
                <a:gd name="T21" fmla="*/ 373 h 975"/>
                <a:gd name="T22" fmla="*/ 3333 w 3395"/>
                <a:gd name="T23" fmla="*/ 484 h 975"/>
                <a:gd name="T24" fmla="*/ 3376 w 3395"/>
                <a:gd name="T25" fmla="*/ 548 h 975"/>
                <a:gd name="T26" fmla="*/ 3394 w 3395"/>
                <a:gd name="T27" fmla="*/ 614 h 975"/>
                <a:gd name="T28" fmla="*/ 3393 w 3395"/>
                <a:gd name="T29" fmla="*/ 660 h 975"/>
                <a:gd name="T30" fmla="*/ 3379 w 3395"/>
                <a:gd name="T31" fmla="*/ 710 h 975"/>
                <a:gd name="T32" fmla="*/ 3340 w 3395"/>
                <a:gd name="T33" fmla="*/ 762 h 975"/>
                <a:gd name="T34" fmla="*/ 3223 w 3395"/>
                <a:gd name="T35" fmla="*/ 837 h 975"/>
                <a:gd name="T36" fmla="*/ 3008 w 3395"/>
                <a:gd name="T37" fmla="*/ 905 h 975"/>
                <a:gd name="T38" fmla="*/ 2753 w 3395"/>
                <a:gd name="T39" fmla="*/ 946 h 975"/>
                <a:gd name="T40" fmla="*/ 2445 w 3395"/>
                <a:gd name="T41" fmla="*/ 971 h 975"/>
                <a:gd name="T42" fmla="*/ 2081 w 3395"/>
                <a:gd name="T43" fmla="*/ 974 h 975"/>
                <a:gd name="T44" fmla="*/ 1647 w 3395"/>
                <a:gd name="T45" fmla="*/ 947 h 975"/>
                <a:gd name="T46" fmla="*/ 1179 w 3395"/>
                <a:gd name="T47" fmla="*/ 885 h 975"/>
                <a:gd name="T48" fmla="*/ 925 w 3395"/>
                <a:gd name="T49" fmla="*/ 836 h 975"/>
                <a:gd name="T50" fmla="*/ 628 w 3395"/>
                <a:gd name="T51" fmla="*/ 759 h 975"/>
                <a:gd name="T52" fmla="*/ 380 w 3395"/>
                <a:gd name="T53" fmla="*/ 672 h 975"/>
                <a:gd name="T54" fmla="*/ 173 w 3395"/>
                <a:gd name="T55" fmla="*/ 566 h 975"/>
                <a:gd name="T56" fmla="*/ 75 w 3395"/>
                <a:gd name="T57" fmla="*/ 485 h 975"/>
                <a:gd name="T58" fmla="*/ 26 w 3395"/>
                <a:gd name="T59" fmla="*/ 422 h 975"/>
                <a:gd name="T60" fmla="*/ 2 w 3395"/>
                <a:gd name="T61" fmla="*/ 356 h 975"/>
                <a:gd name="T62" fmla="*/ 1 w 3395"/>
                <a:gd name="T63" fmla="*/ 307 h 975"/>
                <a:gd name="T64" fmla="*/ 18 w 3395"/>
                <a:gd name="T65" fmla="*/ 259 h 975"/>
                <a:gd name="T66" fmla="*/ 57 w 3395"/>
                <a:gd name="T67" fmla="*/ 230 h 975"/>
                <a:gd name="T68" fmla="*/ 103 w 3395"/>
                <a:gd name="T69" fmla="*/ 226 h 975"/>
                <a:gd name="T70" fmla="*/ 457 w 3395"/>
                <a:gd name="T71" fmla="*/ 377 h 975"/>
                <a:gd name="T72" fmla="*/ 293 w 3395"/>
                <a:gd name="T73" fmla="*/ 405 h 975"/>
                <a:gd name="T74" fmla="*/ 381 w 3395"/>
                <a:gd name="T75" fmla="*/ 485 h 975"/>
                <a:gd name="T76" fmla="*/ 597 w 3395"/>
                <a:gd name="T77" fmla="*/ 569 h 975"/>
                <a:gd name="T78" fmla="*/ 865 w 3395"/>
                <a:gd name="T79" fmla="*/ 645 h 975"/>
                <a:gd name="T80" fmla="*/ 1137 w 3395"/>
                <a:gd name="T81" fmla="*/ 704 h 975"/>
                <a:gd name="T82" fmla="*/ 1586 w 3395"/>
                <a:gd name="T83" fmla="*/ 770 h 975"/>
                <a:gd name="T84" fmla="*/ 2014 w 3395"/>
                <a:gd name="T85" fmla="*/ 800 h 975"/>
                <a:gd name="T86" fmla="*/ 2382 w 3395"/>
                <a:gd name="T87" fmla="*/ 801 h 975"/>
                <a:gd name="T88" fmla="*/ 2683 w 3395"/>
                <a:gd name="T89" fmla="*/ 781 h 975"/>
                <a:gd name="T90" fmla="*/ 2935 w 3395"/>
                <a:gd name="T91" fmla="*/ 745 h 975"/>
                <a:gd name="T92" fmla="*/ 3167 w 3395"/>
                <a:gd name="T93" fmla="*/ 684 h 975"/>
                <a:gd name="T94" fmla="*/ 3220 w 3395"/>
                <a:gd name="T95" fmla="*/ 653 h 975"/>
                <a:gd name="T96" fmla="*/ 3224 w 3395"/>
                <a:gd name="T97" fmla="*/ 620 h 975"/>
                <a:gd name="T98" fmla="*/ 3183 w 3395"/>
                <a:gd name="T99" fmla="*/ 568 h 975"/>
                <a:gd name="T100" fmla="*/ 3068 w 3395"/>
                <a:gd name="T101" fmla="*/ 494 h 975"/>
                <a:gd name="T102" fmla="*/ 2852 w 3395"/>
                <a:gd name="T103" fmla="*/ 401 h 975"/>
                <a:gd name="T104" fmla="*/ 2598 w 3395"/>
                <a:gd name="T105" fmla="*/ 324 h 975"/>
                <a:gd name="T106" fmla="*/ 2284 w 3395"/>
                <a:gd name="T107" fmla="*/ 253 h 975"/>
                <a:gd name="T108" fmla="*/ 1850 w 3395"/>
                <a:gd name="T109" fmla="*/ 191 h 975"/>
                <a:gd name="T110" fmla="*/ 1558 w 3395"/>
                <a:gd name="T111" fmla="*/ 171 h 975"/>
                <a:gd name="T112" fmla="*/ 1325 w 3395"/>
                <a:gd name="T113" fmla="*/ 179 h 975"/>
                <a:gd name="T114" fmla="*/ 962 w 3395"/>
                <a:gd name="T115" fmla="*/ 23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95" h="975">
                  <a:moveTo>
                    <a:pt x="103" y="226"/>
                  </a:moveTo>
                  <a:lnTo>
                    <a:pt x="134" y="231"/>
                  </a:lnTo>
                  <a:lnTo>
                    <a:pt x="166" y="235"/>
                  </a:lnTo>
                  <a:lnTo>
                    <a:pt x="197" y="236"/>
                  </a:lnTo>
                  <a:lnTo>
                    <a:pt x="229" y="236"/>
                  </a:lnTo>
                  <a:lnTo>
                    <a:pt x="260" y="235"/>
                  </a:lnTo>
                  <a:lnTo>
                    <a:pt x="293" y="232"/>
                  </a:lnTo>
                  <a:lnTo>
                    <a:pt x="325" y="228"/>
                  </a:lnTo>
                  <a:lnTo>
                    <a:pt x="358" y="223"/>
                  </a:lnTo>
                  <a:lnTo>
                    <a:pt x="391" y="216"/>
                  </a:lnTo>
                  <a:lnTo>
                    <a:pt x="425" y="209"/>
                  </a:lnTo>
                  <a:lnTo>
                    <a:pt x="459" y="201"/>
                  </a:lnTo>
                  <a:lnTo>
                    <a:pt x="494" y="192"/>
                  </a:lnTo>
                  <a:lnTo>
                    <a:pt x="566" y="171"/>
                  </a:lnTo>
                  <a:lnTo>
                    <a:pt x="641" y="149"/>
                  </a:lnTo>
                  <a:lnTo>
                    <a:pt x="695" y="134"/>
                  </a:lnTo>
                  <a:lnTo>
                    <a:pt x="750" y="117"/>
                  </a:lnTo>
                  <a:lnTo>
                    <a:pt x="808" y="101"/>
                  </a:lnTo>
                  <a:lnTo>
                    <a:pt x="868" y="85"/>
                  </a:lnTo>
                  <a:lnTo>
                    <a:pt x="929" y="71"/>
                  </a:lnTo>
                  <a:lnTo>
                    <a:pt x="993" y="57"/>
                  </a:lnTo>
                  <a:lnTo>
                    <a:pt x="1059" y="43"/>
                  </a:lnTo>
                  <a:lnTo>
                    <a:pt x="1128" y="31"/>
                  </a:lnTo>
                  <a:lnTo>
                    <a:pt x="1163" y="26"/>
                  </a:lnTo>
                  <a:lnTo>
                    <a:pt x="1199" y="21"/>
                  </a:lnTo>
                  <a:lnTo>
                    <a:pt x="1236" y="16"/>
                  </a:lnTo>
                  <a:lnTo>
                    <a:pt x="1274" y="12"/>
                  </a:lnTo>
                  <a:lnTo>
                    <a:pt x="1313" y="8"/>
                  </a:lnTo>
                  <a:lnTo>
                    <a:pt x="1352" y="5"/>
                  </a:lnTo>
                  <a:lnTo>
                    <a:pt x="1392" y="3"/>
                  </a:lnTo>
                  <a:lnTo>
                    <a:pt x="1432" y="1"/>
                  </a:lnTo>
                  <a:lnTo>
                    <a:pt x="1474" y="0"/>
                  </a:lnTo>
                  <a:lnTo>
                    <a:pt x="1517" y="0"/>
                  </a:lnTo>
                  <a:lnTo>
                    <a:pt x="1560" y="0"/>
                  </a:lnTo>
                  <a:lnTo>
                    <a:pt x="1604" y="1"/>
                  </a:lnTo>
                  <a:lnTo>
                    <a:pt x="1649" y="2"/>
                  </a:lnTo>
                  <a:lnTo>
                    <a:pt x="1696" y="5"/>
                  </a:lnTo>
                  <a:lnTo>
                    <a:pt x="1742" y="8"/>
                  </a:lnTo>
                  <a:lnTo>
                    <a:pt x="1790" y="12"/>
                  </a:lnTo>
                  <a:lnTo>
                    <a:pt x="1870" y="21"/>
                  </a:lnTo>
                  <a:lnTo>
                    <a:pt x="1948" y="29"/>
                  </a:lnTo>
                  <a:lnTo>
                    <a:pt x="2024" y="39"/>
                  </a:lnTo>
                  <a:lnTo>
                    <a:pt x="2101" y="49"/>
                  </a:lnTo>
                  <a:lnTo>
                    <a:pt x="2174" y="61"/>
                  </a:lnTo>
                  <a:lnTo>
                    <a:pt x="2246" y="73"/>
                  </a:lnTo>
                  <a:lnTo>
                    <a:pt x="2316" y="85"/>
                  </a:lnTo>
                  <a:lnTo>
                    <a:pt x="2385" y="99"/>
                  </a:lnTo>
                  <a:lnTo>
                    <a:pt x="2439" y="110"/>
                  </a:lnTo>
                  <a:lnTo>
                    <a:pt x="2492" y="122"/>
                  </a:lnTo>
                  <a:lnTo>
                    <a:pt x="2543" y="134"/>
                  </a:lnTo>
                  <a:lnTo>
                    <a:pt x="2595" y="145"/>
                  </a:lnTo>
                  <a:lnTo>
                    <a:pt x="2644" y="159"/>
                  </a:lnTo>
                  <a:lnTo>
                    <a:pt x="2693" y="172"/>
                  </a:lnTo>
                  <a:lnTo>
                    <a:pt x="2739" y="185"/>
                  </a:lnTo>
                  <a:lnTo>
                    <a:pt x="2784" y="199"/>
                  </a:lnTo>
                  <a:lnTo>
                    <a:pt x="2829" y="212"/>
                  </a:lnTo>
                  <a:lnTo>
                    <a:pt x="2872" y="227"/>
                  </a:lnTo>
                  <a:lnTo>
                    <a:pt x="2913" y="241"/>
                  </a:lnTo>
                  <a:lnTo>
                    <a:pt x="2952" y="257"/>
                  </a:lnTo>
                  <a:lnTo>
                    <a:pt x="2990" y="271"/>
                  </a:lnTo>
                  <a:lnTo>
                    <a:pt x="3028" y="286"/>
                  </a:lnTo>
                  <a:lnTo>
                    <a:pt x="3063" y="302"/>
                  </a:lnTo>
                  <a:lnTo>
                    <a:pt x="3095" y="317"/>
                  </a:lnTo>
                  <a:lnTo>
                    <a:pt x="3132" y="335"/>
                  </a:lnTo>
                  <a:lnTo>
                    <a:pt x="3167" y="355"/>
                  </a:lnTo>
                  <a:lnTo>
                    <a:pt x="3198" y="373"/>
                  </a:lnTo>
                  <a:lnTo>
                    <a:pt x="3228" y="393"/>
                  </a:lnTo>
                  <a:lnTo>
                    <a:pt x="3255" y="412"/>
                  </a:lnTo>
                  <a:lnTo>
                    <a:pt x="3281" y="433"/>
                  </a:lnTo>
                  <a:lnTo>
                    <a:pt x="3304" y="453"/>
                  </a:lnTo>
                  <a:lnTo>
                    <a:pt x="3324" y="474"/>
                  </a:lnTo>
                  <a:lnTo>
                    <a:pt x="3333" y="484"/>
                  </a:lnTo>
                  <a:lnTo>
                    <a:pt x="3342" y="495"/>
                  </a:lnTo>
                  <a:lnTo>
                    <a:pt x="3350" y="505"/>
                  </a:lnTo>
                  <a:lnTo>
                    <a:pt x="3357" y="516"/>
                  </a:lnTo>
                  <a:lnTo>
                    <a:pt x="3364" y="527"/>
                  </a:lnTo>
                  <a:lnTo>
                    <a:pt x="3371" y="538"/>
                  </a:lnTo>
                  <a:lnTo>
                    <a:pt x="3376" y="548"/>
                  </a:lnTo>
                  <a:lnTo>
                    <a:pt x="3381" y="560"/>
                  </a:lnTo>
                  <a:lnTo>
                    <a:pt x="3385" y="570"/>
                  </a:lnTo>
                  <a:lnTo>
                    <a:pt x="3388" y="581"/>
                  </a:lnTo>
                  <a:lnTo>
                    <a:pt x="3391" y="593"/>
                  </a:lnTo>
                  <a:lnTo>
                    <a:pt x="3393" y="603"/>
                  </a:lnTo>
                  <a:lnTo>
                    <a:pt x="3394" y="614"/>
                  </a:lnTo>
                  <a:lnTo>
                    <a:pt x="3395" y="626"/>
                  </a:lnTo>
                  <a:lnTo>
                    <a:pt x="3395" y="637"/>
                  </a:lnTo>
                  <a:lnTo>
                    <a:pt x="3394" y="648"/>
                  </a:lnTo>
                  <a:lnTo>
                    <a:pt x="3394" y="652"/>
                  </a:lnTo>
                  <a:lnTo>
                    <a:pt x="3393" y="660"/>
                  </a:lnTo>
                  <a:lnTo>
                    <a:pt x="3392" y="666"/>
                  </a:lnTo>
                  <a:lnTo>
                    <a:pt x="3392" y="673"/>
                  </a:lnTo>
                  <a:lnTo>
                    <a:pt x="3389" y="682"/>
                  </a:lnTo>
                  <a:lnTo>
                    <a:pt x="3387" y="692"/>
                  </a:lnTo>
                  <a:lnTo>
                    <a:pt x="3383" y="701"/>
                  </a:lnTo>
                  <a:lnTo>
                    <a:pt x="3379" y="710"/>
                  </a:lnTo>
                  <a:lnTo>
                    <a:pt x="3375" y="719"/>
                  </a:lnTo>
                  <a:lnTo>
                    <a:pt x="3368" y="728"/>
                  </a:lnTo>
                  <a:lnTo>
                    <a:pt x="3362" y="737"/>
                  </a:lnTo>
                  <a:lnTo>
                    <a:pt x="3356" y="745"/>
                  </a:lnTo>
                  <a:lnTo>
                    <a:pt x="3348" y="753"/>
                  </a:lnTo>
                  <a:lnTo>
                    <a:pt x="3340" y="762"/>
                  </a:lnTo>
                  <a:lnTo>
                    <a:pt x="3331" y="770"/>
                  </a:lnTo>
                  <a:lnTo>
                    <a:pt x="3322" y="778"/>
                  </a:lnTo>
                  <a:lnTo>
                    <a:pt x="3300" y="794"/>
                  </a:lnTo>
                  <a:lnTo>
                    <a:pt x="3278" y="809"/>
                  </a:lnTo>
                  <a:lnTo>
                    <a:pt x="3251" y="824"/>
                  </a:lnTo>
                  <a:lnTo>
                    <a:pt x="3223" y="837"/>
                  </a:lnTo>
                  <a:lnTo>
                    <a:pt x="3192" y="850"/>
                  </a:lnTo>
                  <a:lnTo>
                    <a:pt x="3160" y="863"/>
                  </a:lnTo>
                  <a:lnTo>
                    <a:pt x="3124" y="874"/>
                  </a:lnTo>
                  <a:lnTo>
                    <a:pt x="3087" y="885"/>
                  </a:lnTo>
                  <a:lnTo>
                    <a:pt x="3048" y="896"/>
                  </a:lnTo>
                  <a:lnTo>
                    <a:pt x="3008" y="905"/>
                  </a:lnTo>
                  <a:lnTo>
                    <a:pt x="2969" y="913"/>
                  </a:lnTo>
                  <a:lnTo>
                    <a:pt x="2929" y="920"/>
                  </a:lnTo>
                  <a:lnTo>
                    <a:pt x="2887" y="928"/>
                  </a:lnTo>
                  <a:lnTo>
                    <a:pt x="2844" y="935"/>
                  </a:lnTo>
                  <a:lnTo>
                    <a:pt x="2799" y="941"/>
                  </a:lnTo>
                  <a:lnTo>
                    <a:pt x="2753" y="946"/>
                  </a:lnTo>
                  <a:lnTo>
                    <a:pt x="2704" y="951"/>
                  </a:lnTo>
                  <a:lnTo>
                    <a:pt x="2655" y="957"/>
                  </a:lnTo>
                  <a:lnTo>
                    <a:pt x="2604" y="961"/>
                  </a:lnTo>
                  <a:lnTo>
                    <a:pt x="2553" y="965"/>
                  </a:lnTo>
                  <a:lnTo>
                    <a:pt x="2499" y="968"/>
                  </a:lnTo>
                  <a:lnTo>
                    <a:pt x="2445" y="971"/>
                  </a:lnTo>
                  <a:lnTo>
                    <a:pt x="2389" y="973"/>
                  </a:lnTo>
                  <a:lnTo>
                    <a:pt x="2332" y="974"/>
                  </a:lnTo>
                  <a:lnTo>
                    <a:pt x="2275" y="975"/>
                  </a:lnTo>
                  <a:lnTo>
                    <a:pt x="2216" y="975"/>
                  </a:lnTo>
                  <a:lnTo>
                    <a:pt x="2149" y="975"/>
                  </a:lnTo>
                  <a:lnTo>
                    <a:pt x="2081" y="974"/>
                  </a:lnTo>
                  <a:lnTo>
                    <a:pt x="2011" y="972"/>
                  </a:lnTo>
                  <a:lnTo>
                    <a:pt x="1941" y="969"/>
                  </a:lnTo>
                  <a:lnTo>
                    <a:pt x="1869" y="965"/>
                  </a:lnTo>
                  <a:lnTo>
                    <a:pt x="1796" y="960"/>
                  </a:lnTo>
                  <a:lnTo>
                    <a:pt x="1721" y="954"/>
                  </a:lnTo>
                  <a:lnTo>
                    <a:pt x="1647" y="947"/>
                  </a:lnTo>
                  <a:lnTo>
                    <a:pt x="1566" y="939"/>
                  </a:lnTo>
                  <a:lnTo>
                    <a:pt x="1486" y="930"/>
                  </a:lnTo>
                  <a:lnTo>
                    <a:pt x="1406" y="920"/>
                  </a:lnTo>
                  <a:lnTo>
                    <a:pt x="1329" y="909"/>
                  </a:lnTo>
                  <a:lnTo>
                    <a:pt x="1253" y="898"/>
                  </a:lnTo>
                  <a:lnTo>
                    <a:pt x="1179" y="885"/>
                  </a:lnTo>
                  <a:lnTo>
                    <a:pt x="1106" y="872"/>
                  </a:lnTo>
                  <a:lnTo>
                    <a:pt x="1034" y="859"/>
                  </a:lnTo>
                  <a:lnTo>
                    <a:pt x="980" y="847"/>
                  </a:lnTo>
                  <a:lnTo>
                    <a:pt x="925" y="836"/>
                  </a:lnTo>
                  <a:lnTo>
                    <a:pt x="873" y="824"/>
                  </a:lnTo>
                  <a:lnTo>
                    <a:pt x="821" y="811"/>
                  </a:lnTo>
                  <a:lnTo>
                    <a:pt x="771" y="799"/>
                  </a:lnTo>
                  <a:lnTo>
                    <a:pt x="722" y="785"/>
                  </a:lnTo>
                  <a:lnTo>
                    <a:pt x="674" y="773"/>
                  </a:lnTo>
                  <a:lnTo>
                    <a:pt x="628" y="759"/>
                  </a:lnTo>
                  <a:lnTo>
                    <a:pt x="583" y="745"/>
                  </a:lnTo>
                  <a:lnTo>
                    <a:pt x="539" y="731"/>
                  </a:lnTo>
                  <a:lnTo>
                    <a:pt x="497" y="716"/>
                  </a:lnTo>
                  <a:lnTo>
                    <a:pt x="457" y="702"/>
                  </a:lnTo>
                  <a:lnTo>
                    <a:pt x="417" y="686"/>
                  </a:lnTo>
                  <a:lnTo>
                    <a:pt x="380" y="672"/>
                  </a:lnTo>
                  <a:lnTo>
                    <a:pt x="344" y="657"/>
                  </a:lnTo>
                  <a:lnTo>
                    <a:pt x="310" y="641"/>
                  </a:lnTo>
                  <a:lnTo>
                    <a:pt x="273" y="624"/>
                  </a:lnTo>
                  <a:lnTo>
                    <a:pt x="237" y="605"/>
                  </a:lnTo>
                  <a:lnTo>
                    <a:pt x="204" y="585"/>
                  </a:lnTo>
                  <a:lnTo>
                    <a:pt x="173" y="566"/>
                  </a:lnTo>
                  <a:lnTo>
                    <a:pt x="145" y="546"/>
                  </a:lnTo>
                  <a:lnTo>
                    <a:pt x="119" y="527"/>
                  </a:lnTo>
                  <a:lnTo>
                    <a:pt x="106" y="516"/>
                  </a:lnTo>
                  <a:lnTo>
                    <a:pt x="95" y="506"/>
                  </a:lnTo>
                  <a:lnTo>
                    <a:pt x="85" y="496"/>
                  </a:lnTo>
                  <a:lnTo>
                    <a:pt x="75" y="485"/>
                  </a:lnTo>
                  <a:lnTo>
                    <a:pt x="64" y="475"/>
                  </a:lnTo>
                  <a:lnTo>
                    <a:pt x="55" y="465"/>
                  </a:lnTo>
                  <a:lnTo>
                    <a:pt x="47" y="453"/>
                  </a:lnTo>
                  <a:lnTo>
                    <a:pt x="39" y="443"/>
                  </a:lnTo>
                  <a:lnTo>
                    <a:pt x="32" y="433"/>
                  </a:lnTo>
                  <a:lnTo>
                    <a:pt x="26" y="422"/>
                  </a:lnTo>
                  <a:lnTo>
                    <a:pt x="20" y="411"/>
                  </a:lnTo>
                  <a:lnTo>
                    <a:pt x="16" y="400"/>
                  </a:lnTo>
                  <a:lnTo>
                    <a:pt x="11" y="390"/>
                  </a:lnTo>
                  <a:lnTo>
                    <a:pt x="8" y="378"/>
                  </a:lnTo>
                  <a:lnTo>
                    <a:pt x="4" y="367"/>
                  </a:lnTo>
                  <a:lnTo>
                    <a:pt x="2" y="356"/>
                  </a:lnTo>
                  <a:lnTo>
                    <a:pt x="0" y="345"/>
                  </a:lnTo>
                  <a:lnTo>
                    <a:pt x="0" y="334"/>
                  </a:lnTo>
                  <a:lnTo>
                    <a:pt x="0" y="323"/>
                  </a:lnTo>
                  <a:lnTo>
                    <a:pt x="0" y="311"/>
                  </a:lnTo>
                  <a:lnTo>
                    <a:pt x="1" y="307"/>
                  </a:lnTo>
                  <a:lnTo>
                    <a:pt x="2" y="298"/>
                  </a:lnTo>
                  <a:lnTo>
                    <a:pt x="3" y="289"/>
                  </a:lnTo>
                  <a:lnTo>
                    <a:pt x="7" y="280"/>
                  </a:lnTo>
                  <a:lnTo>
                    <a:pt x="10" y="273"/>
                  </a:lnTo>
                  <a:lnTo>
                    <a:pt x="14" y="266"/>
                  </a:lnTo>
                  <a:lnTo>
                    <a:pt x="18" y="259"/>
                  </a:lnTo>
                  <a:lnTo>
                    <a:pt x="24" y="252"/>
                  </a:lnTo>
                  <a:lnTo>
                    <a:pt x="29" y="246"/>
                  </a:lnTo>
                  <a:lnTo>
                    <a:pt x="35" y="241"/>
                  </a:lnTo>
                  <a:lnTo>
                    <a:pt x="43" y="237"/>
                  </a:lnTo>
                  <a:lnTo>
                    <a:pt x="50" y="233"/>
                  </a:lnTo>
                  <a:lnTo>
                    <a:pt x="57" y="230"/>
                  </a:lnTo>
                  <a:lnTo>
                    <a:pt x="65" y="227"/>
                  </a:lnTo>
                  <a:lnTo>
                    <a:pt x="73" y="226"/>
                  </a:lnTo>
                  <a:lnTo>
                    <a:pt x="82" y="225"/>
                  </a:lnTo>
                  <a:lnTo>
                    <a:pt x="91" y="225"/>
                  </a:lnTo>
                  <a:lnTo>
                    <a:pt x="99" y="225"/>
                  </a:lnTo>
                  <a:lnTo>
                    <a:pt x="103" y="226"/>
                  </a:lnTo>
                  <a:close/>
                  <a:moveTo>
                    <a:pt x="689" y="313"/>
                  </a:moveTo>
                  <a:lnTo>
                    <a:pt x="629" y="331"/>
                  </a:lnTo>
                  <a:lnTo>
                    <a:pt x="570" y="348"/>
                  </a:lnTo>
                  <a:lnTo>
                    <a:pt x="513" y="364"/>
                  </a:lnTo>
                  <a:lnTo>
                    <a:pt x="457" y="377"/>
                  </a:lnTo>
                  <a:lnTo>
                    <a:pt x="429" y="383"/>
                  </a:lnTo>
                  <a:lnTo>
                    <a:pt x="402" y="389"/>
                  </a:lnTo>
                  <a:lnTo>
                    <a:pt x="374" y="394"/>
                  </a:lnTo>
                  <a:lnTo>
                    <a:pt x="347" y="398"/>
                  </a:lnTo>
                  <a:lnTo>
                    <a:pt x="320" y="402"/>
                  </a:lnTo>
                  <a:lnTo>
                    <a:pt x="293" y="405"/>
                  </a:lnTo>
                  <a:lnTo>
                    <a:pt x="266" y="407"/>
                  </a:lnTo>
                  <a:lnTo>
                    <a:pt x="239" y="408"/>
                  </a:lnTo>
                  <a:lnTo>
                    <a:pt x="268" y="427"/>
                  </a:lnTo>
                  <a:lnTo>
                    <a:pt x="302" y="445"/>
                  </a:lnTo>
                  <a:lnTo>
                    <a:pt x="339" y="465"/>
                  </a:lnTo>
                  <a:lnTo>
                    <a:pt x="381" y="485"/>
                  </a:lnTo>
                  <a:lnTo>
                    <a:pt x="413" y="500"/>
                  </a:lnTo>
                  <a:lnTo>
                    <a:pt x="447" y="514"/>
                  </a:lnTo>
                  <a:lnTo>
                    <a:pt x="482" y="529"/>
                  </a:lnTo>
                  <a:lnTo>
                    <a:pt x="518" y="542"/>
                  </a:lnTo>
                  <a:lnTo>
                    <a:pt x="558" y="556"/>
                  </a:lnTo>
                  <a:lnTo>
                    <a:pt x="597" y="569"/>
                  </a:lnTo>
                  <a:lnTo>
                    <a:pt x="638" y="582"/>
                  </a:lnTo>
                  <a:lnTo>
                    <a:pt x="681" y="596"/>
                  </a:lnTo>
                  <a:lnTo>
                    <a:pt x="724" y="608"/>
                  </a:lnTo>
                  <a:lnTo>
                    <a:pt x="770" y="622"/>
                  </a:lnTo>
                  <a:lnTo>
                    <a:pt x="817" y="634"/>
                  </a:lnTo>
                  <a:lnTo>
                    <a:pt x="865" y="645"/>
                  </a:lnTo>
                  <a:lnTo>
                    <a:pt x="914" y="658"/>
                  </a:lnTo>
                  <a:lnTo>
                    <a:pt x="963" y="669"/>
                  </a:lnTo>
                  <a:lnTo>
                    <a:pt x="1015" y="680"/>
                  </a:lnTo>
                  <a:lnTo>
                    <a:pt x="1067" y="691"/>
                  </a:lnTo>
                  <a:lnTo>
                    <a:pt x="1137" y="704"/>
                  </a:lnTo>
                  <a:lnTo>
                    <a:pt x="1210" y="716"/>
                  </a:lnTo>
                  <a:lnTo>
                    <a:pt x="1282" y="729"/>
                  </a:lnTo>
                  <a:lnTo>
                    <a:pt x="1356" y="740"/>
                  </a:lnTo>
                  <a:lnTo>
                    <a:pt x="1431" y="751"/>
                  </a:lnTo>
                  <a:lnTo>
                    <a:pt x="1508" y="761"/>
                  </a:lnTo>
                  <a:lnTo>
                    <a:pt x="1586" y="770"/>
                  </a:lnTo>
                  <a:lnTo>
                    <a:pt x="1664" y="777"/>
                  </a:lnTo>
                  <a:lnTo>
                    <a:pt x="1735" y="783"/>
                  </a:lnTo>
                  <a:lnTo>
                    <a:pt x="1805" y="790"/>
                  </a:lnTo>
                  <a:lnTo>
                    <a:pt x="1875" y="794"/>
                  </a:lnTo>
                  <a:lnTo>
                    <a:pt x="1945" y="798"/>
                  </a:lnTo>
                  <a:lnTo>
                    <a:pt x="2014" y="800"/>
                  </a:lnTo>
                  <a:lnTo>
                    <a:pt x="2082" y="802"/>
                  </a:lnTo>
                  <a:lnTo>
                    <a:pt x="2149" y="803"/>
                  </a:lnTo>
                  <a:lnTo>
                    <a:pt x="2216" y="804"/>
                  </a:lnTo>
                  <a:lnTo>
                    <a:pt x="2273" y="804"/>
                  </a:lnTo>
                  <a:lnTo>
                    <a:pt x="2327" y="803"/>
                  </a:lnTo>
                  <a:lnTo>
                    <a:pt x="2382" y="801"/>
                  </a:lnTo>
                  <a:lnTo>
                    <a:pt x="2435" y="799"/>
                  </a:lnTo>
                  <a:lnTo>
                    <a:pt x="2488" y="797"/>
                  </a:lnTo>
                  <a:lnTo>
                    <a:pt x="2538" y="794"/>
                  </a:lnTo>
                  <a:lnTo>
                    <a:pt x="2589" y="791"/>
                  </a:lnTo>
                  <a:lnTo>
                    <a:pt x="2637" y="786"/>
                  </a:lnTo>
                  <a:lnTo>
                    <a:pt x="2683" y="781"/>
                  </a:lnTo>
                  <a:lnTo>
                    <a:pt x="2730" y="776"/>
                  </a:lnTo>
                  <a:lnTo>
                    <a:pt x="2773" y="771"/>
                  </a:lnTo>
                  <a:lnTo>
                    <a:pt x="2816" y="765"/>
                  </a:lnTo>
                  <a:lnTo>
                    <a:pt x="2858" y="759"/>
                  </a:lnTo>
                  <a:lnTo>
                    <a:pt x="2897" y="752"/>
                  </a:lnTo>
                  <a:lnTo>
                    <a:pt x="2935" y="745"/>
                  </a:lnTo>
                  <a:lnTo>
                    <a:pt x="2971" y="738"/>
                  </a:lnTo>
                  <a:lnTo>
                    <a:pt x="3025" y="726"/>
                  </a:lnTo>
                  <a:lnTo>
                    <a:pt x="3074" y="713"/>
                  </a:lnTo>
                  <a:lnTo>
                    <a:pt x="3116" y="701"/>
                  </a:lnTo>
                  <a:lnTo>
                    <a:pt x="3151" y="690"/>
                  </a:lnTo>
                  <a:lnTo>
                    <a:pt x="3167" y="684"/>
                  </a:lnTo>
                  <a:lnTo>
                    <a:pt x="3180" y="679"/>
                  </a:lnTo>
                  <a:lnTo>
                    <a:pt x="3192" y="674"/>
                  </a:lnTo>
                  <a:lnTo>
                    <a:pt x="3202" y="669"/>
                  </a:lnTo>
                  <a:lnTo>
                    <a:pt x="3210" y="664"/>
                  </a:lnTo>
                  <a:lnTo>
                    <a:pt x="3216" y="659"/>
                  </a:lnTo>
                  <a:lnTo>
                    <a:pt x="3220" y="653"/>
                  </a:lnTo>
                  <a:lnTo>
                    <a:pt x="3222" y="649"/>
                  </a:lnTo>
                  <a:lnTo>
                    <a:pt x="3223" y="646"/>
                  </a:lnTo>
                  <a:lnTo>
                    <a:pt x="3223" y="642"/>
                  </a:lnTo>
                  <a:lnTo>
                    <a:pt x="3223" y="638"/>
                  </a:lnTo>
                  <a:lnTo>
                    <a:pt x="3225" y="628"/>
                  </a:lnTo>
                  <a:lnTo>
                    <a:pt x="3224" y="620"/>
                  </a:lnTo>
                  <a:lnTo>
                    <a:pt x="3221" y="612"/>
                  </a:lnTo>
                  <a:lnTo>
                    <a:pt x="3216" y="604"/>
                  </a:lnTo>
                  <a:lnTo>
                    <a:pt x="3211" y="596"/>
                  </a:lnTo>
                  <a:lnTo>
                    <a:pt x="3203" y="586"/>
                  </a:lnTo>
                  <a:lnTo>
                    <a:pt x="3193" y="577"/>
                  </a:lnTo>
                  <a:lnTo>
                    <a:pt x="3183" y="568"/>
                  </a:lnTo>
                  <a:lnTo>
                    <a:pt x="3171" y="558"/>
                  </a:lnTo>
                  <a:lnTo>
                    <a:pt x="3157" y="548"/>
                  </a:lnTo>
                  <a:lnTo>
                    <a:pt x="3142" y="538"/>
                  </a:lnTo>
                  <a:lnTo>
                    <a:pt x="3125" y="527"/>
                  </a:lnTo>
                  <a:lnTo>
                    <a:pt x="3107" y="516"/>
                  </a:lnTo>
                  <a:lnTo>
                    <a:pt x="3068" y="494"/>
                  </a:lnTo>
                  <a:lnTo>
                    <a:pt x="3022" y="471"/>
                  </a:lnTo>
                  <a:lnTo>
                    <a:pt x="2991" y="458"/>
                  </a:lnTo>
                  <a:lnTo>
                    <a:pt x="2959" y="443"/>
                  </a:lnTo>
                  <a:lnTo>
                    <a:pt x="2925" y="429"/>
                  </a:lnTo>
                  <a:lnTo>
                    <a:pt x="2889" y="415"/>
                  </a:lnTo>
                  <a:lnTo>
                    <a:pt x="2852" y="401"/>
                  </a:lnTo>
                  <a:lnTo>
                    <a:pt x="2813" y="387"/>
                  </a:lnTo>
                  <a:lnTo>
                    <a:pt x="2773" y="374"/>
                  </a:lnTo>
                  <a:lnTo>
                    <a:pt x="2732" y="362"/>
                  </a:lnTo>
                  <a:lnTo>
                    <a:pt x="2689" y="348"/>
                  </a:lnTo>
                  <a:lnTo>
                    <a:pt x="2644" y="336"/>
                  </a:lnTo>
                  <a:lnTo>
                    <a:pt x="2598" y="324"/>
                  </a:lnTo>
                  <a:lnTo>
                    <a:pt x="2552" y="311"/>
                  </a:lnTo>
                  <a:lnTo>
                    <a:pt x="2503" y="300"/>
                  </a:lnTo>
                  <a:lnTo>
                    <a:pt x="2454" y="289"/>
                  </a:lnTo>
                  <a:lnTo>
                    <a:pt x="2403" y="277"/>
                  </a:lnTo>
                  <a:lnTo>
                    <a:pt x="2351" y="267"/>
                  </a:lnTo>
                  <a:lnTo>
                    <a:pt x="2284" y="253"/>
                  </a:lnTo>
                  <a:lnTo>
                    <a:pt x="2215" y="241"/>
                  </a:lnTo>
                  <a:lnTo>
                    <a:pt x="2144" y="230"/>
                  </a:lnTo>
                  <a:lnTo>
                    <a:pt x="2073" y="218"/>
                  </a:lnTo>
                  <a:lnTo>
                    <a:pt x="2000" y="208"/>
                  </a:lnTo>
                  <a:lnTo>
                    <a:pt x="1925" y="199"/>
                  </a:lnTo>
                  <a:lnTo>
                    <a:pt x="1850" y="191"/>
                  </a:lnTo>
                  <a:lnTo>
                    <a:pt x="1774" y="182"/>
                  </a:lnTo>
                  <a:lnTo>
                    <a:pt x="1730" y="178"/>
                  </a:lnTo>
                  <a:lnTo>
                    <a:pt x="1685" y="175"/>
                  </a:lnTo>
                  <a:lnTo>
                    <a:pt x="1642" y="173"/>
                  </a:lnTo>
                  <a:lnTo>
                    <a:pt x="1600" y="172"/>
                  </a:lnTo>
                  <a:lnTo>
                    <a:pt x="1558" y="171"/>
                  </a:lnTo>
                  <a:lnTo>
                    <a:pt x="1518" y="171"/>
                  </a:lnTo>
                  <a:lnTo>
                    <a:pt x="1477" y="171"/>
                  </a:lnTo>
                  <a:lnTo>
                    <a:pt x="1438" y="172"/>
                  </a:lnTo>
                  <a:lnTo>
                    <a:pt x="1400" y="174"/>
                  </a:lnTo>
                  <a:lnTo>
                    <a:pt x="1362" y="176"/>
                  </a:lnTo>
                  <a:lnTo>
                    <a:pt x="1325" y="179"/>
                  </a:lnTo>
                  <a:lnTo>
                    <a:pt x="1289" y="182"/>
                  </a:lnTo>
                  <a:lnTo>
                    <a:pt x="1219" y="191"/>
                  </a:lnTo>
                  <a:lnTo>
                    <a:pt x="1151" y="201"/>
                  </a:lnTo>
                  <a:lnTo>
                    <a:pt x="1086" y="212"/>
                  </a:lnTo>
                  <a:lnTo>
                    <a:pt x="1023" y="225"/>
                  </a:lnTo>
                  <a:lnTo>
                    <a:pt x="962" y="239"/>
                  </a:lnTo>
                  <a:lnTo>
                    <a:pt x="905" y="253"/>
                  </a:lnTo>
                  <a:lnTo>
                    <a:pt x="848" y="268"/>
                  </a:lnTo>
                  <a:lnTo>
                    <a:pt x="793" y="283"/>
                  </a:lnTo>
                  <a:lnTo>
                    <a:pt x="741" y="299"/>
                  </a:lnTo>
                  <a:lnTo>
                    <a:pt x="689" y="31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0" name="Freeform 6"/>
            <p:cNvSpPr>
              <a:spLocks noChangeArrowheads="1"/>
            </p:cNvSpPr>
            <p:nvPr/>
          </p:nvSpPr>
          <p:spPr bwMode="auto">
            <a:xfrm>
              <a:off x="4660900" y="1331803"/>
              <a:ext cx="1446213" cy="442921"/>
            </a:xfrm>
            <a:custGeom>
              <a:avLst/>
              <a:gdLst>
                <a:gd name="T0" fmla="*/ 41 w 3225"/>
                <a:gd name="T1" fmla="*/ 231 h 805"/>
                <a:gd name="T2" fmla="*/ 120 w 3225"/>
                <a:gd name="T3" fmla="*/ 238 h 805"/>
                <a:gd name="T4" fmla="*/ 200 w 3225"/>
                <a:gd name="T5" fmla="*/ 234 h 805"/>
                <a:gd name="T6" fmla="*/ 280 w 3225"/>
                <a:gd name="T7" fmla="*/ 223 h 805"/>
                <a:gd name="T8" fmla="*/ 361 w 3225"/>
                <a:gd name="T9" fmla="*/ 207 h 805"/>
                <a:gd name="T10" fmla="*/ 447 w 3225"/>
                <a:gd name="T11" fmla="*/ 185 h 805"/>
                <a:gd name="T12" fmla="*/ 580 w 3225"/>
                <a:gd name="T13" fmla="*/ 147 h 805"/>
                <a:gd name="T14" fmla="*/ 724 w 3225"/>
                <a:gd name="T15" fmla="*/ 105 h 805"/>
                <a:gd name="T16" fmla="*/ 827 w 3225"/>
                <a:gd name="T17" fmla="*/ 78 h 805"/>
                <a:gd name="T18" fmla="*/ 937 w 3225"/>
                <a:gd name="T19" fmla="*/ 53 h 805"/>
                <a:gd name="T20" fmla="*/ 1055 w 3225"/>
                <a:gd name="T21" fmla="*/ 31 h 805"/>
                <a:gd name="T22" fmla="*/ 1180 w 3225"/>
                <a:gd name="T23" fmla="*/ 14 h 805"/>
                <a:gd name="T24" fmla="*/ 1315 w 3225"/>
                <a:gd name="T25" fmla="*/ 4 h 805"/>
                <a:gd name="T26" fmla="*/ 1460 w 3225"/>
                <a:gd name="T27" fmla="*/ 0 h 805"/>
                <a:gd name="T28" fmla="*/ 1615 w 3225"/>
                <a:gd name="T29" fmla="*/ 6 h 805"/>
                <a:gd name="T30" fmla="*/ 1780 w 3225"/>
                <a:gd name="T31" fmla="*/ 21 h 805"/>
                <a:gd name="T32" fmla="*/ 1941 w 3225"/>
                <a:gd name="T33" fmla="*/ 41 h 805"/>
                <a:gd name="T34" fmla="*/ 2097 w 3225"/>
                <a:gd name="T35" fmla="*/ 64 h 805"/>
                <a:gd name="T36" fmla="*/ 2245 w 3225"/>
                <a:gd name="T37" fmla="*/ 90 h 805"/>
                <a:gd name="T38" fmla="*/ 2386 w 3225"/>
                <a:gd name="T39" fmla="*/ 120 h 805"/>
                <a:gd name="T40" fmla="*/ 2519 w 3225"/>
                <a:gd name="T41" fmla="*/ 152 h 805"/>
                <a:gd name="T42" fmla="*/ 2643 w 3225"/>
                <a:gd name="T43" fmla="*/ 186 h 805"/>
                <a:gd name="T44" fmla="*/ 2757 w 3225"/>
                <a:gd name="T45" fmla="*/ 222 h 805"/>
                <a:gd name="T46" fmla="*/ 2860 w 3225"/>
                <a:gd name="T47" fmla="*/ 260 h 805"/>
                <a:gd name="T48" fmla="*/ 2952 w 3225"/>
                <a:gd name="T49" fmla="*/ 299 h 805"/>
                <a:gd name="T50" fmla="*/ 3032 w 3225"/>
                <a:gd name="T51" fmla="*/ 340 h 805"/>
                <a:gd name="T52" fmla="*/ 3099 w 3225"/>
                <a:gd name="T53" fmla="*/ 380 h 805"/>
                <a:gd name="T54" fmla="*/ 3153 w 3225"/>
                <a:gd name="T55" fmla="*/ 422 h 805"/>
                <a:gd name="T56" fmla="*/ 3192 w 3225"/>
                <a:gd name="T57" fmla="*/ 463 h 805"/>
                <a:gd name="T58" fmla="*/ 3216 w 3225"/>
                <a:gd name="T59" fmla="*/ 505 h 805"/>
                <a:gd name="T60" fmla="*/ 3225 w 3225"/>
                <a:gd name="T61" fmla="*/ 545 h 805"/>
                <a:gd name="T62" fmla="*/ 3221 w 3225"/>
                <a:gd name="T63" fmla="*/ 581 h 805"/>
                <a:gd name="T64" fmla="*/ 3203 w 3225"/>
                <a:gd name="T65" fmla="*/ 612 h 805"/>
                <a:gd name="T66" fmla="*/ 3169 w 3225"/>
                <a:gd name="T67" fmla="*/ 641 h 805"/>
                <a:gd name="T68" fmla="*/ 3120 w 3225"/>
                <a:gd name="T69" fmla="*/ 668 h 805"/>
                <a:gd name="T70" fmla="*/ 3056 w 3225"/>
                <a:gd name="T71" fmla="*/ 694 h 805"/>
                <a:gd name="T72" fmla="*/ 2979 w 3225"/>
                <a:gd name="T73" fmla="*/ 718 h 805"/>
                <a:gd name="T74" fmla="*/ 2888 w 3225"/>
                <a:gd name="T75" fmla="*/ 740 h 805"/>
                <a:gd name="T76" fmla="*/ 2786 w 3225"/>
                <a:gd name="T77" fmla="*/ 758 h 805"/>
                <a:gd name="T78" fmla="*/ 2673 w 3225"/>
                <a:gd name="T79" fmla="*/ 775 h 805"/>
                <a:gd name="T80" fmla="*/ 2549 w 3225"/>
                <a:gd name="T81" fmla="*/ 787 h 805"/>
                <a:gd name="T82" fmla="*/ 2417 w 3225"/>
                <a:gd name="T83" fmla="*/ 797 h 805"/>
                <a:gd name="T84" fmla="*/ 2277 w 3225"/>
                <a:gd name="T85" fmla="*/ 802 h 805"/>
                <a:gd name="T86" fmla="*/ 2130 w 3225"/>
                <a:gd name="T87" fmla="*/ 805 h 805"/>
                <a:gd name="T88" fmla="*/ 1975 w 3225"/>
                <a:gd name="T89" fmla="*/ 802 h 805"/>
                <a:gd name="T90" fmla="*/ 1817 w 3225"/>
                <a:gd name="T91" fmla="*/ 796 h 805"/>
                <a:gd name="T92" fmla="*/ 1653 w 3225"/>
                <a:gd name="T93" fmla="*/ 785 h 805"/>
                <a:gd name="T94" fmla="*/ 1487 w 3225"/>
                <a:gd name="T95" fmla="*/ 769 h 805"/>
                <a:gd name="T96" fmla="*/ 1324 w 3225"/>
                <a:gd name="T97" fmla="*/ 750 h 805"/>
                <a:gd name="T98" fmla="*/ 1168 w 3225"/>
                <a:gd name="T99" fmla="*/ 726 h 805"/>
                <a:gd name="T100" fmla="*/ 1016 w 3225"/>
                <a:gd name="T101" fmla="*/ 699 h 805"/>
                <a:gd name="T102" fmla="*/ 872 w 3225"/>
                <a:gd name="T103" fmla="*/ 671 h 805"/>
                <a:gd name="T104" fmla="*/ 736 w 3225"/>
                <a:gd name="T105" fmla="*/ 639 h 805"/>
                <a:gd name="T106" fmla="*/ 610 w 3225"/>
                <a:gd name="T107" fmla="*/ 604 h 805"/>
                <a:gd name="T108" fmla="*/ 491 w 3225"/>
                <a:gd name="T109" fmla="*/ 567 h 805"/>
                <a:gd name="T110" fmla="*/ 384 w 3225"/>
                <a:gd name="T111" fmla="*/ 530 h 805"/>
                <a:gd name="T112" fmla="*/ 288 w 3225"/>
                <a:gd name="T113" fmla="*/ 491 h 805"/>
                <a:gd name="T114" fmla="*/ 205 w 3225"/>
                <a:gd name="T115" fmla="*/ 451 h 805"/>
                <a:gd name="T116" fmla="*/ 134 w 3225"/>
                <a:gd name="T117" fmla="*/ 410 h 805"/>
                <a:gd name="T118" fmla="*/ 77 w 3225"/>
                <a:gd name="T119" fmla="*/ 368 h 805"/>
                <a:gd name="T120" fmla="*/ 36 w 3225"/>
                <a:gd name="T121" fmla="*/ 327 h 805"/>
                <a:gd name="T122" fmla="*/ 9 w 3225"/>
                <a:gd name="T123" fmla="*/ 286 h 805"/>
                <a:gd name="T124" fmla="*/ 0 w 3225"/>
                <a:gd name="T125" fmla="*/ 245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25" h="805">
                  <a:moveTo>
                    <a:pt x="2" y="225"/>
                  </a:moveTo>
                  <a:lnTo>
                    <a:pt x="41" y="231"/>
                  </a:lnTo>
                  <a:lnTo>
                    <a:pt x="81" y="235"/>
                  </a:lnTo>
                  <a:lnTo>
                    <a:pt x="120" y="238"/>
                  </a:lnTo>
                  <a:lnTo>
                    <a:pt x="159" y="237"/>
                  </a:lnTo>
                  <a:lnTo>
                    <a:pt x="200" y="234"/>
                  </a:lnTo>
                  <a:lnTo>
                    <a:pt x="240" y="229"/>
                  </a:lnTo>
                  <a:lnTo>
                    <a:pt x="280" y="223"/>
                  </a:lnTo>
                  <a:lnTo>
                    <a:pt x="320" y="216"/>
                  </a:lnTo>
                  <a:lnTo>
                    <a:pt x="361" y="207"/>
                  </a:lnTo>
                  <a:lnTo>
                    <a:pt x="404" y="196"/>
                  </a:lnTo>
                  <a:lnTo>
                    <a:pt x="447" y="185"/>
                  </a:lnTo>
                  <a:lnTo>
                    <a:pt x="490" y="173"/>
                  </a:lnTo>
                  <a:lnTo>
                    <a:pt x="580" y="147"/>
                  </a:lnTo>
                  <a:lnTo>
                    <a:pt x="674" y="119"/>
                  </a:lnTo>
                  <a:lnTo>
                    <a:pt x="724" y="105"/>
                  </a:lnTo>
                  <a:lnTo>
                    <a:pt x="775" y="91"/>
                  </a:lnTo>
                  <a:lnTo>
                    <a:pt x="827" y="78"/>
                  </a:lnTo>
                  <a:lnTo>
                    <a:pt x="881" y="64"/>
                  </a:lnTo>
                  <a:lnTo>
                    <a:pt x="937" y="53"/>
                  </a:lnTo>
                  <a:lnTo>
                    <a:pt x="995" y="41"/>
                  </a:lnTo>
                  <a:lnTo>
                    <a:pt x="1055" y="31"/>
                  </a:lnTo>
                  <a:lnTo>
                    <a:pt x="1116" y="22"/>
                  </a:lnTo>
                  <a:lnTo>
                    <a:pt x="1180" y="14"/>
                  </a:lnTo>
                  <a:lnTo>
                    <a:pt x="1246" y="8"/>
                  </a:lnTo>
                  <a:lnTo>
                    <a:pt x="1315" y="4"/>
                  </a:lnTo>
                  <a:lnTo>
                    <a:pt x="1386" y="0"/>
                  </a:lnTo>
                  <a:lnTo>
                    <a:pt x="1460" y="0"/>
                  </a:lnTo>
                  <a:lnTo>
                    <a:pt x="1537" y="1"/>
                  </a:lnTo>
                  <a:lnTo>
                    <a:pt x="1615" y="6"/>
                  </a:lnTo>
                  <a:lnTo>
                    <a:pt x="1697" y="13"/>
                  </a:lnTo>
                  <a:lnTo>
                    <a:pt x="1780" y="21"/>
                  </a:lnTo>
                  <a:lnTo>
                    <a:pt x="1862" y="30"/>
                  </a:lnTo>
                  <a:lnTo>
                    <a:pt x="1941" y="41"/>
                  </a:lnTo>
                  <a:lnTo>
                    <a:pt x="2020" y="52"/>
                  </a:lnTo>
                  <a:lnTo>
                    <a:pt x="2097" y="64"/>
                  </a:lnTo>
                  <a:lnTo>
                    <a:pt x="2172" y="77"/>
                  </a:lnTo>
                  <a:lnTo>
                    <a:pt x="2245" y="90"/>
                  </a:lnTo>
                  <a:lnTo>
                    <a:pt x="2317" y="105"/>
                  </a:lnTo>
                  <a:lnTo>
                    <a:pt x="2386" y="120"/>
                  </a:lnTo>
                  <a:lnTo>
                    <a:pt x="2454" y="136"/>
                  </a:lnTo>
                  <a:lnTo>
                    <a:pt x="2519" y="152"/>
                  </a:lnTo>
                  <a:lnTo>
                    <a:pt x="2582" y="168"/>
                  </a:lnTo>
                  <a:lnTo>
                    <a:pt x="2643" y="186"/>
                  </a:lnTo>
                  <a:lnTo>
                    <a:pt x="2701" y="204"/>
                  </a:lnTo>
                  <a:lnTo>
                    <a:pt x="2757" y="222"/>
                  </a:lnTo>
                  <a:lnTo>
                    <a:pt x="2810" y="241"/>
                  </a:lnTo>
                  <a:lnTo>
                    <a:pt x="2860" y="260"/>
                  </a:lnTo>
                  <a:lnTo>
                    <a:pt x="2907" y="280"/>
                  </a:lnTo>
                  <a:lnTo>
                    <a:pt x="2952" y="299"/>
                  </a:lnTo>
                  <a:lnTo>
                    <a:pt x="2994" y="319"/>
                  </a:lnTo>
                  <a:lnTo>
                    <a:pt x="3032" y="340"/>
                  </a:lnTo>
                  <a:lnTo>
                    <a:pt x="3067" y="359"/>
                  </a:lnTo>
                  <a:lnTo>
                    <a:pt x="3099" y="380"/>
                  </a:lnTo>
                  <a:lnTo>
                    <a:pt x="3128" y="400"/>
                  </a:lnTo>
                  <a:lnTo>
                    <a:pt x="3153" y="422"/>
                  </a:lnTo>
                  <a:lnTo>
                    <a:pt x="3174" y="443"/>
                  </a:lnTo>
                  <a:lnTo>
                    <a:pt x="3192" y="463"/>
                  </a:lnTo>
                  <a:lnTo>
                    <a:pt x="3206" y="484"/>
                  </a:lnTo>
                  <a:lnTo>
                    <a:pt x="3216" y="505"/>
                  </a:lnTo>
                  <a:lnTo>
                    <a:pt x="3223" y="525"/>
                  </a:lnTo>
                  <a:lnTo>
                    <a:pt x="3225" y="545"/>
                  </a:lnTo>
                  <a:lnTo>
                    <a:pt x="3223" y="565"/>
                  </a:lnTo>
                  <a:lnTo>
                    <a:pt x="3221" y="581"/>
                  </a:lnTo>
                  <a:lnTo>
                    <a:pt x="3214" y="596"/>
                  </a:lnTo>
                  <a:lnTo>
                    <a:pt x="3203" y="612"/>
                  </a:lnTo>
                  <a:lnTo>
                    <a:pt x="3189" y="626"/>
                  </a:lnTo>
                  <a:lnTo>
                    <a:pt x="3169" y="641"/>
                  </a:lnTo>
                  <a:lnTo>
                    <a:pt x="3146" y="655"/>
                  </a:lnTo>
                  <a:lnTo>
                    <a:pt x="3120" y="668"/>
                  </a:lnTo>
                  <a:lnTo>
                    <a:pt x="3090" y="682"/>
                  </a:lnTo>
                  <a:lnTo>
                    <a:pt x="3056" y="694"/>
                  </a:lnTo>
                  <a:lnTo>
                    <a:pt x="3019" y="707"/>
                  </a:lnTo>
                  <a:lnTo>
                    <a:pt x="2979" y="718"/>
                  </a:lnTo>
                  <a:lnTo>
                    <a:pt x="2934" y="729"/>
                  </a:lnTo>
                  <a:lnTo>
                    <a:pt x="2888" y="740"/>
                  </a:lnTo>
                  <a:lnTo>
                    <a:pt x="2838" y="750"/>
                  </a:lnTo>
                  <a:lnTo>
                    <a:pt x="2786" y="758"/>
                  </a:lnTo>
                  <a:lnTo>
                    <a:pt x="2730" y="766"/>
                  </a:lnTo>
                  <a:lnTo>
                    <a:pt x="2673" y="775"/>
                  </a:lnTo>
                  <a:lnTo>
                    <a:pt x="2612" y="782"/>
                  </a:lnTo>
                  <a:lnTo>
                    <a:pt x="2549" y="787"/>
                  </a:lnTo>
                  <a:lnTo>
                    <a:pt x="2484" y="792"/>
                  </a:lnTo>
                  <a:lnTo>
                    <a:pt x="2417" y="797"/>
                  </a:lnTo>
                  <a:lnTo>
                    <a:pt x="2348" y="800"/>
                  </a:lnTo>
                  <a:lnTo>
                    <a:pt x="2277" y="802"/>
                  </a:lnTo>
                  <a:lnTo>
                    <a:pt x="2204" y="805"/>
                  </a:lnTo>
                  <a:lnTo>
                    <a:pt x="2130" y="805"/>
                  </a:lnTo>
                  <a:lnTo>
                    <a:pt x="2054" y="805"/>
                  </a:lnTo>
                  <a:lnTo>
                    <a:pt x="1975" y="802"/>
                  </a:lnTo>
                  <a:lnTo>
                    <a:pt x="1897" y="799"/>
                  </a:lnTo>
                  <a:lnTo>
                    <a:pt x="1817" y="796"/>
                  </a:lnTo>
                  <a:lnTo>
                    <a:pt x="1735" y="791"/>
                  </a:lnTo>
                  <a:lnTo>
                    <a:pt x="1653" y="785"/>
                  </a:lnTo>
                  <a:lnTo>
                    <a:pt x="1571" y="778"/>
                  </a:lnTo>
                  <a:lnTo>
                    <a:pt x="1487" y="769"/>
                  </a:lnTo>
                  <a:lnTo>
                    <a:pt x="1406" y="759"/>
                  </a:lnTo>
                  <a:lnTo>
                    <a:pt x="1324" y="750"/>
                  </a:lnTo>
                  <a:lnTo>
                    <a:pt x="1246" y="739"/>
                  </a:lnTo>
                  <a:lnTo>
                    <a:pt x="1168" y="726"/>
                  </a:lnTo>
                  <a:lnTo>
                    <a:pt x="1092" y="713"/>
                  </a:lnTo>
                  <a:lnTo>
                    <a:pt x="1016" y="699"/>
                  </a:lnTo>
                  <a:lnTo>
                    <a:pt x="943" y="685"/>
                  </a:lnTo>
                  <a:lnTo>
                    <a:pt x="872" y="671"/>
                  </a:lnTo>
                  <a:lnTo>
                    <a:pt x="803" y="654"/>
                  </a:lnTo>
                  <a:lnTo>
                    <a:pt x="736" y="639"/>
                  </a:lnTo>
                  <a:lnTo>
                    <a:pt x="671" y="621"/>
                  </a:lnTo>
                  <a:lnTo>
                    <a:pt x="610" y="604"/>
                  </a:lnTo>
                  <a:lnTo>
                    <a:pt x="549" y="586"/>
                  </a:lnTo>
                  <a:lnTo>
                    <a:pt x="491" y="567"/>
                  </a:lnTo>
                  <a:lnTo>
                    <a:pt x="437" y="549"/>
                  </a:lnTo>
                  <a:lnTo>
                    <a:pt x="384" y="530"/>
                  </a:lnTo>
                  <a:lnTo>
                    <a:pt x="335" y="511"/>
                  </a:lnTo>
                  <a:lnTo>
                    <a:pt x="288" y="491"/>
                  </a:lnTo>
                  <a:lnTo>
                    <a:pt x="245" y="471"/>
                  </a:lnTo>
                  <a:lnTo>
                    <a:pt x="205" y="451"/>
                  </a:lnTo>
                  <a:lnTo>
                    <a:pt x="168" y="430"/>
                  </a:lnTo>
                  <a:lnTo>
                    <a:pt x="134" y="410"/>
                  </a:lnTo>
                  <a:lnTo>
                    <a:pt x="104" y="389"/>
                  </a:lnTo>
                  <a:lnTo>
                    <a:pt x="77" y="368"/>
                  </a:lnTo>
                  <a:lnTo>
                    <a:pt x="54" y="348"/>
                  </a:lnTo>
                  <a:lnTo>
                    <a:pt x="36" y="327"/>
                  </a:lnTo>
                  <a:lnTo>
                    <a:pt x="20" y="307"/>
                  </a:lnTo>
                  <a:lnTo>
                    <a:pt x="9" y="286"/>
                  </a:lnTo>
                  <a:lnTo>
                    <a:pt x="3" y="265"/>
                  </a:lnTo>
                  <a:lnTo>
                    <a:pt x="0" y="245"/>
                  </a:lnTo>
                  <a:lnTo>
                    <a:pt x="2" y="22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3" name="Freeform 9"/>
            <p:cNvSpPr>
              <a:spLocks noChangeArrowheads="1"/>
            </p:cNvSpPr>
            <p:nvPr/>
          </p:nvSpPr>
          <p:spPr bwMode="auto">
            <a:xfrm>
              <a:off x="6107113" y="2254160"/>
              <a:ext cx="1165225" cy="850918"/>
            </a:xfrm>
            <a:custGeom>
              <a:avLst/>
              <a:gdLst>
                <a:gd name="T0" fmla="*/ 1412 w 2590"/>
                <a:gd name="T1" fmla="*/ 452 h 1532"/>
                <a:gd name="T2" fmla="*/ 1369 w 2590"/>
                <a:gd name="T3" fmla="*/ 468 h 1532"/>
                <a:gd name="T4" fmla="*/ 1173 w 2590"/>
                <a:gd name="T5" fmla="*/ 471 h 1532"/>
                <a:gd name="T6" fmla="*/ 972 w 2590"/>
                <a:gd name="T7" fmla="*/ 487 h 1532"/>
                <a:gd name="T8" fmla="*/ 819 w 2590"/>
                <a:gd name="T9" fmla="*/ 512 h 1532"/>
                <a:gd name="T10" fmla="*/ 614 w 2590"/>
                <a:gd name="T11" fmla="*/ 543 h 1532"/>
                <a:gd name="T12" fmla="*/ 405 w 2590"/>
                <a:gd name="T13" fmla="*/ 602 h 1532"/>
                <a:gd name="T14" fmla="*/ 263 w 2590"/>
                <a:gd name="T15" fmla="*/ 667 h 1532"/>
                <a:gd name="T16" fmla="*/ 179 w 2590"/>
                <a:gd name="T17" fmla="*/ 729 h 1532"/>
                <a:gd name="T18" fmla="*/ 175 w 2590"/>
                <a:gd name="T19" fmla="*/ 764 h 1532"/>
                <a:gd name="T20" fmla="*/ 225 w 2590"/>
                <a:gd name="T21" fmla="*/ 783 h 1532"/>
                <a:gd name="T22" fmla="*/ 369 w 2590"/>
                <a:gd name="T23" fmla="*/ 812 h 1532"/>
                <a:gd name="T24" fmla="*/ 590 w 2590"/>
                <a:gd name="T25" fmla="*/ 824 h 1532"/>
                <a:gd name="T26" fmla="*/ 768 w 2590"/>
                <a:gd name="T27" fmla="*/ 818 h 1532"/>
                <a:gd name="T28" fmla="*/ 999 w 2590"/>
                <a:gd name="T29" fmla="*/ 779 h 1532"/>
                <a:gd name="T30" fmla="*/ 1194 w 2590"/>
                <a:gd name="T31" fmla="*/ 715 h 1532"/>
                <a:gd name="T32" fmla="*/ 1313 w 2590"/>
                <a:gd name="T33" fmla="*/ 653 h 1532"/>
                <a:gd name="T34" fmla="*/ 1349 w 2590"/>
                <a:gd name="T35" fmla="*/ 640 h 1532"/>
                <a:gd name="T36" fmla="*/ 1387 w 2590"/>
                <a:gd name="T37" fmla="*/ 643 h 1532"/>
                <a:gd name="T38" fmla="*/ 1420 w 2590"/>
                <a:gd name="T39" fmla="*/ 662 h 1532"/>
                <a:gd name="T40" fmla="*/ 2566 w 2590"/>
                <a:gd name="T41" fmla="*/ 962 h 1532"/>
                <a:gd name="T42" fmla="*/ 2585 w 2590"/>
                <a:gd name="T43" fmla="*/ 993 h 1532"/>
                <a:gd name="T44" fmla="*/ 2589 w 2590"/>
                <a:gd name="T45" fmla="*/ 1033 h 1532"/>
                <a:gd name="T46" fmla="*/ 2574 w 2590"/>
                <a:gd name="T47" fmla="*/ 1071 h 1532"/>
                <a:gd name="T48" fmla="*/ 2082 w 2590"/>
                <a:gd name="T49" fmla="*/ 1520 h 1532"/>
                <a:gd name="T50" fmla="*/ 2043 w 2590"/>
                <a:gd name="T51" fmla="*/ 1532 h 1532"/>
                <a:gd name="T52" fmla="*/ 2004 w 2590"/>
                <a:gd name="T53" fmla="*/ 1525 h 1532"/>
                <a:gd name="T54" fmla="*/ 1345 w 2590"/>
                <a:gd name="T55" fmla="*/ 832 h 1532"/>
                <a:gd name="T56" fmla="*/ 1219 w 2590"/>
                <a:gd name="T57" fmla="*/ 889 h 1532"/>
                <a:gd name="T58" fmla="*/ 1030 w 2590"/>
                <a:gd name="T59" fmla="*/ 948 h 1532"/>
                <a:gd name="T60" fmla="*/ 909 w 2590"/>
                <a:gd name="T61" fmla="*/ 978 h 1532"/>
                <a:gd name="T62" fmla="*/ 740 w 2590"/>
                <a:gd name="T63" fmla="*/ 991 h 1532"/>
                <a:gd name="T64" fmla="*/ 536 w 2590"/>
                <a:gd name="T65" fmla="*/ 995 h 1532"/>
                <a:gd name="T66" fmla="*/ 300 w 2590"/>
                <a:gd name="T67" fmla="*/ 976 h 1532"/>
                <a:gd name="T68" fmla="*/ 173 w 2590"/>
                <a:gd name="T69" fmla="*/ 946 h 1532"/>
                <a:gd name="T70" fmla="*/ 83 w 2590"/>
                <a:gd name="T71" fmla="*/ 902 h 1532"/>
                <a:gd name="T72" fmla="*/ 26 w 2590"/>
                <a:gd name="T73" fmla="*/ 845 h 1532"/>
                <a:gd name="T74" fmla="*/ 5 w 2590"/>
                <a:gd name="T75" fmla="*/ 783 h 1532"/>
                <a:gd name="T76" fmla="*/ 1 w 2590"/>
                <a:gd name="T77" fmla="*/ 759 h 1532"/>
                <a:gd name="T78" fmla="*/ 9 w 2590"/>
                <a:gd name="T79" fmla="*/ 692 h 1532"/>
                <a:gd name="T80" fmla="*/ 44 w 2590"/>
                <a:gd name="T81" fmla="*/ 628 h 1532"/>
                <a:gd name="T82" fmla="*/ 105 w 2590"/>
                <a:gd name="T83" fmla="*/ 567 h 1532"/>
                <a:gd name="T84" fmla="*/ 236 w 2590"/>
                <a:gd name="T85" fmla="*/ 488 h 1532"/>
                <a:gd name="T86" fmla="*/ 432 w 2590"/>
                <a:gd name="T87" fmla="*/ 414 h 1532"/>
                <a:gd name="T88" fmla="*/ 683 w 2590"/>
                <a:gd name="T89" fmla="*/ 356 h 1532"/>
                <a:gd name="T90" fmla="*/ 905 w 2590"/>
                <a:gd name="T91" fmla="*/ 323 h 1532"/>
                <a:gd name="T92" fmla="*/ 1200 w 2590"/>
                <a:gd name="T93" fmla="*/ 299 h 1532"/>
                <a:gd name="T94" fmla="*/ 1556 w 2590"/>
                <a:gd name="T95" fmla="*/ 24 h 1532"/>
                <a:gd name="T96" fmla="*/ 1592 w 2590"/>
                <a:gd name="T97" fmla="*/ 3 h 1532"/>
                <a:gd name="T98" fmla="*/ 1633 w 2590"/>
                <a:gd name="T99" fmla="*/ 2 h 1532"/>
                <a:gd name="T100" fmla="*/ 1670 w 2590"/>
                <a:gd name="T101" fmla="*/ 21 h 1532"/>
                <a:gd name="T102" fmla="*/ 287 w 2590"/>
                <a:gd name="T103" fmla="*/ 805 h 1532"/>
                <a:gd name="T104" fmla="*/ 313 w 2590"/>
                <a:gd name="T105" fmla="*/ 834 h 1532"/>
                <a:gd name="T106" fmla="*/ 323 w 2590"/>
                <a:gd name="T107" fmla="*/ 87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0" h="1532">
                  <a:moveTo>
                    <a:pt x="2383" y="1017"/>
                  </a:moveTo>
                  <a:lnTo>
                    <a:pt x="1618" y="214"/>
                  </a:lnTo>
                  <a:lnTo>
                    <a:pt x="1425" y="440"/>
                  </a:lnTo>
                  <a:lnTo>
                    <a:pt x="1419" y="447"/>
                  </a:lnTo>
                  <a:lnTo>
                    <a:pt x="1412" y="452"/>
                  </a:lnTo>
                  <a:lnTo>
                    <a:pt x="1403" y="457"/>
                  </a:lnTo>
                  <a:lnTo>
                    <a:pt x="1395" y="461"/>
                  </a:lnTo>
                  <a:lnTo>
                    <a:pt x="1387" y="465"/>
                  </a:lnTo>
                  <a:lnTo>
                    <a:pt x="1379" y="467"/>
                  </a:lnTo>
                  <a:lnTo>
                    <a:pt x="1369" y="468"/>
                  </a:lnTo>
                  <a:lnTo>
                    <a:pt x="1360" y="469"/>
                  </a:lnTo>
                  <a:lnTo>
                    <a:pt x="1298" y="469"/>
                  </a:lnTo>
                  <a:lnTo>
                    <a:pt x="1236" y="470"/>
                  </a:lnTo>
                  <a:lnTo>
                    <a:pt x="1173" y="471"/>
                  </a:lnTo>
                  <a:lnTo>
                    <a:pt x="1108" y="475"/>
                  </a:lnTo>
                  <a:lnTo>
                    <a:pt x="1075" y="477"/>
                  </a:lnTo>
                  <a:lnTo>
                    <a:pt x="1041" y="480"/>
                  </a:lnTo>
                  <a:lnTo>
                    <a:pt x="1007" y="483"/>
                  </a:lnTo>
                  <a:lnTo>
                    <a:pt x="972" y="487"/>
                  </a:lnTo>
                  <a:lnTo>
                    <a:pt x="937" y="491"/>
                  </a:lnTo>
                  <a:lnTo>
                    <a:pt x="901" y="497"/>
                  </a:lnTo>
                  <a:lnTo>
                    <a:pt x="864" y="503"/>
                  </a:lnTo>
                  <a:lnTo>
                    <a:pt x="827" y="511"/>
                  </a:lnTo>
                  <a:lnTo>
                    <a:pt x="819" y="512"/>
                  </a:lnTo>
                  <a:lnTo>
                    <a:pt x="812" y="512"/>
                  </a:lnTo>
                  <a:lnTo>
                    <a:pt x="761" y="518"/>
                  </a:lnTo>
                  <a:lnTo>
                    <a:pt x="711" y="525"/>
                  </a:lnTo>
                  <a:lnTo>
                    <a:pt x="662" y="533"/>
                  </a:lnTo>
                  <a:lnTo>
                    <a:pt x="614" y="543"/>
                  </a:lnTo>
                  <a:lnTo>
                    <a:pt x="568" y="554"/>
                  </a:lnTo>
                  <a:lnTo>
                    <a:pt x="524" y="564"/>
                  </a:lnTo>
                  <a:lnTo>
                    <a:pt x="481" y="577"/>
                  </a:lnTo>
                  <a:lnTo>
                    <a:pt x="440" y="590"/>
                  </a:lnTo>
                  <a:lnTo>
                    <a:pt x="405" y="602"/>
                  </a:lnTo>
                  <a:lnTo>
                    <a:pt x="373" y="614"/>
                  </a:lnTo>
                  <a:lnTo>
                    <a:pt x="343" y="627"/>
                  </a:lnTo>
                  <a:lnTo>
                    <a:pt x="314" y="640"/>
                  </a:lnTo>
                  <a:lnTo>
                    <a:pt x="287" y="653"/>
                  </a:lnTo>
                  <a:lnTo>
                    <a:pt x="263" y="667"/>
                  </a:lnTo>
                  <a:lnTo>
                    <a:pt x="241" y="681"/>
                  </a:lnTo>
                  <a:lnTo>
                    <a:pt x="220" y="694"/>
                  </a:lnTo>
                  <a:lnTo>
                    <a:pt x="199" y="711"/>
                  </a:lnTo>
                  <a:lnTo>
                    <a:pt x="184" y="723"/>
                  </a:lnTo>
                  <a:lnTo>
                    <a:pt x="179" y="729"/>
                  </a:lnTo>
                  <a:lnTo>
                    <a:pt x="175" y="734"/>
                  </a:lnTo>
                  <a:lnTo>
                    <a:pt x="172" y="738"/>
                  </a:lnTo>
                  <a:lnTo>
                    <a:pt x="171" y="742"/>
                  </a:lnTo>
                  <a:lnTo>
                    <a:pt x="174" y="753"/>
                  </a:lnTo>
                  <a:lnTo>
                    <a:pt x="175" y="764"/>
                  </a:lnTo>
                  <a:lnTo>
                    <a:pt x="177" y="766"/>
                  </a:lnTo>
                  <a:lnTo>
                    <a:pt x="182" y="769"/>
                  </a:lnTo>
                  <a:lnTo>
                    <a:pt x="189" y="773"/>
                  </a:lnTo>
                  <a:lnTo>
                    <a:pt x="199" y="776"/>
                  </a:lnTo>
                  <a:lnTo>
                    <a:pt x="225" y="783"/>
                  </a:lnTo>
                  <a:lnTo>
                    <a:pt x="259" y="792"/>
                  </a:lnTo>
                  <a:lnTo>
                    <a:pt x="265" y="794"/>
                  </a:lnTo>
                  <a:lnTo>
                    <a:pt x="297" y="801"/>
                  </a:lnTo>
                  <a:lnTo>
                    <a:pt x="331" y="808"/>
                  </a:lnTo>
                  <a:lnTo>
                    <a:pt x="369" y="812"/>
                  </a:lnTo>
                  <a:lnTo>
                    <a:pt x="408" y="816"/>
                  </a:lnTo>
                  <a:lnTo>
                    <a:pt x="451" y="820"/>
                  </a:lnTo>
                  <a:lnTo>
                    <a:pt x="495" y="822"/>
                  </a:lnTo>
                  <a:lnTo>
                    <a:pt x="541" y="823"/>
                  </a:lnTo>
                  <a:lnTo>
                    <a:pt x="590" y="824"/>
                  </a:lnTo>
                  <a:lnTo>
                    <a:pt x="624" y="824"/>
                  </a:lnTo>
                  <a:lnTo>
                    <a:pt x="660" y="823"/>
                  </a:lnTo>
                  <a:lnTo>
                    <a:pt x="695" y="822"/>
                  </a:lnTo>
                  <a:lnTo>
                    <a:pt x="732" y="820"/>
                  </a:lnTo>
                  <a:lnTo>
                    <a:pt x="768" y="818"/>
                  </a:lnTo>
                  <a:lnTo>
                    <a:pt x="805" y="816"/>
                  </a:lnTo>
                  <a:lnTo>
                    <a:pt x="842" y="813"/>
                  </a:lnTo>
                  <a:lnTo>
                    <a:pt x="879" y="809"/>
                  </a:lnTo>
                  <a:lnTo>
                    <a:pt x="939" y="794"/>
                  </a:lnTo>
                  <a:lnTo>
                    <a:pt x="999" y="779"/>
                  </a:lnTo>
                  <a:lnTo>
                    <a:pt x="1057" y="762"/>
                  </a:lnTo>
                  <a:lnTo>
                    <a:pt x="1114" y="745"/>
                  </a:lnTo>
                  <a:lnTo>
                    <a:pt x="1142" y="734"/>
                  </a:lnTo>
                  <a:lnTo>
                    <a:pt x="1169" y="725"/>
                  </a:lnTo>
                  <a:lnTo>
                    <a:pt x="1194" y="715"/>
                  </a:lnTo>
                  <a:lnTo>
                    <a:pt x="1220" y="703"/>
                  </a:lnTo>
                  <a:lnTo>
                    <a:pt x="1245" y="692"/>
                  </a:lnTo>
                  <a:lnTo>
                    <a:pt x="1269" y="680"/>
                  </a:lnTo>
                  <a:lnTo>
                    <a:pt x="1291" y="666"/>
                  </a:lnTo>
                  <a:lnTo>
                    <a:pt x="1313" y="653"/>
                  </a:lnTo>
                  <a:lnTo>
                    <a:pt x="1320" y="649"/>
                  </a:lnTo>
                  <a:lnTo>
                    <a:pt x="1327" y="645"/>
                  </a:lnTo>
                  <a:lnTo>
                    <a:pt x="1334" y="643"/>
                  </a:lnTo>
                  <a:lnTo>
                    <a:pt x="1342" y="641"/>
                  </a:lnTo>
                  <a:lnTo>
                    <a:pt x="1349" y="640"/>
                  </a:lnTo>
                  <a:lnTo>
                    <a:pt x="1357" y="638"/>
                  </a:lnTo>
                  <a:lnTo>
                    <a:pt x="1364" y="638"/>
                  </a:lnTo>
                  <a:lnTo>
                    <a:pt x="1373" y="640"/>
                  </a:lnTo>
                  <a:lnTo>
                    <a:pt x="1380" y="641"/>
                  </a:lnTo>
                  <a:lnTo>
                    <a:pt x="1387" y="643"/>
                  </a:lnTo>
                  <a:lnTo>
                    <a:pt x="1394" y="646"/>
                  </a:lnTo>
                  <a:lnTo>
                    <a:pt x="1401" y="649"/>
                  </a:lnTo>
                  <a:lnTo>
                    <a:pt x="1408" y="653"/>
                  </a:lnTo>
                  <a:lnTo>
                    <a:pt x="1414" y="657"/>
                  </a:lnTo>
                  <a:lnTo>
                    <a:pt x="1420" y="662"/>
                  </a:lnTo>
                  <a:lnTo>
                    <a:pt x="1425" y="667"/>
                  </a:lnTo>
                  <a:lnTo>
                    <a:pt x="2043" y="1326"/>
                  </a:lnTo>
                  <a:lnTo>
                    <a:pt x="2383" y="1017"/>
                  </a:lnTo>
                  <a:close/>
                  <a:moveTo>
                    <a:pt x="1676" y="27"/>
                  </a:moveTo>
                  <a:lnTo>
                    <a:pt x="2566" y="962"/>
                  </a:lnTo>
                  <a:lnTo>
                    <a:pt x="2568" y="963"/>
                  </a:lnTo>
                  <a:lnTo>
                    <a:pt x="2574" y="970"/>
                  </a:lnTo>
                  <a:lnTo>
                    <a:pt x="2578" y="978"/>
                  </a:lnTo>
                  <a:lnTo>
                    <a:pt x="2582" y="985"/>
                  </a:lnTo>
                  <a:lnTo>
                    <a:pt x="2585" y="993"/>
                  </a:lnTo>
                  <a:lnTo>
                    <a:pt x="2588" y="1001"/>
                  </a:lnTo>
                  <a:lnTo>
                    <a:pt x="2589" y="1009"/>
                  </a:lnTo>
                  <a:lnTo>
                    <a:pt x="2590" y="1017"/>
                  </a:lnTo>
                  <a:lnTo>
                    <a:pt x="2590" y="1025"/>
                  </a:lnTo>
                  <a:lnTo>
                    <a:pt x="2589" y="1033"/>
                  </a:lnTo>
                  <a:lnTo>
                    <a:pt x="2588" y="1042"/>
                  </a:lnTo>
                  <a:lnTo>
                    <a:pt x="2585" y="1050"/>
                  </a:lnTo>
                  <a:lnTo>
                    <a:pt x="2582" y="1057"/>
                  </a:lnTo>
                  <a:lnTo>
                    <a:pt x="2579" y="1065"/>
                  </a:lnTo>
                  <a:lnTo>
                    <a:pt x="2574" y="1071"/>
                  </a:lnTo>
                  <a:lnTo>
                    <a:pt x="2568" y="1079"/>
                  </a:lnTo>
                  <a:lnTo>
                    <a:pt x="2562" y="1085"/>
                  </a:lnTo>
                  <a:lnTo>
                    <a:pt x="2096" y="1510"/>
                  </a:lnTo>
                  <a:lnTo>
                    <a:pt x="2089" y="1516"/>
                  </a:lnTo>
                  <a:lnTo>
                    <a:pt x="2082" y="1520"/>
                  </a:lnTo>
                  <a:lnTo>
                    <a:pt x="2075" y="1524"/>
                  </a:lnTo>
                  <a:lnTo>
                    <a:pt x="2067" y="1527"/>
                  </a:lnTo>
                  <a:lnTo>
                    <a:pt x="2060" y="1529"/>
                  </a:lnTo>
                  <a:lnTo>
                    <a:pt x="2051" y="1531"/>
                  </a:lnTo>
                  <a:lnTo>
                    <a:pt x="2043" y="1532"/>
                  </a:lnTo>
                  <a:lnTo>
                    <a:pt x="2035" y="1532"/>
                  </a:lnTo>
                  <a:lnTo>
                    <a:pt x="2028" y="1531"/>
                  </a:lnTo>
                  <a:lnTo>
                    <a:pt x="2019" y="1530"/>
                  </a:lnTo>
                  <a:lnTo>
                    <a:pt x="2011" y="1528"/>
                  </a:lnTo>
                  <a:lnTo>
                    <a:pt x="2004" y="1525"/>
                  </a:lnTo>
                  <a:lnTo>
                    <a:pt x="1996" y="1521"/>
                  </a:lnTo>
                  <a:lnTo>
                    <a:pt x="1990" y="1517"/>
                  </a:lnTo>
                  <a:lnTo>
                    <a:pt x="1982" y="1512"/>
                  </a:lnTo>
                  <a:lnTo>
                    <a:pt x="1976" y="1505"/>
                  </a:lnTo>
                  <a:lnTo>
                    <a:pt x="1345" y="832"/>
                  </a:lnTo>
                  <a:lnTo>
                    <a:pt x="1321" y="845"/>
                  </a:lnTo>
                  <a:lnTo>
                    <a:pt x="1296" y="857"/>
                  </a:lnTo>
                  <a:lnTo>
                    <a:pt x="1272" y="868"/>
                  </a:lnTo>
                  <a:lnTo>
                    <a:pt x="1246" y="879"/>
                  </a:lnTo>
                  <a:lnTo>
                    <a:pt x="1219" y="889"/>
                  </a:lnTo>
                  <a:lnTo>
                    <a:pt x="1193" y="898"/>
                  </a:lnTo>
                  <a:lnTo>
                    <a:pt x="1167" y="908"/>
                  </a:lnTo>
                  <a:lnTo>
                    <a:pt x="1140" y="916"/>
                  </a:lnTo>
                  <a:lnTo>
                    <a:pt x="1085" y="932"/>
                  </a:lnTo>
                  <a:lnTo>
                    <a:pt x="1030" y="948"/>
                  </a:lnTo>
                  <a:lnTo>
                    <a:pt x="973" y="962"/>
                  </a:lnTo>
                  <a:lnTo>
                    <a:pt x="917" y="977"/>
                  </a:lnTo>
                  <a:lnTo>
                    <a:pt x="915" y="977"/>
                  </a:lnTo>
                  <a:lnTo>
                    <a:pt x="909" y="978"/>
                  </a:lnTo>
                  <a:lnTo>
                    <a:pt x="903" y="979"/>
                  </a:lnTo>
                  <a:lnTo>
                    <a:pt x="862" y="983"/>
                  </a:lnTo>
                  <a:lnTo>
                    <a:pt x="820" y="986"/>
                  </a:lnTo>
                  <a:lnTo>
                    <a:pt x="780" y="989"/>
                  </a:lnTo>
                  <a:lnTo>
                    <a:pt x="740" y="991"/>
                  </a:lnTo>
                  <a:lnTo>
                    <a:pt x="702" y="993"/>
                  </a:lnTo>
                  <a:lnTo>
                    <a:pt x="663" y="994"/>
                  </a:lnTo>
                  <a:lnTo>
                    <a:pt x="626" y="995"/>
                  </a:lnTo>
                  <a:lnTo>
                    <a:pt x="590" y="995"/>
                  </a:lnTo>
                  <a:lnTo>
                    <a:pt x="536" y="995"/>
                  </a:lnTo>
                  <a:lnTo>
                    <a:pt x="486" y="993"/>
                  </a:lnTo>
                  <a:lnTo>
                    <a:pt x="436" y="990"/>
                  </a:lnTo>
                  <a:lnTo>
                    <a:pt x="389" y="987"/>
                  </a:lnTo>
                  <a:lnTo>
                    <a:pt x="344" y="982"/>
                  </a:lnTo>
                  <a:lnTo>
                    <a:pt x="300" y="976"/>
                  </a:lnTo>
                  <a:lnTo>
                    <a:pt x="260" y="968"/>
                  </a:lnTo>
                  <a:lnTo>
                    <a:pt x="223" y="959"/>
                  </a:lnTo>
                  <a:lnTo>
                    <a:pt x="217" y="958"/>
                  </a:lnTo>
                  <a:lnTo>
                    <a:pt x="194" y="952"/>
                  </a:lnTo>
                  <a:lnTo>
                    <a:pt x="173" y="946"/>
                  </a:lnTo>
                  <a:lnTo>
                    <a:pt x="153" y="938"/>
                  </a:lnTo>
                  <a:lnTo>
                    <a:pt x="133" y="930"/>
                  </a:lnTo>
                  <a:lnTo>
                    <a:pt x="116" y="922"/>
                  </a:lnTo>
                  <a:lnTo>
                    <a:pt x="99" y="913"/>
                  </a:lnTo>
                  <a:lnTo>
                    <a:pt x="83" y="902"/>
                  </a:lnTo>
                  <a:lnTo>
                    <a:pt x="70" y="892"/>
                  </a:lnTo>
                  <a:lnTo>
                    <a:pt x="56" y="881"/>
                  </a:lnTo>
                  <a:lnTo>
                    <a:pt x="45" y="869"/>
                  </a:lnTo>
                  <a:lnTo>
                    <a:pt x="35" y="857"/>
                  </a:lnTo>
                  <a:lnTo>
                    <a:pt x="26" y="845"/>
                  </a:lnTo>
                  <a:lnTo>
                    <a:pt x="18" y="831"/>
                  </a:lnTo>
                  <a:lnTo>
                    <a:pt x="13" y="817"/>
                  </a:lnTo>
                  <a:lnTo>
                    <a:pt x="8" y="802"/>
                  </a:lnTo>
                  <a:lnTo>
                    <a:pt x="6" y="787"/>
                  </a:lnTo>
                  <a:lnTo>
                    <a:pt x="5" y="783"/>
                  </a:lnTo>
                  <a:lnTo>
                    <a:pt x="5" y="781"/>
                  </a:lnTo>
                  <a:lnTo>
                    <a:pt x="5" y="780"/>
                  </a:lnTo>
                  <a:lnTo>
                    <a:pt x="3" y="773"/>
                  </a:lnTo>
                  <a:lnTo>
                    <a:pt x="2" y="765"/>
                  </a:lnTo>
                  <a:lnTo>
                    <a:pt x="1" y="759"/>
                  </a:lnTo>
                  <a:lnTo>
                    <a:pt x="0" y="746"/>
                  </a:lnTo>
                  <a:lnTo>
                    <a:pt x="1" y="732"/>
                  </a:lnTo>
                  <a:lnTo>
                    <a:pt x="2" y="719"/>
                  </a:lnTo>
                  <a:lnTo>
                    <a:pt x="5" y="705"/>
                  </a:lnTo>
                  <a:lnTo>
                    <a:pt x="9" y="692"/>
                  </a:lnTo>
                  <a:lnTo>
                    <a:pt x="14" y="680"/>
                  </a:lnTo>
                  <a:lnTo>
                    <a:pt x="19" y="666"/>
                  </a:lnTo>
                  <a:lnTo>
                    <a:pt x="26" y="653"/>
                  </a:lnTo>
                  <a:lnTo>
                    <a:pt x="35" y="641"/>
                  </a:lnTo>
                  <a:lnTo>
                    <a:pt x="44" y="628"/>
                  </a:lnTo>
                  <a:lnTo>
                    <a:pt x="54" y="616"/>
                  </a:lnTo>
                  <a:lnTo>
                    <a:pt x="65" y="603"/>
                  </a:lnTo>
                  <a:lnTo>
                    <a:pt x="78" y="591"/>
                  </a:lnTo>
                  <a:lnTo>
                    <a:pt x="91" y="580"/>
                  </a:lnTo>
                  <a:lnTo>
                    <a:pt x="105" y="567"/>
                  </a:lnTo>
                  <a:lnTo>
                    <a:pt x="120" y="556"/>
                  </a:lnTo>
                  <a:lnTo>
                    <a:pt x="146" y="538"/>
                  </a:lnTo>
                  <a:lnTo>
                    <a:pt x="174" y="522"/>
                  </a:lnTo>
                  <a:lnTo>
                    <a:pt x="203" y="504"/>
                  </a:lnTo>
                  <a:lnTo>
                    <a:pt x="236" y="488"/>
                  </a:lnTo>
                  <a:lnTo>
                    <a:pt x="270" y="473"/>
                  </a:lnTo>
                  <a:lnTo>
                    <a:pt x="308" y="457"/>
                  </a:lnTo>
                  <a:lnTo>
                    <a:pt x="346" y="442"/>
                  </a:lnTo>
                  <a:lnTo>
                    <a:pt x="387" y="427"/>
                  </a:lnTo>
                  <a:lnTo>
                    <a:pt x="432" y="414"/>
                  </a:lnTo>
                  <a:lnTo>
                    <a:pt x="479" y="400"/>
                  </a:lnTo>
                  <a:lnTo>
                    <a:pt x="528" y="387"/>
                  </a:lnTo>
                  <a:lnTo>
                    <a:pt x="578" y="376"/>
                  </a:lnTo>
                  <a:lnTo>
                    <a:pt x="631" y="365"/>
                  </a:lnTo>
                  <a:lnTo>
                    <a:pt x="683" y="356"/>
                  </a:lnTo>
                  <a:lnTo>
                    <a:pt x="739" y="349"/>
                  </a:lnTo>
                  <a:lnTo>
                    <a:pt x="795" y="342"/>
                  </a:lnTo>
                  <a:lnTo>
                    <a:pt x="832" y="334"/>
                  </a:lnTo>
                  <a:lnTo>
                    <a:pt x="869" y="328"/>
                  </a:lnTo>
                  <a:lnTo>
                    <a:pt x="905" y="323"/>
                  </a:lnTo>
                  <a:lnTo>
                    <a:pt x="940" y="318"/>
                  </a:lnTo>
                  <a:lnTo>
                    <a:pt x="1008" y="310"/>
                  </a:lnTo>
                  <a:lnTo>
                    <a:pt x="1074" y="304"/>
                  </a:lnTo>
                  <a:lnTo>
                    <a:pt x="1138" y="301"/>
                  </a:lnTo>
                  <a:lnTo>
                    <a:pt x="1200" y="299"/>
                  </a:lnTo>
                  <a:lnTo>
                    <a:pt x="1261" y="298"/>
                  </a:lnTo>
                  <a:lnTo>
                    <a:pt x="1321" y="297"/>
                  </a:lnTo>
                  <a:lnTo>
                    <a:pt x="1549" y="31"/>
                  </a:lnTo>
                  <a:lnTo>
                    <a:pt x="1553" y="28"/>
                  </a:lnTo>
                  <a:lnTo>
                    <a:pt x="1556" y="24"/>
                  </a:lnTo>
                  <a:lnTo>
                    <a:pt x="1562" y="18"/>
                  </a:lnTo>
                  <a:lnTo>
                    <a:pt x="1569" y="14"/>
                  </a:lnTo>
                  <a:lnTo>
                    <a:pt x="1576" y="10"/>
                  </a:lnTo>
                  <a:lnTo>
                    <a:pt x="1585" y="7"/>
                  </a:lnTo>
                  <a:lnTo>
                    <a:pt x="1592" y="3"/>
                  </a:lnTo>
                  <a:lnTo>
                    <a:pt x="1600" y="1"/>
                  </a:lnTo>
                  <a:lnTo>
                    <a:pt x="1608" y="0"/>
                  </a:lnTo>
                  <a:lnTo>
                    <a:pt x="1617" y="0"/>
                  </a:lnTo>
                  <a:lnTo>
                    <a:pt x="1625" y="1"/>
                  </a:lnTo>
                  <a:lnTo>
                    <a:pt x="1633" y="2"/>
                  </a:lnTo>
                  <a:lnTo>
                    <a:pt x="1641" y="5"/>
                  </a:lnTo>
                  <a:lnTo>
                    <a:pt x="1649" y="8"/>
                  </a:lnTo>
                  <a:lnTo>
                    <a:pt x="1656" y="12"/>
                  </a:lnTo>
                  <a:lnTo>
                    <a:pt x="1663" y="16"/>
                  </a:lnTo>
                  <a:lnTo>
                    <a:pt x="1670" y="21"/>
                  </a:lnTo>
                  <a:lnTo>
                    <a:pt x="1676" y="27"/>
                  </a:lnTo>
                  <a:close/>
                  <a:moveTo>
                    <a:pt x="265" y="794"/>
                  </a:moveTo>
                  <a:lnTo>
                    <a:pt x="273" y="797"/>
                  </a:lnTo>
                  <a:lnTo>
                    <a:pt x="280" y="800"/>
                  </a:lnTo>
                  <a:lnTo>
                    <a:pt x="287" y="805"/>
                  </a:lnTo>
                  <a:lnTo>
                    <a:pt x="293" y="810"/>
                  </a:lnTo>
                  <a:lnTo>
                    <a:pt x="299" y="816"/>
                  </a:lnTo>
                  <a:lnTo>
                    <a:pt x="304" y="821"/>
                  </a:lnTo>
                  <a:lnTo>
                    <a:pt x="309" y="827"/>
                  </a:lnTo>
                  <a:lnTo>
                    <a:pt x="313" y="834"/>
                  </a:lnTo>
                  <a:lnTo>
                    <a:pt x="316" y="842"/>
                  </a:lnTo>
                  <a:lnTo>
                    <a:pt x="319" y="849"/>
                  </a:lnTo>
                  <a:lnTo>
                    <a:pt x="321" y="856"/>
                  </a:lnTo>
                  <a:lnTo>
                    <a:pt x="323" y="864"/>
                  </a:lnTo>
                  <a:lnTo>
                    <a:pt x="323" y="872"/>
                  </a:lnTo>
                  <a:lnTo>
                    <a:pt x="323" y="880"/>
                  </a:lnTo>
                  <a:lnTo>
                    <a:pt x="322" y="888"/>
                  </a:lnTo>
                  <a:lnTo>
                    <a:pt x="321" y="896"/>
                  </a:lnTo>
                  <a:lnTo>
                    <a:pt x="265" y="7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4" name="Freeform 10"/>
            <p:cNvSpPr>
              <a:spLocks noChangeArrowheads="1"/>
            </p:cNvSpPr>
            <p:nvPr/>
          </p:nvSpPr>
          <p:spPr bwMode="auto">
            <a:xfrm>
              <a:off x="6143625" y="2298610"/>
              <a:ext cx="1085850" cy="754079"/>
            </a:xfrm>
            <a:custGeom>
              <a:avLst/>
              <a:gdLst>
                <a:gd name="T0" fmla="*/ 1530 w 2420"/>
                <a:gd name="T1" fmla="*/ 0 h 1361"/>
                <a:gd name="T2" fmla="*/ 1211 w 2420"/>
                <a:gd name="T3" fmla="*/ 298 h 1361"/>
                <a:gd name="T4" fmla="*/ 1083 w 2420"/>
                <a:gd name="T5" fmla="*/ 300 h 1361"/>
                <a:gd name="T6" fmla="*/ 982 w 2420"/>
                <a:gd name="T7" fmla="*/ 305 h 1361"/>
                <a:gd name="T8" fmla="*/ 912 w 2420"/>
                <a:gd name="T9" fmla="*/ 311 h 1361"/>
                <a:gd name="T10" fmla="*/ 839 w 2420"/>
                <a:gd name="T11" fmla="*/ 321 h 1361"/>
                <a:gd name="T12" fmla="*/ 763 w 2420"/>
                <a:gd name="T13" fmla="*/ 333 h 1361"/>
                <a:gd name="T14" fmla="*/ 685 w 2420"/>
                <a:gd name="T15" fmla="*/ 344 h 1361"/>
                <a:gd name="T16" fmla="*/ 608 w 2420"/>
                <a:gd name="T17" fmla="*/ 356 h 1361"/>
                <a:gd name="T18" fmla="*/ 534 w 2420"/>
                <a:gd name="T19" fmla="*/ 369 h 1361"/>
                <a:gd name="T20" fmla="*/ 461 w 2420"/>
                <a:gd name="T21" fmla="*/ 384 h 1361"/>
                <a:gd name="T22" fmla="*/ 394 w 2420"/>
                <a:gd name="T23" fmla="*/ 403 h 1361"/>
                <a:gd name="T24" fmla="*/ 330 w 2420"/>
                <a:gd name="T25" fmla="*/ 423 h 1361"/>
                <a:gd name="T26" fmla="*/ 270 w 2420"/>
                <a:gd name="T27" fmla="*/ 444 h 1361"/>
                <a:gd name="T28" fmla="*/ 215 w 2420"/>
                <a:gd name="T29" fmla="*/ 467 h 1361"/>
                <a:gd name="T30" fmla="*/ 165 w 2420"/>
                <a:gd name="T31" fmla="*/ 491 h 1361"/>
                <a:gd name="T32" fmla="*/ 122 w 2420"/>
                <a:gd name="T33" fmla="*/ 515 h 1361"/>
                <a:gd name="T34" fmla="*/ 83 w 2420"/>
                <a:gd name="T35" fmla="*/ 541 h 1361"/>
                <a:gd name="T36" fmla="*/ 52 w 2420"/>
                <a:gd name="T37" fmla="*/ 567 h 1361"/>
                <a:gd name="T38" fmla="*/ 28 w 2420"/>
                <a:gd name="T39" fmla="*/ 593 h 1361"/>
                <a:gd name="T40" fmla="*/ 10 w 2420"/>
                <a:gd name="T41" fmla="*/ 618 h 1361"/>
                <a:gd name="T42" fmla="*/ 2 w 2420"/>
                <a:gd name="T43" fmla="*/ 643 h 1361"/>
                <a:gd name="T44" fmla="*/ 1 w 2420"/>
                <a:gd name="T45" fmla="*/ 668 h 1361"/>
                <a:gd name="T46" fmla="*/ 5 w 2420"/>
                <a:gd name="T47" fmla="*/ 692 h 1361"/>
                <a:gd name="T48" fmla="*/ 13 w 2420"/>
                <a:gd name="T49" fmla="*/ 714 h 1361"/>
                <a:gd name="T50" fmla="*/ 31 w 2420"/>
                <a:gd name="T51" fmla="*/ 734 h 1361"/>
                <a:gd name="T52" fmla="*/ 55 w 2420"/>
                <a:gd name="T53" fmla="*/ 751 h 1361"/>
                <a:gd name="T54" fmla="*/ 87 w 2420"/>
                <a:gd name="T55" fmla="*/ 768 h 1361"/>
                <a:gd name="T56" fmla="*/ 125 w 2420"/>
                <a:gd name="T57" fmla="*/ 781 h 1361"/>
                <a:gd name="T58" fmla="*/ 170 w 2420"/>
                <a:gd name="T59" fmla="*/ 794 h 1361"/>
                <a:gd name="T60" fmla="*/ 220 w 2420"/>
                <a:gd name="T61" fmla="*/ 804 h 1361"/>
                <a:gd name="T62" fmla="*/ 276 w 2420"/>
                <a:gd name="T63" fmla="*/ 811 h 1361"/>
                <a:gd name="T64" fmla="*/ 336 w 2420"/>
                <a:gd name="T65" fmla="*/ 817 h 1361"/>
                <a:gd name="T66" fmla="*/ 401 w 2420"/>
                <a:gd name="T67" fmla="*/ 822 h 1361"/>
                <a:gd name="T68" fmla="*/ 469 w 2420"/>
                <a:gd name="T69" fmla="*/ 824 h 1361"/>
                <a:gd name="T70" fmla="*/ 541 w 2420"/>
                <a:gd name="T71" fmla="*/ 824 h 1361"/>
                <a:gd name="T72" fmla="*/ 615 w 2420"/>
                <a:gd name="T73" fmla="*/ 822 h 1361"/>
                <a:gd name="T74" fmla="*/ 730 w 2420"/>
                <a:gd name="T75" fmla="*/ 814 h 1361"/>
                <a:gd name="T76" fmla="*/ 872 w 2420"/>
                <a:gd name="T77" fmla="*/ 792 h 1361"/>
                <a:gd name="T78" fmla="*/ 998 w 2420"/>
                <a:gd name="T79" fmla="*/ 758 h 1361"/>
                <a:gd name="T80" fmla="*/ 1088 w 2420"/>
                <a:gd name="T81" fmla="*/ 729 h 1361"/>
                <a:gd name="T82" fmla="*/ 1145 w 2420"/>
                <a:gd name="T83" fmla="*/ 706 h 1361"/>
                <a:gd name="T84" fmla="*/ 1200 w 2420"/>
                <a:gd name="T85" fmla="*/ 681 h 1361"/>
                <a:gd name="T86" fmla="*/ 1250 w 2420"/>
                <a:gd name="T87" fmla="*/ 654 h 1361"/>
                <a:gd name="T88" fmla="*/ 1954 w 2420"/>
                <a:gd name="T89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20" h="1361">
                  <a:moveTo>
                    <a:pt x="2420" y="935"/>
                  </a:moveTo>
                  <a:lnTo>
                    <a:pt x="1530" y="0"/>
                  </a:lnTo>
                  <a:lnTo>
                    <a:pt x="1275" y="298"/>
                  </a:lnTo>
                  <a:lnTo>
                    <a:pt x="1211" y="298"/>
                  </a:lnTo>
                  <a:lnTo>
                    <a:pt x="1147" y="298"/>
                  </a:lnTo>
                  <a:lnTo>
                    <a:pt x="1083" y="300"/>
                  </a:lnTo>
                  <a:lnTo>
                    <a:pt x="1016" y="303"/>
                  </a:lnTo>
                  <a:lnTo>
                    <a:pt x="982" y="305"/>
                  </a:lnTo>
                  <a:lnTo>
                    <a:pt x="948" y="308"/>
                  </a:lnTo>
                  <a:lnTo>
                    <a:pt x="912" y="311"/>
                  </a:lnTo>
                  <a:lnTo>
                    <a:pt x="877" y="315"/>
                  </a:lnTo>
                  <a:lnTo>
                    <a:pt x="839" y="321"/>
                  </a:lnTo>
                  <a:lnTo>
                    <a:pt x="802" y="327"/>
                  </a:lnTo>
                  <a:lnTo>
                    <a:pt x="763" y="333"/>
                  </a:lnTo>
                  <a:lnTo>
                    <a:pt x="724" y="340"/>
                  </a:lnTo>
                  <a:lnTo>
                    <a:pt x="685" y="344"/>
                  </a:lnTo>
                  <a:lnTo>
                    <a:pt x="646" y="349"/>
                  </a:lnTo>
                  <a:lnTo>
                    <a:pt x="608" y="356"/>
                  </a:lnTo>
                  <a:lnTo>
                    <a:pt x="570" y="362"/>
                  </a:lnTo>
                  <a:lnTo>
                    <a:pt x="534" y="369"/>
                  </a:lnTo>
                  <a:lnTo>
                    <a:pt x="497" y="376"/>
                  </a:lnTo>
                  <a:lnTo>
                    <a:pt x="461" y="384"/>
                  </a:lnTo>
                  <a:lnTo>
                    <a:pt x="427" y="394"/>
                  </a:lnTo>
                  <a:lnTo>
                    <a:pt x="394" y="403"/>
                  </a:lnTo>
                  <a:lnTo>
                    <a:pt x="361" y="412"/>
                  </a:lnTo>
                  <a:lnTo>
                    <a:pt x="330" y="423"/>
                  </a:lnTo>
                  <a:lnTo>
                    <a:pt x="299" y="433"/>
                  </a:lnTo>
                  <a:lnTo>
                    <a:pt x="270" y="444"/>
                  </a:lnTo>
                  <a:lnTo>
                    <a:pt x="242" y="456"/>
                  </a:lnTo>
                  <a:lnTo>
                    <a:pt x="215" y="467"/>
                  </a:lnTo>
                  <a:lnTo>
                    <a:pt x="190" y="478"/>
                  </a:lnTo>
                  <a:lnTo>
                    <a:pt x="165" y="491"/>
                  </a:lnTo>
                  <a:lnTo>
                    <a:pt x="142" y="503"/>
                  </a:lnTo>
                  <a:lnTo>
                    <a:pt x="122" y="515"/>
                  </a:lnTo>
                  <a:lnTo>
                    <a:pt x="102" y="528"/>
                  </a:lnTo>
                  <a:lnTo>
                    <a:pt x="83" y="541"/>
                  </a:lnTo>
                  <a:lnTo>
                    <a:pt x="67" y="554"/>
                  </a:lnTo>
                  <a:lnTo>
                    <a:pt x="52" y="567"/>
                  </a:lnTo>
                  <a:lnTo>
                    <a:pt x="39" y="579"/>
                  </a:lnTo>
                  <a:lnTo>
                    <a:pt x="28" y="593"/>
                  </a:lnTo>
                  <a:lnTo>
                    <a:pt x="19" y="605"/>
                  </a:lnTo>
                  <a:lnTo>
                    <a:pt x="10" y="618"/>
                  </a:lnTo>
                  <a:lnTo>
                    <a:pt x="5" y="631"/>
                  </a:lnTo>
                  <a:lnTo>
                    <a:pt x="2" y="643"/>
                  </a:lnTo>
                  <a:lnTo>
                    <a:pt x="0" y="656"/>
                  </a:lnTo>
                  <a:lnTo>
                    <a:pt x="1" y="668"/>
                  </a:lnTo>
                  <a:lnTo>
                    <a:pt x="4" y="680"/>
                  </a:lnTo>
                  <a:lnTo>
                    <a:pt x="5" y="692"/>
                  </a:lnTo>
                  <a:lnTo>
                    <a:pt x="8" y="703"/>
                  </a:lnTo>
                  <a:lnTo>
                    <a:pt x="13" y="714"/>
                  </a:lnTo>
                  <a:lnTo>
                    <a:pt x="22" y="725"/>
                  </a:lnTo>
                  <a:lnTo>
                    <a:pt x="31" y="734"/>
                  </a:lnTo>
                  <a:lnTo>
                    <a:pt x="42" y="743"/>
                  </a:lnTo>
                  <a:lnTo>
                    <a:pt x="55" y="751"/>
                  </a:lnTo>
                  <a:lnTo>
                    <a:pt x="70" y="760"/>
                  </a:lnTo>
                  <a:lnTo>
                    <a:pt x="87" y="768"/>
                  </a:lnTo>
                  <a:lnTo>
                    <a:pt x="105" y="775"/>
                  </a:lnTo>
                  <a:lnTo>
                    <a:pt x="125" y="781"/>
                  </a:lnTo>
                  <a:lnTo>
                    <a:pt x="147" y="788"/>
                  </a:lnTo>
                  <a:lnTo>
                    <a:pt x="170" y="794"/>
                  </a:lnTo>
                  <a:lnTo>
                    <a:pt x="195" y="799"/>
                  </a:lnTo>
                  <a:lnTo>
                    <a:pt x="220" y="804"/>
                  </a:lnTo>
                  <a:lnTo>
                    <a:pt x="247" y="808"/>
                  </a:lnTo>
                  <a:lnTo>
                    <a:pt x="276" y="811"/>
                  </a:lnTo>
                  <a:lnTo>
                    <a:pt x="306" y="814"/>
                  </a:lnTo>
                  <a:lnTo>
                    <a:pt x="336" y="817"/>
                  </a:lnTo>
                  <a:lnTo>
                    <a:pt x="368" y="819"/>
                  </a:lnTo>
                  <a:lnTo>
                    <a:pt x="401" y="822"/>
                  </a:lnTo>
                  <a:lnTo>
                    <a:pt x="435" y="823"/>
                  </a:lnTo>
                  <a:lnTo>
                    <a:pt x="469" y="824"/>
                  </a:lnTo>
                  <a:lnTo>
                    <a:pt x="505" y="824"/>
                  </a:lnTo>
                  <a:lnTo>
                    <a:pt x="541" y="824"/>
                  </a:lnTo>
                  <a:lnTo>
                    <a:pt x="577" y="823"/>
                  </a:lnTo>
                  <a:lnTo>
                    <a:pt x="615" y="822"/>
                  </a:lnTo>
                  <a:lnTo>
                    <a:pt x="653" y="819"/>
                  </a:lnTo>
                  <a:lnTo>
                    <a:pt x="730" y="814"/>
                  </a:lnTo>
                  <a:lnTo>
                    <a:pt x="810" y="808"/>
                  </a:lnTo>
                  <a:lnTo>
                    <a:pt x="872" y="792"/>
                  </a:lnTo>
                  <a:lnTo>
                    <a:pt x="935" y="775"/>
                  </a:lnTo>
                  <a:lnTo>
                    <a:pt x="998" y="758"/>
                  </a:lnTo>
                  <a:lnTo>
                    <a:pt x="1058" y="739"/>
                  </a:lnTo>
                  <a:lnTo>
                    <a:pt x="1088" y="729"/>
                  </a:lnTo>
                  <a:lnTo>
                    <a:pt x="1117" y="717"/>
                  </a:lnTo>
                  <a:lnTo>
                    <a:pt x="1145" y="706"/>
                  </a:lnTo>
                  <a:lnTo>
                    <a:pt x="1173" y="695"/>
                  </a:lnTo>
                  <a:lnTo>
                    <a:pt x="1200" y="681"/>
                  </a:lnTo>
                  <a:lnTo>
                    <a:pt x="1226" y="668"/>
                  </a:lnTo>
                  <a:lnTo>
                    <a:pt x="1250" y="654"/>
                  </a:lnTo>
                  <a:lnTo>
                    <a:pt x="1275" y="638"/>
                  </a:lnTo>
                  <a:lnTo>
                    <a:pt x="1954" y="1361"/>
                  </a:lnTo>
                  <a:lnTo>
                    <a:pt x="2420" y="9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5" name="Freeform 11"/>
            <p:cNvSpPr>
              <a:spLocks noChangeArrowheads="1"/>
            </p:cNvSpPr>
            <p:nvPr/>
          </p:nvSpPr>
          <p:spPr bwMode="auto">
            <a:xfrm>
              <a:off x="6978650" y="1614384"/>
              <a:ext cx="301625" cy="922357"/>
            </a:xfrm>
            <a:custGeom>
              <a:avLst/>
              <a:gdLst>
                <a:gd name="T0" fmla="*/ 279 w 666"/>
                <a:gd name="T1" fmla="*/ 1 h 1660"/>
                <a:gd name="T2" fmla="*/ 338 w 666"/>
                <a:gd name="T3" fmla="*/ 13 h 1660"/>
                <a:gd name="T4" fmla="*/ 375 w 666"/>
                <a:gd name="T5" fmla="*/ 31 h 1660"/>
                <a:gd name="T6" fmla="*/ 447 w 666"/>
                <a:gd name="T7" fmla="*/ 88 h 1660"/>
                <a:gd name="T8" fmla="*/ 516 w 666"/>
                <a:gd name="T9" fmla="*/ 176 h 1660"/>
                <a:gd name="T10" fmla="*/ 576 w 666"/>
                <a:gd name="T11" fmla="*/ 292 h 1660"/>
                <a:gd name="T12" fmla="*/ 622 w 666"/>
                <a:gd name="T13" fmla="*/ 426 h 1660"/>
                <a:gd name="T14" fmla="*/ 653 w 666"/>
                <a:gd name="T15" fmla="*/ 569 h 1660"/>
                <a:gd name="T16" fmla="*/ 666 w 666"/>
                <a:gd name="T17" fmla="*/ 697 h 1660"/>
                <a:gd name="T18" fmla="*/ 655 w 666"/>
                <a:gd name="T19" fmla="*/ 810 h 1660"/>
                <a:gd name="T20" fmla="*/ 622 w 666"/>
                <a:gd name="T21" fmla="*/ 940 h 1660"/>
                <a:gd name="T22" fmla="*/ 605 w 666"/>
                <a:gd name="T23" fmla="*/ 1592 h 1660"/>
                <a:gd name="T24" fmla="*/ 591 w 666"/>
                <a:gd name="T25" fmla="*/ 1623 h 1660"/>
                <a:gd name="T26" fmla="*/ 569 w 666"/>
                <a:gd name="T27" fmla="*/ 1645 h 1660"/>
                <a:gd name="T28" fmla="*/ 538 w 666"/>
                <a:gd name="T29" fmla="*/ 1659 h 1660"/>
                <a:gd name="T30" fmla="*/ 258 w 666"/>
                <a:gd name="T31" fmla="*/ 1660 h 1660"/>
                <a:gd name="T32" fmla="*/ 226 w 666"/>
                <a:gd name="T33" fmla="*/ 1649 h 1660"/>
                <a:gd name="T34" fmla="*/ 200 w 666"/>
                <a:gd name="T35" fmla="*/ 1629 h 1660"/>
                <a:gd name="T36" fmla="*/ 185 w 666"/>
                <a:gd name="T37" fmla="*/ 1600 h 1660"/>
                <a:gd name="T38" fmla="*/ 180 w 666"/>
                <a:gd name="T39" fmla="*/ 1011 h 1660"/>
                <a:gd name="T40" fmla="*/ 129 w 666"/>
                <a:gd name="T41" fmla="*/ 938 h 1660"/>
                <a:gd name="T42" fmla="*/ 87 w 666"/>
                <a:gd name="T43" fmla="*/ 853 h 1660"/>
                <a:gd name="T44" fmla="*/ 48 w 666"/>
                <a:gd name="T45" fmla="*/ 742 h 1660"/>
                <a:gd name="T46" fmla="*/ 14 w 666"/>
                <a:gd name="T47" fmla="*/ 618 h 1660"/>
                <a:gd name="T48" fmla="*/ 6 w 666"/>
                <a:gd name="T49" fmla="*/ 566 h 1660"/>
                <a:gd name="T50" fmla="*/ 1 w 666"/>
                <a:gd name="T51" fmla="*/ 486 h 1660"/>
                <a:gd name="T52" fmla="*/ 3 w 666"/>
                <a:gd name="T53" fmla="*/ 364 h 1660"/>
                <a:gd name="T54" fmla="*/ 15 w 666"/>
                <a:gd name="T55" fmla="*/ 288 h 1660"/>
                <a:gd name="T56" fmla="*/ 31 w 666"/>
                <a:gd name="T57" fmla="*/ 220 h 1660"/>
                <a:gd name="T58" fmla="*/ 55 w 666"/>
                <a:gd name="T59" fmla="*/ 159 h 1660"/>
                <a:gd name="T60" fmla="*/ 90 w 666"/>
                <a:gd name="T61" fmla="*/ 99 h 1660"/>
                <a:gd name="T62" fmla="*/ 133 w 666"/>
                <a:gd name="T63" fmla="*/ 52 h 1660"/>
                <a:gd name="T64" fmla="*/ 182 w 666"/>
                <a:gd name="T65" fmla="*/ 20 h 1660"/>
                <a:gd name="T66" fmla="*/ 238 w 666"/>
                <a:gd name="T67" fmla="*/ 2 h 1660"/>
                <a:gd name="T68" fmla="*/ 268 w 666"/>
                <a:gd name="T69" fmla="*/ 172 h 1660"/>
                <a:gd name="T70" fmla="*/ 256 w 666"/>
                <a:gd name="T71" fmla="*/ 174 h 1660"/>
                <a:gd name="T72" fmla="*/ 229 w 666"/>
                <a:gd name="T73" fmla="*/ 198 h 1660"/>
                <a:gd name="T74" fmla="*/ 201 w 666"/>
                <a:gd name="T75" fmla="*/ 252 h 1660"/>
                <a:gd name="T76" fmla="*/ 177 w 666"/>
                <a:gd name="T77" fmla="*/ 353 h 1660"/>
                <a:gd name="T78" fmla="*/ 172 w 666"/>
                <a:gd name="T79" fmla="*/ 479 h 1660"/>
                <a:gd name="T80" fmla="*/ 188 w 666"/>
                <a:gd name="T81" fmla="*/ 609 h 1660"/>
                <a:gd name="T82" fmla="*/ 218 w 666"/>
                <a:gd name="T83" fmla="*/ 716 h 1660"/>
                <a:gd name="T84" fmla="*/ 252 w 666"/>
                <a:gd name="T85" fmla="*/ 806 h 1660"/>
                <a:gd name="T86" fmla="*/ 290 w 666"/>
                <a:gd name="T87" fmla="*/ 873 h 1660"/>
                <a:gd name="T88" fmla="*/ 329 w 666"/>
                <a:gd name="T89" fmla="*/ 920 h 1660"/>
                <a:gd name="T90" fmla="*/ 347 w 666"/>
                <a:gd name="T91" fmla="*/ 952 h 1660"/>
                <a:gd name="T92" fmla="*/ 352 w 666"/>
                <a:gd name="T93" fmla="*/ 1489 h 1660"/>
                <a:gd name="T94" fmla="*/ 436 w 666"/>
                <a:gd name="T95" fmla="*/ 972 h 1660"/>
                <a:gd name="T96" fmla="*/ 440 w 666"/>
                <a:gd name="T97" fmla="*/ 950 h 1660"/>
                <a:gd name="T98" fmla="*/ 479 w 666"/>
                <a:gd name="T99" fmla="*/ 820 h 1660"/>
                <a:gd name="T100" fmla="*/ 494 w 666"/>
                <a:gd name="T101" fmla="*/ 728 h 1660"/>
                <a:gd name="T102" fmla="*/ 490 w 666"/>
                <a:gd name="T103" fmla="*/ 628 h 1660"/>
                <a:gd name="T104" fmla="*/ 478 w 666"/>
                <a:gd name="T105" fmla="*/ 568 h 1660"/>
                <a:gd name="T106" fmla="*/ 452 w 666"/>
                <a:gd name="T107" fmla="*/ 449 h 1660"/>
                <a:gd name="T108" fmla="*/ 414 w 666"/>
                <a:gd name="T109" fmla="*/ 345 h 1660"/>
                <a:gd name="T110" fmla="*/ 368 w 666"/>
                <a:gd name="T111" fmla="*/ 260 h 1660"/>
                <a:gd name="T112" fmla="*/ 316 w 666"/>
                <a:gd name="T113" fmla="*/ 198 h 1660"/>
                <a:gd name="T114" fmla="*/ 285 w 666"/>
                <a:gd name="T115" fmla="*/ 176 h 1660"/>
                <a:gd name="T116" fmla="*/ 268 w 666"/>
                <a:gd name="T117" fmla="*/ 172 h 1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6" h="1660">
                  <a:moveTo>
                    <a:pt x="266" y="0"/>
                  </a:moveTo>
                  <a:lnTo>
                    <a:pt x="268" y="0"/>
                  </a:lnTo>
                  <a:lnTo>
                    <a:pt x="274" y="1"/>
                  </a:lnTo>
                  <a:lnTo>
                    <a:pt x="279" y="1"/>
                  </a:lnTo>
                  <a:lnTo>
                    <a:pt x="281" y="1"/>
                  </a:lnTo>
                  <a:lnTo>
                    <a:pt x="300" y="4"/>
                  </a:lnTo>
                  <a:lnTo>
                    <a:pt x="319" y="8"/>
                  </a:lnTo>
                  <a:lnTo>
                    <a:pt x="338" y="13"/>
                  </a:lnTo>
                  <a:lnTo>
                    <a:pt x="357" y="21"/>
                  </a:lnTo>
                  <a:lnTo>
                    <a:pt x="357" y="22"/>
                  </a:lnTo>
                  <a:lnTo>
                    <a:pt x="357" y="21"/>
                  </a:lnTo>
                  <a:lnTo>
                    <a:pt x="375" y="31"/>
                  </a:lnTo>
                  <a:lnTo>
                    <a:pt x="394" y="42"/>
                  </a:lnTo>
                  <a:lnTo>
                    <a:pt x="411" y="55"/>
                  </a:lnTo>
                  <a:lnTo>
                    <a:pt x="429" y="69"/>
                  </a:lnTo>
                  <a:lnTo>
                    <a:pt x="447" y="88"/>
                  </a:lnTo>
                  <a:lnTo>
                    <a:pt x="466" y="107"/>
                  </a:lnTo>
                  <a:lnTo>
                    <a:pt x="483" y="128"/>
                  </a:lnTo>
                  <a:lnTo>
                    <a:pt x="500" y="152"/>
                  </a:lnTo>
                  <a:lnTo>
                    <a:pt x="516" y="176"/>
                  </a:lnTo>
                  <a:lnTo>
                    <a:pt x="533" y="203"/>
                  </a:lnTo>
                  <a:lnTo>
                    <a:pt x="547" y="231"/>
                  </a:lnTo>
                  <a:lnTo>
                    <a:pt x="561" y="261"/>
                  </a:lnTo>
                  <a:lnTo>
                    <a:pt x="576" y="292"/>
                  </a:lnTo>
                  <a:lnTo>
                    <a:pt x="588" y="324"/>
                  </a:lnTo>
                  <a:lnTo>
                    <a:pt x="601" y="357"/>
                  </a:lnTo>
                  <a:lnTo>
                    <a:pt x="612" y="391"/>
                  </a:lnTo>
                  <a:lnTo>
                    <a:pt x="622" y="426"/>
                  </a:lnTo>
                  <a:lnTo>
                    <a:pt x="632" y="462"/>
                  </a:lnTo>
                  <a:lnTo>
                    <a:pt x="639" y="498"/>
                  </a:lnTo>
                  <a:lnTo>
                    <a:pt x="646" y="535"/>
                  </a:lnTo>
                  <a:lnTo>
                    <a:pt x="653" y="569"/>
                  </a:lnTo>
                  <a:lnTo>
                    <a:pt x="659" y="603"/>
                  </a:lnTo>
                  <a:lnTo>
                    <a:pt x="663" y="635"/>
                  </a:lnTo>
                  <a:lnTo>
                    <a:pt x="666" y="666"/>
                  </a:lnTo>
                  <a:lnTo>
                    <a:pt x="666" y="697"/>
                  </a:lnTo>
                  <a:lnTo>
                    <a:pt x="666" y="726"/>
                  </a:lnTo>
                  <a:lnTo>
                    <a:pt x="663" y="755"/>
                  </a:lnTo>
                  <a:lnTo>
                    <a:pt x="660" y="782"/>
                  </a:lnTo>
                  <a:lnTo>
                    <a:pt x="655" y="810"/>
                  </a:lnTo>
                  <a:lnTo>
                    <a:pt x="650" y="837"/>
                  </a:lnTo>
                  <a:lnTo>
                    <a:pt x="644" y="864"/>
                  </a:lnTo>
                  <a:lnTo>
                    <a:pt x="638" y="890"/>
                  </a:lnTo>
                  <a:lnTo>
                    <a:pt x="622" y="940"/>
                  </a:lnTo>
                  <a:lnTo>
                    <a:pt x="606" y="991"/>
                  </a:lnTo>
                  <a:lnTo>
                    <a:pt x="606" y="1574"/>
                  </a:lnTo>
                  <a:lnTo>
                    <a:pt x="606" y="1583"/>
                  </a:lnTo>
                  <a:lnTo>
                    <a:pt x="605" y="1592"/>
                  </a:lnTo>
                  <a:lnTo>
                    <a:pt x="603" y="1600"/>
                  </a:lnTo>
                  <a:lnTo>
                    <a:pt x="600" y="1608"/>
                  </a:lnTo>
                  <a:lnTo>
                    <a:pt x="595" y="1615"/>
                  </a:lnTo>
                  <a:lnTo>
                    <a:pt x="591" y="1623"/>
                  </a:lnTo>
                  <a:lnTo>
                    <a:pt x="586" y="1629"/>
                  </a:lnTo>
                  <a:lnTo>
                    <a:pt x="581" y="1635"/>
                  </a:lnTo>
                  <a:lnTo>
                    <a:pt x="575" y="1640"/>
                  </a:lnTo>
                  <a:lnTo>
                    <a:pt x="569" y="1645"/>
                  </a:lnTo>
                  <a:lnTo>
                    <a:pt x="561" y="1649"/>
                  </a:lnTo>
                  <a:lnTo>
                    <a:pt x="554" y="1654"/>
                  </a:lnTo>
                  <a:lnTo>
                    <a:pt x="546" y="1657"/>
                  </a:lnTo>
                  <a:lnTo>
                    <a:pt x="538" y="1659"/>
                  </a:lnTo>
                  <a:lnTo>
                    <a:pt x="530" y="1660"/>
                  </a:lnTo>
                  <a:lnTo>
                    <a:pt x="520" y="1660"/>
                  </a:lnTo>
                  <a:lnTo>
                    <a:pt x="266" y="1660"/>
                  </a:lnTo>
                  <a:lnTo>
                    <a:pt x="258" y="1660"/>
                  </a:lnTo>
                  <a:lnTo>
                    <a:pt x="249" y="1659"/>
                  </a:lnTo>
                  <a:lnTo>
                    <a:pt x="241" y="1657"/>
                  </a:lnTo>
                  <a:lnTo>
                    <a:pt x="233" y="1654"/>
                  </a:lnTo>
                  <a:lnTo>
                    <a:pt x="226" y="1649"/>
                  </a:lnTo>
                  <a:lnTo>
                    <a:pt x="218" y="1645"/>
                  </a:lnTo>
                  <a:lnTo>
                    <a:pt x="211" y="1640"/>
                  </a:lnTo>
                  <a:lnTo>
                    <a:pt x="206" y="1635"/>
                  </a:lnTo>
                  <a:lnTo>
                    <a:pt x="200" y="1629"/>
                  </a:lnTo>
                  <a:lnTo>
                    <a:pt x="195" y="1623"/>
                  </a:lnTo>
                  <a:lnTo>
                    <a:pt x="191" y="1615"/>
                  </a:lnTo>
                  <a:lnTo>
                    <a:pt x="188" y="1608"/>
                  </a:lnTo>
                  <a:lnTo>
                    <a:pt x="185" y="1600"/>
                  </a:lnTo>
                  <a:lnTo>
                    <a:pt x="182" y="1592"/>
                  </a:lnTo>
                  <a:lnTo>
                    <a:pt x="181" y="1583"/>
                  </a:lnTo>
                  <a:lnTo>
                    <a:pt x="180" y="1574"/>
                  </a:lnTo>
                  <a:lnTo>
                    <a:pt x="180" y="1011"/>
                  </a:lnTo>
                  <a:lnTo>
                    <a:pt x="167" y="994"/>
                  </a:lnTo>
                  <a:lnTo>
                    <a:pt x="154" y="976"/>
                  </a:lnTo>
                  <a:lnTo>
                    <a:pt x="140" y="958"/>
                  </a:lnTo>
                  <a:lnTo>
                    <a:pt x="129" y="938"/>
                  </a:lnTo>
                  <a:lnTo>
                    <a:pt x="118" y="917"/>
                  </a:lnTo>
                  <a:lnTo>
                    <a:pt x="106" y="897"/>
                  </a:lnTo>
                  <a:lnTo>
                    <a:pt x="96" y="875"/>
                  </a:lnTo>
                  <a:lnTo>
                    <a:pt x="87" y="853"/>
                  </a:lnTo>
                  <a:lnTo>
                    <a:pt x="76" y="827"/>
                  </a:lnTo>
                  <a:lnTo>
                    <a:pt x="66" y="799"/>
                  </a:lnTo>
                  <a:lnTo>
                    <a:pt x="57" y="771"/>
                  </a:lnTo>
                  <a:lnTo>
                    <a:pt x="48" y="742"/>
                  </a:lnTo>
                  <a:lnTo>
                    <a:pt x="39" y="712"/>
                  </a:lnTo>
                  <a:lnTo>
                    <a:pt x="30" y="681"/>
                  </a:lnTo>
                  <a:lnTo>
                    <a:pt x="22" y="651"/>
                  </a:lnTo>
                  <a:lnTo>
                    <a:pt x="14" y="618"/>
                  </a:lnTo>
                  <a:lnTo>
                    <a:pt x="12" y="608"/>
                  </a:lnTo>
                  <a:lnTo>
                    <a:pt x="9" y="588"/>
                  </a:lnTo>
                  <a:lnTo>
                    <a:pt x="6" y="566"/>
                  </a:lnTo>
                  <a:lnTo>
                    <a:pt x="4" y="545"/>
                  </a:lnTo>
                  <a:lnTo>
                    <a:pt x="3" y="526"/>
                  </a:lnTo>
                  <a:lnTo>
                    <a:pt x="1" y="505"/>
                  </a:lnTo>
                  <a:lnTo>
                    <a:pt x="1" y="486"/>
                  </a:lnTo>
                  <a:lnTo>
                    <a:pt x="0" y="467"/>
                  </a:lnTo>
                  <a:lnTo>
                    <a:pt x="0" y="447"/>
                  </a:lnTo>
                  <a:lnTo>
                    <a:pt x="1" y="405"/>
                  </a:lnTo>
                  <a:lnTo>
                    <a:pt x="3" y="364"/>
                  </a:lnTo>
                  <a:lnTo>
                    <a:pt x="5" y="344"/>
                  </a:lnTo>
                  <a:lnTo>
                    <a:pt x="8" y="326"/>
                  </a:lnTo>
                  <a:lnTo>
                    <a:pt x="10" y="306"/>
                  </a:lnTo>
                  <a:lnTo>
                    <a:pt x="15" y="288"/>
                  </a:lnTo>
                  <a:lnTo>
                    <a:pt x="18" y="270"/>
                  </a:lnTo>
                  <a:lnTo>
                    <a:pt x="22" y="253"/>
                  </a:lnTo>
                  <a:lnTo>
                    <a:pt x="27" y="236"/>
                  </a:lnTo>
                  <a:lnTo>
                    <a:pt x="31" y="220"/>
                  </a:lnTo>
                  <a:lnTo>
                    <a:pt x="37" y="203"/>
                  </a:lnTo>
                  <a:lnTo>
                    <a:pt x="42" y="188"/>
                  </a:lnTo>
                  <a:lnTo>
                    <a:pt x="49" y="173"/>
                  </a:lnTo>
                  <a:lnTo>
                    <a:pt x="55" y="159"/>
                  </a:lnTo>
                  <a:lnTo>
                    <a:pt x="63" y="142"/>
                  </a:lnTo>
                  <a:lnTo>
                    <a:pt x="71" y="127"/>
                  </a:lnTo>
                  <a:lnTo>
                    <a:pt x="80" y="112"/>
                  </a:lnTo>
                  <a:lnTo>
                    <a:pt x="90" y="99"/>
                  </a:lnTo>
                  <a:lnTo>
                    <a:pt x="100" y="86"/>
                  </a:lnTo>
                  <a:lnTo>
                    <a:pt x="110" y="73"/>
                  </a:lnTo>
                  <a:lnTo>
                    <a:pt x="122" y="62"/>
                  </a:lnTo>
                  <a:lnTo>
                    <a:pt x="133" y="52"/>
                  </a:lnTo>
                  <a:lnTo>
                    <a:pt x="144" y="42"/>
                  </a:lnTo>
                  <a:lnTo>
                    <a:pt x="157" y="33"/>
                  </a:lnTo>
                  <a:lnTo>
                    <a:pt x="169" y="26"/>
                  </a:lnTo>
                  <a:lnTo>
                    <a:pt x="182" y="20"/>
                  </a:lnTo>
                  <a:lnTo>
                    <a:pt x="196" y="13"/>
                  </a:lnTo>
                  <a:lnTo>
                    <a:pt x="210" y="9"/>
                  </a:lnTo>
                  <a:lnTo>
                    <a:pt x="224" y="5"/>
                  </a:lnTo>
                  <a:lnTo>
                    <a:pt x="238" y="2"/>
                  </a:lnTo>
                  <a:lnTo>
                    <a:pt x="244" y="2"/>
                  </a:lnTo>
                  <a:lnTo>
                    <a:pt x="256" y="1"/>
                  </a:lnTo>
                  <a:lnTo>
                    <a:pt x="266" y="0"/>
                  </a:lnTo>
                  <a:close/>
                  <a:moveTo>
                    <a:pt x="268" y="172"/>
                  </a:moveTo>
                  <a:lnTo>
                    <a:pt x="266" y="172"/>
                  </a:lnTo>
                  <a:lnTo>
                    <a:pt x="263" y="172"/>
                  </a:lnTo>
                  <a:lnTo>
                    <a:pt x="256" y="174"/>
                  </a:lnTo>
                  <a:lnTo>
                    <a:pt x="248" y="177"/>
                  </a:lnTo>
                  <a:lnTo>
                    <a:pt x="242" y="182"/>
                  </a:lnTo>
                  <a:lnTo>
                    <a:pt x="235" y="190"/>
                  </a:lnTo>
                  <a:lnTo>
                    <a:pt x="229" y="198"/>
                  </a:lnTo>
                  <a:lnTo>
                    <a:pt x="222" y="207"/>
                  </a:lnTo>
                  <a:lnTo>
                    <a:pt x="215" y="219"/>
                  </a:lnTo>
                  <a:lnTo>
                    <a:pt x="209" y="232"/>
                  </a:lnTo>
                  <a:lnTo>
                    <a:pt x="201" y="252"/>
                  </a:lnTo>
                  <a:lnTo>
                    <a:pt x="193" y="274"/>
                  </a:lnTo>
                  <a:lnTo>
                    <a:pt x="187" y="299"/>
                  </a:lnTo>
                  <a:lnTo>
                    <a:pt x="181" y="325"/>
                  </a:lnTo>
                  <a:lnTo>
                    <a:pt x="177" y="353"/>
                  </a:lnTo>
                  <a:lnTo>
                    <a:pt x="174" y="382"/>
                  </a:lnTo>
                  <a:lnTo>
                    <a:pt x="172" y="414"/>
                  </a:lnTo>
                  <a:lnTo>
                    <a:pt x="171" y="447"/>
                  </a:lnTo>
                  <a:lnTo>
                    <a:pt x="172" y="479"/>
                  </a:lnTo>
                  <a:lnTo>
                    <a:pt x="173" y="512"/>
                  </a:lnTo>
                  <a:lnTo>
                    <a:pt x="176" y="545"/>
                  </a:lnTo>
                  <a:lnTo>
                    <a:pt x="180" y="580"/>
                  </a:lnTo>
                  <a:lnTo>
                    <a:pt x="188" y="609"/>
                  </a:lnTo>
                  <a:lnTo>
                    <a:pt x="196" y="638"/>
                  </a:lnTo>
                  <a:lnTo>
                    <a:pt x="203" y="665"/>
                  </a:lnTo>
                  <a:lnTo>
                    <a:pt x="211" y="692"/>
                  </a:lnTo>
                  <a:lnTo>
                    <a:pt x="218" y="716"/>
                  </a:lnTo>
                  <a:lnTo>
                    <a:pt x="227" y="741"/>
                  </a:lnTo>
                  <a:lnTo>
                    <a:pt x="235" y="765"/>
                  </a:lnTo>
                  <a:lnTo>
                    <a:pt x="244" y="787"/>
                  </a:lnTo>
                  <a:lnTo>
                    <a:pt x="252" y="806"/>
                  </a:lnTo>
                  <a:lnTo>
                    <a:pt x="261" y="824"/>
                  </a:lnTo>
                  <a:lnTo>
                    <a:pt x="270" y="841"/>
                  </a:lnTo>
                  <a:lnTo>
                    <a:pt x="279" y="857"/>
                  </a:lnTo>
                  <a:lnTo>
                    <a:pt x="290" y="873"/>
                  </a:lnTo>
                  <a:lnTo>
                    <a:pt x="300" y="888"/>
                  </a:lnTo>
                  <a:lnTo>
                    <a:pt x="311" y="901"/>
                  </a:lnTo>
                  <a:lnTo>
                    <a:pt x="323" y="913"/>
                  </a:lnTo>
                  <a:lnTo>
                    <a:pt x="329" y="920"/>
                  </a:lnTo>
                  <a:lnTo>
                    <a:pt x="335" y="927"/>
                  </a:lnTo>
                  <a:lnTo>
                    <a:pt x="340" y="935"/>
                  </a:lnTo>
                  <a:lnTo>
                    <a:pt x="344" y="942"/>
                  </a:lnTo>
                  <a:lnTo>
                    <a:pt x="347" y="952"/>
                  </a:lnTo>
                  <a:lnTo>
                    <a:pt x="349" y="960"/>
                  </a:lnTo>
                  <a:lnTo>
                    <a:pt x="351" y="969"/>
                  </a:lnTo>
                  <a:lnTo>
                    <a:pt x="352" y="979"/>
                  </a:lnTo>
                  <a:lnTo>
                    <a:pt x="352" y="1489"/>
                  </a:lnTo>
                  <a:lnTo>
                    <a:pt x="435" y="1489"/>
                  </a:lnTo>
                  <a:lnTo>
                    <a:pt x="435" y="979"/>
                  </a:lnTo>
                  <a:lnTo>
                    <a:pt x="436" y="979"/>
                  </a:lnTo>
                  <a:lnTo>
                    <a:pt x="436" y="972"/>
                  </a:lnTo>
                  <a:lnTo>
                    <a:pt x="437" y="966"/>
                  </a:lnTo>
                  <a:lnTo>
                    <a:pt x="438" y="959"/>
                  </a:lnTo>
                  <a:lnTo>
                    <a:pt x="440" y="953"/>
                  </a:lnTo>
                  <a:lnTo>
                    <a:pt x="440" y="950"/>
                  </a:lnTo>
                  <a:lnTo>
                    <a:pt x="454" y="908"/>
                  </a:lnTo>
                  <a:lnTo>
                    <a:pt x="468" y="864"/>
                  </a:lnTo>
                  <a:lnTo>
                    <a:pt x="474" y="842"/>
                  </a:lnTo>
                  <a:lnTo>
                    <a:pt x="479" y="820"/>
                  </a:lnTo>
                  <a:lnTo>
                    <a:pt x="484" y="798"/>
                  </a:lnTo>
                  <a:lnTo>
                    <a:pt x="488" y="774"/>
                  </a:lnTo>
                  <a:lnTo>
                    <a:pt x="491" y="752"/>
                  </a:lnTo>
                  <a:lnTo>
                    <a:pt x="494" y="728"/>
                  </a:lnTo>
                  <a:lnTo>
                    <a:pt x="495" y="704"/>
                  </a:lnTo>
                  <a:lnTo>
                    <a:pt x="495" y="679"/>
                  </a:lnTo>
                  <a:lnTo>
                    <a:pt x="492" y="654"/>
                  </a:lnTo>
                  <a:lnTo>
                    <a:pt x="490" y="628"/>
                  </a:lnTo>
                  <a:lnTo>
                    <a:pt x="486" y="602"/>
                  </a:lnTo>
                  <a:lnTo>
                    <a:pt x="480" y="575"/>
                  </a:lnTo>
                  <a:lnTo>
                    <a:pt x="478" y="568"/>
                  </a:lnTo>
                  <a:lnTo>
                    <a:pt x="473" y="537"/>
                  </a:lnTo>
                  <a:lnTo>
                    <a:pt x="467" y="507"/>
                  </a:lnTo>
                  <a:lnTo>
                    <a:pt x="460" y="478"/>
                  </a:lnTo>
                  <a:lnTo>
                    <a:pt x="452" y="449"/>
                  </a:lnTo>
                  <a:lnTo>
                    <a:pt x="443" y="423"/>
                  </a:lnTo>
                  <a:lnTo>
                    <a:pt x="434" y="396"/>
                  </a:lnTo>
                  <a:lnTo>
                    <a:pt x="424" y="370"/>
                  </a:lnTo>
                  <a:lnTo>
                    <a:pt x="414" y="345"/>
                  </a:lnTo>
                  <a:lnTo>
                    <a:pt x="403" y="322"/>
                  </a:lnTo>
                  <a:lnTo>
                    <a:pt x="392" y="300"/>
                  </a:lnTo>
                  <a:lnTo>
                    <a:pt x="380" y="279"/>
                  </a:lnTo>
                  <a:lnTo>
                    <a:pt x="368" y="260"/>
                  </a:lnTo>
                  <a:lnTo>
                    <a:pt x="355" y="242"/>
                  </a:lnTo>
                  <a:lnTo>
                    <a:pt x="342" y="226"/>
                  </a:lnTo>
                  <a:lnTo>
                    <a:pt x="330" y="210"/>
                  </a:lnTo>
                  <a:lnTo>
                    <a:pt x="316" y="198"/>
                  </a:lnTo>
                  <a:lnTo>
                    <a:pt x="308" y="191"/>
                  </a:lnTo>
                  <a:lnTo>
                    <a:pt x="301" y="186"/>
                  </a:lnTo>
                  <a:lnTo>
                    <a:pt x="293" y="180"/>
                  </a:lnTo>
                  <a:lnTo>
                    <a:pt x="285" y="176"/>
                  </a:lnTo>
                  <a:lnTo>
                    <a:pt x="277" y="173"/>
                  </a:lnTo>
                  <a:lnTo>
                    <a:pt x="270" y="172"/>
                  </a:lnTo>
                  <a:lnTo>
                    <a:pt x="268" y="1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6" name="Freeform 12"/>
            <p:cNvSpPr>
              <a:spLocks noChangeArrowheads="1"/>
            </p:cNvSpPr>
            <p:nvPr/>
          </p:nvSpPr>
          <p:spPr bwMode="auto">
            <a:xfrm>
              <a:off x="7021513" y="1668360"/>
              <a:ext cx="215900" cy="825517"/>
            </a:xfrm>
            <a:custGeom>
              <a:avLst/>
              <a:gdLst>
                <a:gd name="T0" fmla="*/ 192 w 494"/>
                <a:gd name="T1" fmla="*/ 0 h 1487"/>
                <a:gd name="T2" fmla="*/ 216 w 494"/>
                <a:gd name="T3" fmla="*/ 5 h 1487"/>
                <a:gd name="T4" fmla="*/ 240 w 494"/>
                <a:gd name="T5" fmla="*/ 14 h 1487"/>
                <a:gd name="T6" fmla="*/ 262 w 494"/>
                <a:gd name="T7" fmla="*/ 28 h 1487"/>
                <a:gd name="T8" fmla="*/ 286 w 494"/>
                <a:gd name="T9" fmla="*/ 46 h 1487"/>
                <a:gd name="T10" fmla="*/ 308 w 494"/>
                <a:gd name="T11" fmla="*/ 68 h 1487"/>
                <a:gd name="T12" fmla="*/ 329 w 494"/>
                <a:gd name="T13" fmla="*/ 93 h 1487"/>
                <a:gd name="T14" fmla="*/ 350 w 494"/>
                <a:gd name="T15" fmla="*/ 122 h 1487"/>
                <a:gd name="T16" fmla="*/ 370 w 494"/>
                <a:gd name="T17" fmla="*/ 154 h 1487"/>
                <a:gd name="T18" fmla="*/ 389 w 494"/>
                <a:gd name="T19" fmla="*/ 188 h 1487"/>
                <a:gd name="T20" fmla="*/ 415 w 494"/>
                <a:gd name="T21" fmla="*/ 246 h 1487"/>
                <a:gd name="T22" fmla="*/ 445 w 494"/>
                <a:gd name="T23" fmla="*/ 329 h 1487"/>
                <a:gd name="T24" fmla="*/ 468 w 494"/>
                <a:gd name="T25" fmla="*/ 420 h 1487"/>
                <a:gd name="T26" fmla="*/ 484 w 494"/>
                <a:gd name="T27" fmla="*/ 499 h 1487"/>
                <a:gd name="T28" fmla="*/ 492 w 494"/>
                <a:gd name="T29" fmla="*/ 558 h 1487"/>
                <a:gd name="T30" fmla="*/ 494 w 494"/>
                <a:gd name="T31" fmla="*/ 615 h 1487"/>
                <a:gd name="T32" fmla="*/ 491 w 494"/>
                <a:gd name="T33" fmla="*/ 670 h 1487"/>
                <a:gd name="T34" fmla="*/ 483 w 494"/>
                <a:gd name="T35" fmla="*/ 721 h 1487"/>
                <a:gd name="T36" fmla="*/ 471 w 494"/>
                <a:gd name="T37" fmla="*/ 772 h 1487"/>
                <a:gd name="T38" fmla="*/ 450 w 494"/>
                <a:gd name="T39" fmla="*/ 844 h 1487"/>
                <a:gd name="T40" fmla="*/ 434 w 494"/>
                <a:gd name="T41" fmla="*/ 1487 h 1487"/>
                <a:gd name="T42" fmla="*/ 180 w 494"/>
                <a:gd name="T43" fmla="*/ 892 h 1487"/>
                <a:gd name="T44" fmla="*/ 150 w 494"/>
                <a:gd name="T45" fmla="*/ 858 h 1487"/>
                <a:gd name="T46" fmla="*/ 124 w 494"/>
                <a:gd name="T47" fmla="*/ 820 h 1487"/>
                <a:gd name="T48" fmla="*/ 101 w 494"/>
                <a:gd name="T49" fmla="*/ 779 h 1487"/>
                <a:gd name="T50" fmla="*/ 79 w 494"/>
                <a:gd name="T51" fmla="*/ 733 h 1487"/>
                <a:gd name="T52" fmla="*/ 60 w 494"/>
                <a:gd name="T53" fmla="*/ 683 h 1487"/>
                <a:gd name="T54" fmla="*/ 43 w 494"/>
                <a:gd name="T55" fmla="*/ 629 h 1487"/>
                <a:gd name="T56" fmla="*/ 11 w 494"/>
                <a:gd name="T57" fmla="*/ 510 h 1487"/>
                <a:gd name="T58" fmla="*/ 4 w 494"/>
                <a:gd name="T59" fmla="*/ 455 h 1487"/>
                <a:gd name="T60" fmla="*/ 1 w 494"/>
                <a:gd name="T61" fmla="*/ 403 h 1487"/>
                <a:gd name="T62" fmla="*/ 0 w 494"/>
                <a:gd name="T63" fmla="*/ 352 h 1487"/>
                <a:gd name="T64" fmla="*/ 2 w 494"/>
                <a:gd name="T65" fmla="*/ 305 h 1487"/>
                <a:gd name="T66" fmla="*/ 6 w 494"/>
                <a:gd name="T67" fmla="*/ 259 h 1487"/>
                <a:gd name="T68" fmla="*/ 12 w 494"/>
                <a:gd name="T69" fmla="*/ 217 h 1487"/>
                <a:gd name="T70" fmla="*/ 21 w 494"/>
                <a:gd name="T71" fmla="*/ 179 h 1487"/>
                <a:gd name="T72" fmla="*/ 32 w 494"/>
                <a:gd name="T73" fmla="*/ 143 h 1487"/>
                <a:gd name="T74" fmla="*/ 45 w 494"/>
                <a:gd name="T75" fmla="*/ 111 h 1487"/>
                <a:gd name="T76" fmla="*/ 59 w 494"/>
                <a:gd name="T77" fmla="*/ 82 h 1487"/>
                <a:gd name="T78" fmla="*/ 76 w 494"/>
                <a:gd name="T79" fmla="*/ 57 h 1487"/>
                <a:gd name="T80" fmla="*/ 94 w 494"/>
                <a:gd name="T81" fmla="*/ 37 h 1487"/>
                <a:gd name="T82" fmla="*/ 114 w 494"/>
                <a:gd name="T83" fmla="*/ 21 h 1487"/>
                <a:gd name="T84" fmla="*/ 135 w 494"/>
                <a:gd name="T85" fmla="*/ 9 h 1487"/>
                <a:gd name="T86" fmla="*/ 157 w 494"/>
                <a:gd name="T87" fmla="*/ 2 h 1487"/>
                <a:gd name="T88" fmla="*/ 180 w 494"/>
                <a:gd name="T89" fmla="*/ 0 h 1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4" h="1487">
                  <a:moveTo>
                    <a:pt x="180" y="0"/>
                  </a:moveTo>
                  <a:lnTo>
                    <a:pt x="192" y="0"/>
                  </a:lnTo>
                  <a:lnTo>
                    <a:pt x="204" y="2"/>
                  </a:lnTo>
                  <a:lnTo>
                    <a:pt x="216" y="5"/>
                  </a:lnTo>
                  <a:lnTo>
                    <a:pt x="227" y="9"/>
                  </a:lnTo>
                  <a:lnTo>
                    <a:pt x="240" y="14"/>
                  </a:lnTo>
                  <a:lnTo>
                    <a:pt x="251" y="20"/>
                  </a:lnTo>
                  <a:lnTo>
                    <a:pt x="262" y="28"/>
                  </a:lnTo>
                  <a:lnTo>
                    <a:pt x="275" y="37"/>
                  </a:lnTo>
                  <a:lnTo>
                    <a:pt x="286" y="46"/>
                  </a:lnTo>
                  <a:lnTo>
                    <a:pt x="296" y="56"/>
                  </a:lnTo>
                  <a:lnTo>
                    <a:pt x="308" y="68"/>
                  </a:lnTo>
                  <a:lnTo>
                    <a:pt x="319" y="80"/>
                  </a:lnTo>
                  <a:lnTo>
                    <a:pt x="329" y="93"/>
                  </a:lnTo>
                  <a:lnTo>
                    <a:pt x="340" y="107"/>
                  </a:lnTo>
                  <a:lnTo>
                    <a:pt x="350" y="122"/>
                  </a:lnTo>
                  <a:lnTo>
                    <a:pt x="360" y="138"/>
                  </a:lnTo>
                  <a:lnTo>
                    <a:pt x="370" y="154"/>
                  </a:lnTo>
                  <a:lnTo>
                    <a:pt x="380" y="171"/>
                  </a:lnTo>
                  <a:lnTo>
                    <a:pt x="389" y="188"/>
                  </a:lnTo>
                  <a:lnTo>
                    <a:pt x="398" y="207"/>
                  </a:lnTo>
                  <a:lnTo>
                    <a:pt x="415" y="246"/>
                  </a:lnTo>
                  <a:lnTo>
                    <a:pt x="430" y="286"/>
                  </a:lnTo>
                  <a:lnTo>
                    <a:pt x="445" y="329"/>
                  </a:lnTo>
                  <a:lnTo>
                    <a:pt x="457" y="374"/>
                  </a:lnTo>
                  <a:lnTo>
                    <a:pt x="468" y="420"/>
                  </a:lnTo>
                  <a:lnTo>
                    <a:pt x="477" y="467"/>
                  </a:lnTo>
                  <a:lnTo>
                    <a:pt x="484" y="499"/>
                  </a:lnTo>
                  <a:lnTo>
                    <a:pt x="489" y="529"/>
                  </a:lnTo>
                  <a:lnTo>
                    <a:pt x="492" y="558"/>
                  </a:lnTo>
                  <a:lnTo>
                    <a:pt x="494" y="587"/>
                  </a:lnTo>
                  <a:lnTo>
                    <a:pt x="494" y="615"/>
                  </a:lnTo>
                  <a:lnTo>
                    <a:pt x="493" y="643"/>
                  </a:lnTo>
                  <a:lnTo>
                    <a:pt x="491" y="670"/>
                  </a:lnTo>
                  <a:lnTo>
                    <a:pt x="488" y="695"/>
                  </a:lnTo>
                  <a:lnTo>
                    <a:pt x="483" y="721"/>
                  </a:lnTo>
                  <a:lnTo>
                    <a:pt x="478" y="747"/>
                  </a:lnTo>
                  <a:lnTo>
                    <a:pt x="471" y="772"/>
                  </a:lnTo>
                  <a:lnTo>
                    <a:pt x="465" y="795"/>
                  </a:lnTo>
                  <a:lnTo>
                    <a:pt x="450" y="844"/>
                  </a:lnTo>
                  <a:lnTo>
                    <a:pt x="434" y="892"/>
                  </a:lnTo>
                  <a:lnTo>
                    <a:pt x="434" y="1487"/>
                  </a:lnTo>
                  <a:lnTo>
                    <a:pt x="180" y="1487"/>
                  </a:lnTo>
                  <a:lnTo>
                    <a:pt x="180" y="892"/>
                  </a:lnTo>
                  <a:lnTo>
                    <a:pt x="164" y="876"/>
                  </a:lnTo>
                  <a:lnTo>
                    <a:pt x="150" y="858"/>
                  </a:lnTo>
                  <a:lnTo>
                    <a:pt x="137" y="840"/>
                  </a:lnTo>
                  <a:lnTo>
                    <a:pt x="124" y="820"/>
                  </a:lnTo>
                  <a:lnTo>
                    <a:pt x="112" y="800"/>
                  </a:lnTo>
                  <a:lnTo>
                    <a:pt x="101" y="779"/>
                  </a:lnTo>
                  <a:lnTo>
                    <a:pt x="89" y="756"/>
                  </a:lnTo>
                  <a:lnTo>
                    <a:pt x="79" y="733"/>
                  </a:lnTo>
                  <a:lnTo>
                    <a:pt x="70" y="708"/>
                  </a:lnTo>
                  <a:lnTo>
                    <a:pt x="60" y="683"/>
                  </a:lnTo>
                  <a:lnTo>
                    <a:pt x="51" y="656"/>
                  </a:lnTo>
                  <a:lnTo>
                    <a:pt x="43" y="629"/>
                  </a:lnTo>
                  <a:lnTo>
                    <a:pt x="26" y="572"/>
                  </a:lnTo>
                  <a:lnTo>
                    <a:pt x="11" y="510"/>
                  </a:lnTo>
                  <a:lnTo>
                    <a:pt x="7" y="482"/>
                  </a:lnTo>
                  <a:lnTo>
                    <a:pt x="4" y="455"/>
                  </a:lnTo>
                  <a:lnTo>
                    <a:pt x="2" y="428"/>
                  </a:lnTo>
                  <a:lnTo>
                    <a:pt x="1" y="403"/>
                  </a:lnTo>
                  <a:lnTo>
                    <a:pt x="0" y="377"/>
                  </a:lnTo>
                  <a:lnTo>
                    <a:pt x="0" y="352"/>
                  </a:lnTo>
                  <a:lnTo>
                    <a:pt x="0" y="328"/>
                  </a:lnTo>
                  <a:lnTo>
                    <a:pt x="2" y="305"/>
                  </a:lnTo>
                  <a:lnTo>
                    <a:pt x="3" y="282"/>
                  </a:lnTo>
                  <a:lnTo>
                    <a:pt x="6" y="259"/>
                  </a:lnTo>
                  <a:lnTo>
                    <a:pt x="8" y="238"/>
                  </a:lnTo>
                  <a:lnTo>
                    <a:pt x="12" y="217"/>
                  </a:lnTo>
                  <a:lnTo>
                    <a:pt x="16" y="198"/>
                  </a:lnTo>
                  <a:lnTo>
                    <a:pt x="21" y="179"/>
                  </a:lnTo>
                  <a:lnTo>
                    <a:pt x="26" y="160"/>
                  </a:lnTo>
                  <a:lnTo>
                    <a:pt x="32" y="143"/>
                  </a:lnTo>
                  <a:lnTo>
                    <a:pt x="38" y="126"/>
                  </a:lnTo>
                  <a:lnTo>
                    <a:pt x="45" y="111"/>
                  </a:lnTo>
                  <a:lnTo>
                    <a:pt x="52" y="97"/>
                  </a:lnTo>
                  <a:lnTo>
                    <a:pt x="59" y="82"/>
                  </a:lnTo>
                  <a:lnTo>
                    <a:pt x="68" y="70"/>
                  </a:lnTo>
                  <a:lnTo>
                    <a:pt x="76" y="57"/>
                  </a:lnTo>
                  <a:lnTo>
                    <a:pt x="85" y="47"/>
                  </a:lnTo>
                  <a:lnTo>
                    <a:pt x="94" y="37"/>
                  </a:lnTo>
                  <a:lnTo>
                    <a:pt x="104" y="28"/>
                  </a:lnTo>
                  <a:lnTo>
                    <a:pt x="114" y="21"/>
                  </a:lnTo>
                  <a:lnTo>
                    <a:pt x="124" y="14"/>
                  </a:lnTo>
                  <a:lnTo>
                    <a:pt x="135" y="9"/>
                  </a:lnTo>
                  <a:lnTo>
                    <a:pt x="146" y="5"/>
                  </a:lnTo>
                  <a:lnTo>
                    <a:pt x="157" y="2"/>
                  </a:lnTo>
                  <a:lnTo>
                    <a:pt x="169" y="0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7" name="Freeform 13"/>
            <p:cNvSpPr>
              <a:spLocks noChangeArrowheads="1"/>
            </p:cNvSpPr>
            <p:nvPr/>
          </p:nvSpPr>
          <p:spPr bwMode="auto">
            <a:xfrm>
              <a:off x="6964363" y="3160642"/>
              <a:ext cx="1187450" cy="1427192"/>
            </a:xfrm>
            <a:custGeom>
              <a:avLst/>
              <a:gdLst>
                <a:gd name="T0" fmla="*/ 2636 w 2636"/>
                <a:gd name="T1" fmla="*/ 500 h 2571"/>
                <a:gd name="T2" fmla="*/ 2439 w 2636"/>
                <a:gd name="T3" fmla="*/ 798 h 2571"/>
                <a:gd name="T4" fmla="*/ 2118 w 2636"/>
                <a:gd name="T5" fmla="*/ 1087 h 2571"/>
                <a:gd name="T6" fmla="*/ 1894 w 2636"/>
                <a:gd name="T7" fmla="*/ 1207 h 2571"/>
                <a:gd name="T8" fmla="*/ 2010 w 2636"/>
                <a:gd name="T9" fmla="*/ 1831 h 2571"/>
                <a:gd name="T10" fmla="*/ 2078 w 2636"/>
                <a:gd name="T11" fmla="*/ 2486 h 2571"/>
                <a:gd name="T12" fmla="*/ 2047 w 2636"/>
                <a:gd name="T13" fmla="*/ 2552 h 2571"/>
                <a:gd name="T14" fmla="*/ 1527 w 2636"/>
                <a:gd name="T15" fmla="*/ 2571 h 2571"/>
                <a:gd name="T16" fmla="*/ 1462 w 2636"/>
                <a:gd name="T17" fmla="*/ 2543 h 2571"/>
                <a:gd name="T18" fmla="*/ 1431 w 2636"/>
                <a:gd name="T19" fmla="*/ 2405 h 2571"/>
                <a:gd name="T20" fmla="*/ 1389 w 2636"/>
                <a:gd name="T21" fmla="*/ 1938 h 2571"/>
                <a:gd name="T22" fmla="*/ 1279 w 2636"/>
                <a:gd name="T23" fmla="*/ 1601 h 2571"/>
                <a:gd name="T24" fmla="*/ 982 w 2636"/>
                <a:gd name="T25" fmla="*/ 1606 h 2571"/>
                <a:gd name="T26" fmla="*/ 663 w 2636"/>
                <a:gd name="T27" fmla="*/ 1545 h 2571"/>
                <a:gd name="T28" fmla="*/ 438 w 2636"/>
                <a:gd name="T29" fmla="*/ 1495 h 2571"/>
                <a:gd name="T30" fmla="*/ 235 w 2636"/>
                <a:gd name="T31" fmla="*/ 1414 h 2571"/>
                <a:gd name="T32" fmla="*/ 95 w 2636"/>
                <a:gd name="T33" fmla="*/ 1319 h 2571"/>
                <a:gd name="T34" fmla="*/ 16 w 2636"/>
                <a:gd name="T35" fmla="*/ 1224 h 2571"/>
                <a:gd name="T36" fmla="*/ 1 w 2636"/>
                <a:gd name="T37" fmla="*/ 1155 h 2571"/>
                <a:gd name="T38" fmla="*/ 46 w 2636"/>
                <a:gd name="T39" fmla="*/ 1075 h 2571"/>
                <a:gd name="T40" fmla="*/ 173 w 2636"/>
                <a:gd name="T41" fmla="*/ 1025 h 2571"/>
                <a:gd name="T42" fmla="*/ 473 w 2636"/>
                <a:gd name="T43" fmla="*/ 1014 h 2571"/>
                <a:gd name="T44" fmla="*/ 2636 w 2636"/>
                <a:gd name="T45" fmla="*/ 500 h 2571"/>
                <a:gd name="T46" fmla="*/ 2514 w 2636"/>
                <a:gd name="T47" fmla="*/ 231 h 2571"/>
                <a:gd name="T48" fmla="*/ 2260 w 2636"/>
                <a:gd name="T49" fmla="*/ 431 h 2571"/>
                <a:gd name="T50" fmla="*/ 2024 w 2636"/>
                <a:gd name="T51" fmla="*/ 702 h 2571"/>
                <a:gd name="T52" fmla="*/ 1909 w 2636"/>
                <a:gd name="T53" fmla="*/ 896 h 2571"/>
                <a:gd name="T54" fmla="*/ 1878 w 2636"/>
                <a:gd name="T55" fmla="*/ 1033 h 2571"/>
                <a:gd name="T56" fmla="*/ 2134 w 2636"/>
                <a:gd name="T57" fmla="*/ 852 h 2571"/>
                <a:gd name="T58" fmla="*/ 2482 w 2636"/>
                <a:gd name="T59" fmla="*/ 427 h 2571"/>
                <a:gd name="T60" fmla="*/ 1696 w 2636"/>
                <a:gd name="T61" fmla="*/ 1120 h 2571"/>
                <a:gd name="T62" fmla="*/ 1670 w 2636"/>
                <a:gd name="T63" fmla="*/ 986 h 2571"/>
                <a:gd name="T64" fmla="*/ 1533 w 2636"/>
                <a:gd name="T65" fmla="*/ 853 h 2571"/>
                <a:gd name="T66" fmla="*/ 1336 w 2636"/>
                <a:gd name="T67" fmla="*/ 1006 h 2571"/>
                <a:gd name="T68" fmla="*/ 1433 w 2636"/>
                <a:gd name="T69" fmla="*/ 1376 h 2571"/>
                <a:gd name="T70" fmla="*/ 1482 w 2636"/>
                <a:gd name="T71" fmla="*/ 1445 h 2571"/>
                <a:gd name="T72" fmla="*/ 1555 w 2636"/>
                <a:gd name="T73" fmla="*/ 1880 h 2571"/>
                <a:gd name="T74" fmla="*/ 1596 w 2636"/>
                <a:gd name="T75" fmla="*/ 2334 h 2571"/>
                <a:gd name="T76" fmla="*/ 1854 w 2636"/>
                <a:gd name="T77" fmla="*/ 1964 h 2571"/>
                <a:gd name="T78" fmla="*/ 1739 w 2636"/>
                <a:gd name="T79" fmla="*/ 1286 h 2571"/>
                <a:gd name="T80" fmla="*/ 1198 w 2636"/>
                <a:gd name="T81" fmla="*/ 1346 h 2571"/>
                <a:gd name="T82" fmla="*/ 876 w 2636"/>
                <a:gd name="T83" fmla="*/ 1229 h 2571"/>
                <a:gd name="T84" fmla="*/ 678 w 2636"/>
                <a:gd name="T85" fmla="*/ 1198 h 2571"/>
                <a:gd name="T86" fmla="*/ 294 w 2636"/>
                <a:gd name="T87" fmla="*/ 1185 h 2571"/>
                <a:gd name="T88" fmla="*/ 230 w 2636"/>
                <a:gd name="T89" fmla="*/ 1224 h 2571"/>
                <a:gd name="T90" fmla="*/ 549 w 2636"/>
                <a:gd name="T91" fmla="*/ 1348 h 2571"/>
                <a:gd name="T92" fmla="*/ 818 w 2636"/>
                <a:gd name="T93" fmla="*/ 1402 h 2571"/>
                <a:gd name="T94" fmla="*/ 1116 w 2636"/>
                <a:gd name="T95" fmla="*/ 1444 h 2571"/>
                <a:gd name="T96" fmla="*/ 1307 w 2636"/>
                <a:gd name="T97" fmla="*/ 1416 h 2571"/>
                <a:gd name="T98" fmla="*/ 854 w 2636"/>
                <a:gd name="T99" fmla="*/ 1048 h 2571"/>
                <a:gd name="T100" fmla="*/ 1009 w 2636"/>
                <a:gd name="T101" fmla="*/ 1089 h 2571"/>
                <a:gd name="T102" fmla="*/ 1149 w 2636"/>
                <a:gd name="T103" fmla="*/ 982 h 2571"/>
                <a:gd name="T104" fmla="*/ 1158 w 2636"/>
                <a:gd name="T105" fmla="*/ 910 h 2571"/>
                <a:gd name="T106" fmla="*/ 1209 w 2636"/>
                <a:gd name="T107" fmla="*/ 872 h 2571"/>
                <a:gd name="T108" fmla="*/ 1335 w 2636"/>
                <a:gd name="T109" fmla="*/ 795 h 2571"/>
                <a:gd name="T110" fmla="*/ 1493 w 2636"/>
                <a:gd name="T111" fmla="*/ 680 h 2571"/>
                <a:gd name="T112" fmla="*/ 1639 w 2636"/>
                <a:gd name="T113" fmla="*/ 661 h 2571"/>
                <a:gd name="T114" fmla="*/ 1767 w 2636"/>
                <a:gd name="T115" fmla="*/ 800 h 2571"/>
                <a:gd name="T116" fmla="*/ 1840 w 2636"/>
                <a:gd name="T117" fmla="*/ 672 h 2571"/>
                <a:gd name="T118" fmla="*/ 2019 w 2636"/>
                <a:gd name="T119" fmla="*/ 425 h 2571"/>
                <a:gd name="T120" fmla="*/ 2312 w 2636"/>
                <a:gd name="T121" fmla="*/ 166 h 2571"/>
                <a:gd name="T122" fmla="*/ 2559 w 2636"/>
                <a:gd name="T123" fmla="*/ 15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36" h="2571">
                  <a:moveTo>
                    <a:pt x="2629" y="179"/>
                  </a:moveTo>
                  <a:lnTo>
                    <a:pt x="2627" y="179"/>
                  </a:lnTo>
                  <a:lnTo>
                    <a:pt x="2627" y="178"/>
                  </a:lnTo>
                  <a:lnTo>
                    <a:pt x="2626" y="178"/>
                  </a:lnTo>
                  <a:lnTo>
                    <a:pt x="2622" y="175"/>
                  </a:lnTo>
                  <a:lnTo>
                    <a:pt x="2621" y="175"/>
                  </a:lnTo>
                  <a:lnTo>
                    <a:pt x="2628" y="179"/>
                  </a:lnTo>
                  <a:lnTo>
                    <a:pt x="2629" y="179"/>
                  </a:lnTo>
                  <a:close/>
                  <a:moveTo>
                    <a:pt x="2636" y="500"/>
                  </a:moveTo>
                  <a:lnTo>
                    <a:pt x="2614" y="534"/>
                  </a:lnTo>
                  <a:lnTo>
                    <a:pt x="2593" y="570"/>
                  </a:lnTo>
                  <a:lnTo>
                    <a:pt x="2570" y="607"/>
                  </a:lnTo>
                  <a:lnTo>
                    <a:pt x="2546" y="643"/>
                  </a:lnTo>
                  <a:lnTo>
                    <a:pt x="2522" y="680"/>
                  </a:lnTo>
                  <a:lnTo>
                    <a:pt x="2496" y="718"/>
                  </a:lnTo>
                  <a:lnTo>
                    <a:pt x="2470" y="755"/>
                  </a:lnTo>
                  <a:lnTo>
                    <a:pt x="2443" y="792"/>
                  </a:lnTo>
                  <a:lnTo>
                    <a:pt x="2439" y="798"/>
                  </a:lnTo>
                  <a:lnTo>
                    <a:pt x="2434" y="802"/>
                  </a:lnTo>
                  <a:lnTo>
                    <a:pt x="2435" y="803"/>
                  </a:lnTo>
                  <a:lnTo>
                    <a:pt x="2387" y="851"/>
                  </a:lnTo>
                  <a:lnTo>
                    <a:pt x="2339" y="897"/>
                  </a:lnTo>
                  <a:lnTo>
                    <a:pt x="2293" y="941"/>
                  </a:lnTo>
                  <a:lnTo>
                    <a:pt x="2248" y="982"/>
                  </a:lnTo>
                  <a:lnTo>
                    <a:pt x="2203" y="1020"/>
                  </a:lnTo>
                  <a:lnTo>
                    <a:pt x="2160" y="1055"/>
                  </a:lnTo>
                  <a:lnTo>
                    <a:pt x="2118" y="1087"/>
                  </a:lnTo>
                  <a:lnTo>
                    <a:pt x="2078" y="1116"/>
                  </a:lnTo>
                  <a:lnTo>
                    <a:pt x="2054" y="1132"/>
                  </a:lnTo>
                  <a:lnTo>
                    <a:pt x="2030" y="1147"/>
                  </a:lnTo>
                  <a:lnTo>
                    <a:pt x="2007" y="1160"/>
                  </a:lnTo>
                  <a:lnTo>
                    <a:pt x="1983" y="1173"/>
                  </a:lnTo>
                  <a:lnTo>
                    <a:pt x="1960" y="1184"/>
                  </a:lnTo>
                  <a:lnTo>
                    <a:pt x="1938" y="1193"/>
                  </a:lnTo>
                  <a:lnTo>
                    <a:pt x="1916" y="1200"/>
                  </a:lnTo>
                  <a:lnTo>
                    <a:pt x="1894" y="1207"/>
                  </a:lnTo>
                  <a:lnTo>
                    <a:pt x="1911" y="1270"/>
                  </a:lnTo>
                  <a:lnTo>
                    <a:pt x="1926" y="1336"/>
                  </a:lnTo>
                  <a:lnTo>
                    <a:pt x="1941" y="1404"/>
                  </a:lnTo>
                  <a:lnTo>
                    <a:pt x="1955" y="1472"/>
                  </a:lnTo>
                  <a:lnTo>
                    <a:pt x="1968" y="1543"/>
                  </a:lnTo>
                  <a:lnTo>
                    <a:pt x="1979" y="1614"/>
                  </a:lnTo>
                  <a:lnTo>
                    <a:pt x="1990" y="1686"/>
                  </a:lnTo>
                  <a:lnTo>
                    <a:pt x="2000" y="1758"/>
                  </a:lnTo>
                  <a:lnTo>
                    <a:pt x="2010" y="1831"/>
                  </a:lnTo>
                  <a:lnTo>
                    <a:pt x="2018" y="1904"/>
                  </a:lnTo>
                  <a:lnTo>
                    <a:pt x="2027" y="1977"/>
                  </a:lnTo>
                  <a:lnTo>
                    <a:pt x="2034" y="2049"/>
                  </a:lnTo>
                  <a:lnTo>
                    <a:pt x="2043" y="2121"/>
                  </a:lnTo>
                  <a:lnTo>
                    <a:pt x="2050" y="2192"/>
                  </a:lnTo>
                  <a:lnTo>
                    <a:pt x="2056" y="2262"/>
                  </a:lnTo>
                  <a:lnTo>
                    <a:pt x="2063" y="2331"/>
                  </a:lnTo>
                  <a:lnTo>
                    <a:pt x="2078" y="2478"/>
                  </a:lnTo>
                  <a:lnTo>
                    <a:pt x="2078" y="2486"/>
                  </a:lnTo>
                  <a:lnTo>
                    <a:pt x="2078" y="2495"/>
                  </a:lnTo>
                  <a:lnTo>
                    <a:pt x="2076" y="2503"/>
                  </a:lnTo>
                  <a:lnTo>
                    <a:pt x="2074" y="2512"/>
                  </a:lnTo>
                  <a:lnTo>
                    <a:pt x="2071" y="2519"/>
                  </a:lnTo>
                  <a:lnTo>
                    <a:pt x="2067" y="2526"/>
                  </a:lnTo>
                  <a:lnTo>
                    <a:pt x="2063" y="2533"/>
                  </a:lnTo>
                  <a:lnTo>
                    <a:pt x="2058" y="2539"/>
                  </a:lnTo>
                  <a:lnTo>
                    <a:pt x="2053" y="2546"/>
                  </a:lnTo>
                  <a:lnTo>
                    <a:pt x="2047" y="2552"/>
                  </a:lnTo>
                  <a:lnTo>
                    <a:pt x="2040" y="2557"/>
                  </a:lnTo>
                  <a:lnTo>
                    <a:pt x="2032" y="2561"/>
                  </a:lnTo>
                  <a:lnTo>
                    <a:pt x="2025" y="2564"/>
                  </a:lnTo>
                  <a:lnTo>
                    <a:pt x="2017" y="2567"/>
                  </a:lnTo>
                  <a:lnTo>
                    <a:pt x="2009" y="2569"/>
                  </a:lnTo>
                  <a:lnTo>
                    <a:pt x="2000" y="2570"/>
                  </a:lnTo>
                  <a:lnTo>
                    <a:pt x="1992" y="2570"/>
                  </a:lnTo>
                  <a:lnTo>
                    <a:pt x="1992" y="2571"/>
                  </a:lnTo>
                  <a:lnTo>
                    <a:pt x="1527" y="2571"/>
                  </a:lnTo>
                  <a:lnTo>
                    <a:pt x="1517" y="2570"/>
                  </a:lnTo>
                  <a:lnTo>
                    <a:pt x="1509" y="2569"/>
                  </a:lnTo>
                  <a:lnTo>
                    <a:pt x="1502" y="2567"/>
                  </a:lnTo>
                  <a:lnTo>
                    <a:pt x="1494" y="2565"/>
                  </a:lnTo>
                  <a:lnTo>
                    <a:pt x="1487" y="2561"/>
                  </a:lnTo>
                  <a:lnTo>
                    <a:pt x="1479" y="2558"/>
                  </a:lnTo>
                  <a:lnTo>
                    <a:pt x="1473" y="2553"/>
                  </a:lnTo>
                  <a:lnTo>
                    <a:pt x="1467" y="2548"/>
                  </a:lnTo>
                  <a:lnTo>
                    <a:pt x="1462" y="2543"/>
                  </a:lnTo>
                  <a:lnTo>
                    <a:pt x="1457" y="2535"/>
                  </a:lnTo>
                  <a:lnTo>
                    <a:pt x="1453" y="2529"/>
                  </a:lnTo>
                  <a:lnTo>
                    <a:pt x="1448" y="2522"/>
                  </a:lnTo>
                  <a:lnTo>
                    <a:pt x="1445" y="2515"/>
                  </a:lnTo>
                  <a:lnTo>
                    <a:pt x="1443" y="2506"/>
                  </a:lnTo>
                  <a:lnTo>
                    <a:pt x="1441" y="2499"/>
                  </a:lnTo>
                  <a:lnTo>
                    <a:pt x="1440" y="2490"/>
                  </a:lnTo>
                  <a:lnTo>
                    <a:pt x="1435" y="2448"/>
                  </a:lnTo>
                  <a:lnTo>
                    <a:pt x="1431" y="2405"/>
                  </a:lnTo>
                  <a:lnTo>
                    <a:pt x="1427" y="2363"/>
                  </a:lnTo>
                  <a:lnTo>
                    <a:pt x="1423" y="2320"/>
                  </a:lnTo>
                  <a:lnTo>
                    <a:pt x="1419" y="2279"/>
                  </a:lnTo>
                  <a:lnTo>
                    <a:pt x="1415" y="2236"/>
                  </a:lnTo>
                  <a:lnTo>
                    <a:pt x="1411" y="2194"/>
                  </a:lnTo>
                  <a:lnTo>
                    <a:pt x="1408" y="2152"/>
                  </a:lnTo>
                  <a:lnTo>
                    <a:pt x="1402" y="2081"/>
                  </a:lnTo>
                  <a:lnTo>
                    <a:pt x="1396" y="2010"/>
                  </a:lnTo>
                  <a:lnTo>
                    <a:pt x="1389" y="1938"/>
                  </a:lnTo>
                  <a:lnTo>
                    <a:pt x="1381" y="1868"/>
                  </a:lnTo>
                  <a:lnTo>
                    <a:pt x="1373" y="1797"/>
                  </a:lnTo>
                  <a:lnTo>
                    <a:pt x="1363" y="1726"/>
                  </a:lnTo>
                  <a:lnTo>
                    <a:pt x="1352" y="1656"/>
                  </a:lnTo>
                  <a:lnTo>
                    <a:pt x="1339" y="1586"/>
                  </a:lnTo>
                  <a:lnTo>
                    <a:pt x="1325" y="1590"/>
                  </a:lnTo>
                  <a:lnTo>
                    <a:pt x="1309" y="1594"/>
                  </a:lnTo>
                  <a:lnTo>
                    <a:pt x="1295" y="1598"/>
                  </a:lnTo>
                  <a:lnTo>
                    <a:pt x="1279" y="1601"/>
                  </a:lnTo>
                  <a:lnTo>
                    <a:pt x="1251" y="1605"/>
                  </a:lnTo>
                  <a:lnTo>
                    <a:pt x="1221" y="1610"/>
                  </a:lnTo>
                  <a:lnTo>
                    <a:pt x="1190" y="1613"/>
                  </a:lnTo>
                  <a:lnTo>
                    <a:pt x="1158" y="1614"/>
                  </a:lnTo>
                  <a:lnTo>
                    <a:pt x="1125" y="1615"/>
                  </a:lnTo>
                  <a:lnTo>
                    <a:pt x="1090" y="1614"/>
                  </a:lnTo>
                  <a:lnTo>
                    <a:pt x="1055" y="1613"/>
                  </a:lnTo>
                  <a:lnTo>
                    <a:pt x="1019" y="1610"/>
                  </a:lnTo>
                  <a:lnTo>
                    <a:pt x="982" y="1606"/>
                  </a:lnTo>
                  <a:lnTo>
                    <a:pt x="945" y="1601"/>
                  </a:lnTo>
                  <a:lnTo>
                    <a:pt x="906" y="1595"/>
                  </a:lnTo>
                  <a:lnTo>
                    <a:pt x="866" y="1588"/>
                  </a:lnTo>
                  <a:lnTo>
                    <a:pt x="827" y="1581"/>
                  </a:lnTo>
                  <a:lnTo>
                    <a:pt x="786" y="1571"/>
                  </a:lnTo>
                  <a:lnTo>
                    <a:pt x="745" y="1561"/>
                  </a:lnTo>
                  <a:lnTo>
                    <a:pt x="704" y="1550"/>
                  </a:lnTo>
                  <a:lnTo>
                    <a:pt x="683" y="1547"/>
                  </a:lnTo>
                  <a:lnTo>
                    <a:pt x="663" y="1545"/>
                  </a:lnTo>
                  <a:lnTo>
                    <a:pt x="643" y="1542"/>
                  </a:lnTo>
                  <a:lnTo>
                    <a:pt x="622" y="1538"/>
                  </a:lnTo>
                  <a:lnTo>
                    <a:pt x="604" y="1534"/>
                  </a:lnTo>
                  <a:lnTo>
                    <a:pt x="584" y="1531"/>
                  </a:lnTo>
                  <a:lnTo>
                    <a:pt x="566" y="1527"/>
                  </a:lnTo>
                  <a:lnTo>
                    <a:pt x="547" y="1523"/>
                  </a:lnTo>
                  <a:lnTo>
                    <a:pt x="510" y="1515"/>
                  </a:lnTo>
                  <a:lnTo>
                    <a:pt x="474" y="1505"/>
                  </a:lnTo>
                  <a:lnTo>
                    <a:pt x="438" y="1495"/>
                  </a:lnTo>
                  <a:lnTo>
                    <a:pt x="404" y="1485"/>
                  </a:lnTo>
                  <a:lnTo>
                    <a:pt x="380" y="1477"/>
                  </a:lnTo>
                  <a:lnTo>
                    <a:pt x="358" y="1468"/>
                  </a:lnTo>
                  <a:lnTo>
                    <a:pt x="336" y="1460"/>
                  </a:lnTo>
                  <a:lnTo>
                    <a:pt x="314" y="1451"/>
                  </a:lnTo>
                  <a:lnTo>
                    <a:pt x="294" y="1443"/>
                  </a:lnTo>
                  <a:lnTo>
                    <a:pt x="273" y="1433"/>
                  </a:lnTo>
                  <a:lnTo>
                    <a:pt x="254" y="1423"/>
                  </a:lnTo>
                  <a:lnTo>
                    <a:pt x="235" y="1414"/>
                  </a:lnTo>
                  <a:lnTo>
                    <a:pt x="217" y="1403"/>
                  </a:lnTo>
                  <a:lnTo>
                    <a:pt x="199" y="1393"/>
                  </a:lnTo>
                  <a:lnTo>
                    <a:pt x="182" y="1383"/>
                  </a:lnTo>
                  <a:lnTo>
                    <a:pt x="165" y="1372"/>
                  </a:lnTo>
                  <a:lnTo>
                    <a:pt x="150" y="1362"/>
                  </a:lnTo>
                  <a:lnTo>
                    <a:pt x="135" y="1352"/>
                  </a:lnTo>
                  <a:lnTo>
                    <a:pt x="121" y="1341"/>
                  </a:lnTo>
                  <a:lnTo>
                    <a:pt x="107" y="1330"/>
                  </a:lnTo>
                  <a:lnTo>
                    <a:pt x="95" y="1319"/>
                  </a:lnTo>
                  <a:lnTo>
                    <a:pt x="83" y="1309"/>
                  </a:lnTo>
                  <a:lnTo>
                    <a:pt x="71" y="1297"/>
                  </a:lnTo>
                  <a:lnTo>
                    <a:pt x="61" y="1287"/>
                  </a:lnTo>
                  <a:lnTo>
                    <a:pt x="52" y="1277"/>
                  </a:lnTo>
                  <a:lnTo>
                    <a:pt x="42" y="1265"/>
                  </a:lnTo>
                  <a:lnTo>
                    <a:pt x="35" y="1255"/>
                  </a:lnTo>
                  <a:lnTo>
                    <a:pt x="28" y="1245"/>
                  </a:lnTo>
                  <a:lnTo>
                    <a:pt x="21" y="1234"/>
                  </a:lnTo>
                  <a:lnTo>
                    <a:pt x="16" y="1224"/>
                  </a:lnTo>
                  <a:lnTo>
                    <a:pt x="11" y="1214"/>
                  </a:lnTo>
                  <a:lnTo>
                    <a:pt x="6" y="1204"/>
                  </a:lnTo>
                  <a:lnTo>
                    <a:pt x="3" y="1195"/>
                  </a:lnTo>
                  <a:lnTo>
                    <a:pt x="1" y="1186"/>
                  </a:lnTo>
                  <a:lnTo>
                    <a:pt x="0" y="1177"/>
                  </a:lnTo>
                  <a:lnTo>
                    <a:pt x="0" y="1167"/>
                  </a:lnTo>
                  <a:lnTo>
                    <a:pt x="0" y="1162"/>
                  </a:lnTo>
                  <a:lnTo>
                    <a:pt x="0" y="1157"/>
                  </a:lnTo>
                  <a:lnTo>
                    <a:pt x="1" y="1155"/>
                  </a:lnTo>
                  <a:lnTo>
                    <a:pt x="0" y="1155"/>
                  </a:lnTo>
                  <a:lnTo>
                    <a:pt x="2" y="1143"/>
                  </a:lnTo>
                  <a:lnTo>
                    <a:pt x="5" y="1131"/>
                  </a:lnTo>
                  <a:lnTo>
                    <a:pt x="10" y="1120"/>
                  </a:lnTo>
                  <a:lnTo>
                    <a:pt x="15" y="1110"/>
                  </a:lnTo>
                  <a:lnTo>
                    <a:pt x="21" y="1100"/>
                  </a:lnTo>
                  <a:lnTo>
                    <a:pt x="28" y="1091"/>
                  </a:lnTo>
                  <a:lnTo>
                    <a:pt x="36" y="1083"/>
                  </a:lnTo>
                  <a:lnTo>
                    <a:pt x="46" y="1075"/>
                  </a:lnTo>
                  <a:lnTo>
                    <a:pt x="55" y="1067"/>
                  </a:lnTo>
                  <a:lnTo>
                    <a:pt x="66" y="1060"/>
                  </a:lnTo>
                  <a:lnTo>
                    <a:pt x="79" y="1054"/>
                  </a:lnTo>
                  <a:lnTo>
                    <a:pt x="91" y="1048"/>
                  </a:lnTo>
                  <a:lnTo>
                    <a:pt x="104" y="1043"/>
                  </a:lnTo>
                  <a:lnTo>
                    <a:pt x="120" y="1037"/>
                  </a:lnTo>
                  <a:lnTo>
                    <a:pt x="135" y="1033"/>
                  </a:lnTo>
                  <a:lnTo>
                    <a:pt x="151" y="1029"/>
                  </a:lnTo>
                  <a:lnTo>
                    <a:pt x="173" y="1025"/>
                  </a:lnTo>
                  <a:lnTo>
                    <a:pt x="197" y="1021"/>
                  </a:lnTo>
                  <a:lnTo>
                    <a:pt x="223" y="1018"/>
                  </a:lnTo>
                  <a:lnTo>
                    <a:pt x="251" y="1016"/>
                  </a:lnTo>
                  <a:lnTo>
                    <a:pt x="279" y="1014"/>
                  </a:lnTo>
                  <a:lnTo>
                    <a:pt x="310" y="1013"/>
                  </a:lnTo>
                  <a:lnTo>
                    <a:pt x="341" y="1012"/>
                  </a:lnTo>
                  <a:lnTo>
                    <a:pt x="375" y="1012"/>
                  </a:lnTo>
                  <a:lnTo>
                    <a:pt x="423" y="1012"/>
                  </a:lnTo>
                  <a:lnTo>
                    <a:pt x="473" y="1014"/>
                  </a:lnTo>
                  <a:lnTo>
                    <a:pt x="526" y="1016"/>
                  </a:lnTo>
                  <a:lnTo>
                    <a:pt x="581" y="1019"/>
                  </a:lnTo>
                  <a:lnTo>
                    <a:pt x="638" y="1023"/>
                  </a:lnTo>
                  <a:lnTo>
                    <a:pt x="695" y="1028"/>
                  </a:lnTo>
                  <a:lnTo>
                    <a:pt x="755" y="1033"/>
                  </a:lnTo>
                  <a:lnTo>
                    <a:pt x="815" y="1040"/>
                  </a:lnTo>
                  <a:lnTo>
                    <a:pt x="823" y="1042"/>
                  </a:lnTo>
                  <a:lnTo>
                    <a:pt x="822" y="1041"/>
                  </a:lnTo>
                  <a:lnTo>
                    <a:pt x="2636" y="500"/>
                  </a:lnTo>
                  <a:close/>
                  <a:moveTo>
                    <a:pt x="2557" y="291"/>
                  </a:moveTo>
                  <a:lnTo>
                    <a:pt x="2572" y="260"/>
                  </a:lnTo>
                  <a:lnTo>
                    <a:pt x="2585" y="231"/>
                  </a:lnTo>
                  <a:lnTo>
                    <a:pt x="2594" y="206"/>
                  </a:lnTo>
                  <a:lnTo>
                    <a:pt x="2602" y="182"/>
                  </a:lnTo>
                  <a:lnTo>
                    <a:pt x="2583" y="191"/>
                  </a:lnTo>
                  <a:lnTo>
                    <a:pt x="2562" y="202"/>
                  </a:lnTo>
                  <a:lnTo>
                    <a:pt x="2538" y="216"/>
                  </a:lnTo>
                  <a:lnTo>
                    <a:pt x="2514" y="231"/>
                  </a:lnTo>
                  <a:lnTo>
                    <a:pt x="2489" y="248"/>
                  </a:lnTo>
                  <a:lnTo>
                    <a:pt x="2463" y="266"/>
                  </a:lnTo>
                  <a:lnTo>
                    <a:pt x="2435" y="286"/>
                  </a:lnTo>
                  <a:lnTo>
                    <a:pt x="2407" y="308"/>
                  </a:lnTo>
                  <a:lnTo>
                    <a:pt x="2379" y="330"/>
                  </a:lnTo>
                  <a:lnTo>
                    <a:pt x="2350" y="354"/>
                  </a:lnTo>
                  <a:lnTo>
                    <a:pt x="2320" y="379"/>
                  </a:lnTo>
                  <a:lnTo>
                    <a:pt x="2290" y="405"/>
                  </a:lnTo>
                  <a:lnTo>
                    <a:pt x="2260" y="431"/>
                  </a:lnTo>
                  <a:lnTo>
                    <a:pt x="2229" y="459"/>
                  </a:lnTo>
                  <a:lnTo>
                    <a:pt x="2199" y="488"/>
                  </a:lnTo>
                  <a:lnTo>
                    <a:pt x="2169" y="517"/>
                  </a:lnTo>
                  <a:lnTo>
                    <a:pt x="2140" y="546"/>
                  </a:lnTo>
                  <a:lnTo>
                    <a:pt x="2115" y="578"/>
                  </a:lnTo>
                  <a:lnTo>
                    <a:pt x="2091" y="610"/>
                  </a:lnTo>
                  <a:lnTo>
                    <a:pt x="2067" y="641"/>
                  </a:lnTo>
                  <a:lnTo>
                    <a:pt x="2045" y="672"/>
                  </a:lnTo>
                  <a:lnTo>
                    <a:pt x="2024" y="702"/>
                  </a:lnTo>
                  <a:lnTo>
                    <a:pt x="2004" y="732"/>
                  </a:lnTo>
                  <a:lnTo>
                    <a:pt x="1984" y="762"/>
                  </a:lnTo>
                  <a:lnTo>
                    <a:pt x="1967" y="792"/>
                  </a:lnTo>
                  <a:lnTo>
                    <a:pt x="1959" y="802"/>
                  </a:lnTo>
                  <a:lnTo>
                    <a:pt x="1953" y="814"/>
                  </a:lnTo>
                  <a:lnTo>
                    <a:pt x="1947" y="825"/>
                  </a:lnTo>
                  <a:lnTo>
                    <a:pt x="1940" y="836"/>
                  </a:lnTo>
                  <a:lnTo>
                    <a:pt x="1923" y="867"/>
                  </a:lnTo>
                  <a:lnTo>
                    <a:pt x="1909" y="896"/>
                  </a:lnTo>
                  <a:lnTo>
                    <a:pt x="1896" y="924"/>
                  </a:lnTo>
                  <a:lnTo>
                    <a:pt x="1886" y="951"/>
                  </a:lnTo>
                  <a:lnTo>
                    <a:pt x="1877" y="976"/>
                  </a:lnTo>
                  <a:lnTo>
                    <a:pt x="1872" y="998"/>
                  </a:lnTo>
                  <a:lnTo>
                    <a:pt x="1869" y="1009"/>
                  </a:lnTo>
                  <a:lnTo>
                    <a:pt x="1868" y="1019"/>
                  </a:lnTo>
                  <a:lnTo>
                    <a:pt x="1867" y="1029"/>
                  </a:lnTo>
                  <a:lnTo>
                    <a:pt x="1866" y="1039"/>
                  </a:lnTo>
                  <a:lnTo>
                    <a:pt x="1878" y="1033"/>
                  </a:lnTo>
                  <a:lnTo>
                    <a:pt x="1891" y="1028"/>
                  </a:lnTo>
                  <a:lnTo>
                    <a:pt x="1905" y="1022"/>
                  </a:lnTo>
                  <a:lnTo>
                    <a:pt x="1919" y="1014"/>
                  </a:lnTo>
                  <a:lnTo>
                    <a:pt x="1949" y="996"/>
                  </a:lnTo>
                  <a:lnTo>
                    <a:pt x="1982" y="975"/>
                  </a:lnTo>
                  <a:lnTo>
                    <a:pt x="2018" y="949"/>
                  </a:lnTo>
                  <a:lnTo>
                    <a:pt x="2055" y="920"/>
                  </a:lnTo>
                  <a:lnTo>
                    <a:pt x="2094" y="888"/>
                  </a:lnTo>
                  <a:lnTo>
                    <a:pt x="2134" y="852"/>
                  </a:lnTo>
                  <a:lnTo>
                    <a:pt x="2177" y="815"/>
                  </a:lnTo>
                  <a:lnTo>
                    <a:pt x="2220" y="774"/>
                  </a:lnTo>
                  <a:lnTo>
                    <a:pt x="2264" y="731"/>
                  </a:lnTo>
                  <a:lnTo>
                    <a:pt x="2309" y="686"/>
                  </a:lnTo>
                  <a:lnTo>
                    <a:pt x="2347" y="632"/>
                  </a:lnTo>
                  <a:lnTo>
                    <a:pt x="2383" y="580"/>
                  </a:lnTo>
                  <a:lnTo>
                    <a:pt x="2418" y="527"/>
                  </a:lnTo>
                  <a:lnTo>
                    <a:pt x="2451" y="476"/>
                  </a:lnTo>
                  <a:lnTo>
                    <a:pt x="2482" y="427"/>
                  </a:lnTo>
                  <a:lnTo>
                    <a:pt x="2509" y="379"/>
                  </a:lnTo>
                  <a:lnTo>
                    <a:pt x="2535" y="333"/>
                  </a:lnTo>
                  <a:lnTo>
                    <a:pt x="2557" y="291"/>
                  </a:lnTo>
                  <a:close/>
                  <a:moveTo>
                    <a:pt x="1701" y="1156"/>
                  </a:moveTo>
                  <a:lnTo>
                    <a:pt x="1699" y="1149"/>
                  </a:lnTo>
                  <a:lnTo>
                    <a:pt x="1697" y="1142"/>
                  </a:lnTo>
                  <a:lnTo>
                    <a:pt x="1696" y="1135"/>
                  </a:lnTo>
                  <a:lnTo>
                    <a:pt x="1696" y="1127"/>
                  </a:lnTo>
                  <a:lnTo>
                    <a:pt x="1696" y="1120"/>
                  </a:lnTo>
                  <a:lnTo>
                    <a:pt x="1696" y="1113"/>
                  </a:lnTo>
                  <a:lnTo>
                    <a:pt x="1698" y="1106"/>
                  </a:lnTo>
                  <a:lnTo>
                    <a:pt x="1700" y="1098"/>
                  </a:lnTo>
                  <a:lnTo>
                    <a:pt x="1703" y="1090"/>
                  </a:lnTo>
                  <a:lnTo>
                    <a:pt x="1707" y="1083"/>
                  </a:lnTo>
                  <a:lnTo>
                    <a:pt x="1703" y="1075"/>
                  </a:lnTo>
                  <a:lnTo>
                    <a:pt x="1700" y="1067"/>
                  </a:lnTo>
                  <a:lnTo>
                    <a:pt x="1685" y="1025"/>
                  </a:lnTo>
                  <a:lnTo>
                    <a:pt x="1670" y="986"/>
                  </a:lnTo>
                  <a:lnTo>
                    <a:pt x="1654" y="950"/>
                  </a:lnTo>
                  <a:lnTo>
                    <a:pt x="1637" y="917"/>
                  </a:lnTo>
                  <a:lnTo>
                    <a:pt x="1625" y="895"/>
                  </a:lnTo>
                  <a:lnTo>
                    <a:pt x="1610" y="874"/>
                  </a:lnTo>
                  <a:lnTo>
                    <a:pt x="1595" y="853"/>
                  </a:lnTo>
                  <a:lnTo>
                    <a:pt x="1578" y="832"/>
                  </a:lnTo>
                  <a:lnTo>
                    <a:pt x="1563" y="837"/>
                  </a:lnTo>
                  <a:lnTo>
                    <a:pt x="1547" y="845"/>
                  </a:lnTo>
                  <a:lnTo>
                    <a:pt x="1533" y="853"/>
                  </a:lnTo>
                  <a:lnTo>
                    <a:pt x="1519" y="862"/>
                  </a:lnTo>
                  <a:lnTo>
                    <a:pt x="1492" y="884"/>
                  </a:lnTo>
                  <a:lnTo>
                    <a:pt x="1465" y="908"/>
                  </a:lnTo>
                  <a:lnTo>
                    <a:pt x="1436" y="934"/>
                  </a:lnTo>
                  <a:lnTo>
                    <a:pt x="1406" y="959"/>
                  </a:lnTo>
                  <a:lnTo>
                    <a:pt x="1390" y="971"/>
                  </a:lnTo>
                  <a:lnTo>
                    <a:pt x="1372" y="983"/>
                  </a:lnTo>
                  <a:lnTo>
                    <a:pt x="1355" y="994"/>
                  </a:lnTo>
                  <a:lnTo>
                    <a:pt x="1336" y="1006"/>
                  </a:lnTo>
                  <a:lnTo>
                    <a:pt x="1438" y="1311"/>
                  </a:lnTo>
                  <a:lnTo>
                    <a:pt x="1440" y="1320"/>
                  </a:lnTo>
                  <a:lnTo>
                    <a:pt x="1441" y="1329"/>
                  </a:lnTo>
                  <a:lnTo>
                    <a:pt x="1442" y="1338"/>
                  </a:lnTo>
                  <a:lnTo>
                    <a:pt x="1441" y="1349"/>
                  </a:lnTo>
                  <a:lnTo>
                    <a:pt x="1439" y="1358"/>
                  </a:lnTo>
                  <a:lnTo>
                    <a:pt x="1437" y="1367"/>
                  </a:lnTo>
                  <a:lnTo>
                    <a:pt x="1433" y="1376"/>
                  </a:lnTo>
                  <a:lnTo>
                    <a:pt x="1428" y="1385"/>
                  </a:lnTo>
                  <a:lnTo>
                    <a:pt x="1437" y="1389"/>
                  </a:lnTo>
                  <a:lnTo>
                    <a:pt x="1446" y="1394"/>
                  </a:lnTo>
                  <a:lnTo>
                    <a:pt x="1455" y="1400"/>
                  </a:lnTo>
                  <a:lnTo>
                    <a:pt x="1462" y="1408"/>
                  </a:lnTo>
                  <a:lnTo>
                    <a:pt x="1469" y="1416"/>
                  </a:lnTo>
                  <a:lnTo>
                    <a:pt x="1474" y="1425"/>
                  </a:lnTo>
                  <a:lnTo>
                    <a:pt x="1478" y="1434"/>
                  </a:lnTo>
                  <a:lnTo>
                    <a:pt x="1482" y="1445"/>
                  </a:lnTo>
                  <a:lnTo>
                    <a:pt x="1493" y="1489"/>
                  </a:lnTo>
                  <a:lnTo>
                    <a:pt x="1502" y="1532"/>
                  </a:lnTo>
                  <a:lnTo>
                    <a:pt x="1511" y="1577"/>
                  </a:lnTo>
                  <a:lnTo>
                    <a:pt x="1519" y="1620"/>
                  </a:lnTo>
                  <a:lnTo>
                    <a:pt x="1527" y="1663"/>
                  </a:lnTo>
                  <a:lnTo>
                    <a:pt x="1533" y="1706"/>
                  </a:lnTo>
                  <a:lnTo>
                    <a:pt x="1539" y="1750"/>
                  </a:lnTo>
                  <a:lnTo>
                    <a:pt x="1545" y="1793"/>
                  </a:lnTo>
                  <a:lnTo>
                    <a:pt x="1555" y="1880"/>
                  </a:lnTo>
                  <a:lnTo>
                    <a:pt x="1564" y="1965"/>
                  </a:lnTo>
                  <a:lnTo>
                    <a:pt x="1571" y="2052"/>
                  </a:lnTo>
                  <a:lnTo>
                    <a:pt x="1578" y="2137"/>
                  </a:lnTo>
                  <a:lnTo>
                    <a:pt x="1581" y="2170"/>
                  </a:lnTo>
                  <a:lnTo>
                    <a:pt x="1584" y="2203"/>
                  </a:lnTo>
                  <a:lnTo>
                    <a:pt x="1586" y="2236"/>
                  </a:lnTo>
                  <a:lnTo>
                    <a:pt x="1590" y="2269"/>
                  </a:lnTo>
                  <a:lnTo>
                    <a:pt x="1593" y="2301"/>
                  </a:lnTo>
                  <a:lnTo>
                    <a:pt x="1596" y="2334"/>
                  </a:lnTo>
                  <a:lnTo>
                    <a:pt x="1599" y="2367"/>
                  </a:lnTo>
                  <a:lnTo>
                    <a:pt x="1602" y="2399"/>
                  </a:lnTo>
                  <a:lnTo>
                    <a:pt x="1899" y="2399"/>
                  </a:lnTo>
                  <a:lnTo>
                    <a:pt x="1893" y="2348"/>
                  </a:lnTo>
                  <a:lnTo>
                    <a:pt x="1886" y="2272"/>
                  </a:lnTo>
                  <a:lnTo>
                    <a:pt x="1879" y="2197"/>
                  </a:lnTo>
                  <a:lnTo>
                    <a:pt x="1871" y="2120"/>
                  </a:lnTo>
                  <a:lnTo>
                    <a:pt x="1862" y="2042"/>
                  </a:lnTo>
                  <a:lnTo>
                    <a:pt x="1854" y="1964"/>
                  </a:lnTo>
                  <a:lnTo>
                    <a:pt x="1845" y="1885"/>
                  </a:lnTo>
                  <a:lnTo>
                    <a:pt x="1835" y="1806"/>
                  </a:lnTo>
                  <a:lnTo>
                    <a:pt x="1823" y="1729"/>
                  </a:lnTo>
                  <a:lnTo>
                    <a:pt x="1812" y="1652"/>
                  </a:lnTo>
                  <a:lnTo>
                    <a:pt x="1800" y="1576"/>
                  </a:lnTo>
                  <a:lnTo>
                    <a:pt x="1786" y="1500"/>
                  </a:lnTo>
                  <a:lnTo>
                    <a:pt x="1772" y="1427"/>
                  </a:lnTo>
                  <a:lnTo>
                    <a:pt x="1755" y="1356"/>
                  </a:lnTo>
                  <a:lnTo>
                    <a:pt x="1739" y="1286"/>
                  </a:lnTo>
                  <a:lnTo>
                    <a:pt x="1720" y="1220"/>
                  </a:lnTo>
                  <a:lnTo>
                    <a:pt x="1701" y="1156"/>
                  </a:lnTo>
                  <a:close/>
                  <a:moveTo>
                    <a:pt x="1307" y="1416"/>
                  </a:moveTo>
                  <a:lnTo>
                    <a:pt x="1316" y="1413"/>
                  </a:lnTo>
                  <a:lnTo>
                    <a:pt x="1309" y="1409"/>
                  </a:lnTo>
                  <a:lnTo>
                    <a:pt x="1275" y="1388"/>
                  </a:lnTo>
                  <a:lnTo>
                    <a:pt x="1238" y="1366"/>
                  </a:lnTo>
                  <a:lnTo>
                    <a:pt x="1198" y="1346"/>
                  </a:lnTo>
                  <a:lnTo>
                    <a:pt x="1155" y="1325"/>
                  </a:lnTo>
                  <a:lnTo>
                    <a:pt x="1109" y="1305"/>
                  </a:lnTo>
                  <a:lnTo>
                    <a:pt x="1060" y="1287"/>
                  </a:lnTo>
                  <a:lnTo>
                    <a:pt x="1011" y="1269"/>
                  </a:lnTo>
                  <a:lnTo>
                    <a:pt x="959" y="1252"/>
                  </a:lnTo>
                  <a:lnTo>
                    <a:pt x="940" y="1247"/>
                  </a:lnTo>
                  <a:lnTo>
                    <a:pt x="919" y="1241"/>
                  </a:lnTo>
                  <a:lnTo>
                    <a:pt x="897" y="1235"/>
                  </a:lnTo>
                  <a:lnTo>
                    <a:pt x="876" y="1229"/>
                  </a:lnTo>
                  <a:lnTo>
                    <a:pt x="854" y="1224"/>
                  </a:lnTo>
                  <a:lnTo>
                    <a:pt x="835" y="1219"/>
                  </a:lnTo>
                  <a:lnTo>
                    <a:pt x="815" y="1215"/>
                  </a:lnTo>
                  <a:lnTo>
                    <a:pt x="796" y="1211"/>
                  </a:lnTo>
                  <a:lnTo>
                    <a:pt x="791" y="1210"/>
                  </a:lnTo>
                  <a:lnTo>
                    <a:pt x="790" y="1210"/>
                  </a:lnTo>
                  <a:lnTo>
                    <a:pt x="734" y="1203"/>
                  </a:lnTo>
                  <a:lnTo>
                    <a:pt x="678" y="1198"/>
                  </a:lnTo>
                  <a:lnTo>
                    <a:pt x="623" y="1194"/>
                  </a:lnTo>
                  <a:lnTo>
                    <a:pt x="570" y="1190"/>
                  </a:lnTo>
                  <a:lnTo>
                    <a:pt x="518" y="1187"/>
                  </a:lnTo>
                  <a:lnTo>
                    <a:pt x="468" y="1185"/>
                  </a:lnTo>
                  <a:lnTo>
                    <a:pt x="420" y="1184"/>
                  </a:lnTo>
                  <a:lnTo>
                    <a:pt x="375" y="1183"/>
                  </a:lnTo>
                  <a:lnTo>
                    <a:pt x="346" y="1183"/>
                  </a:lnTo>
                  <a:lnTo>
                    <a:pt x="320" y="1184"/>
                  </a:lnTo>
                  <a:lnTo>
                    <a:pt x="294" y="1185"/>
                  </a:lnTo>
                  <a:lnTo>
                    <a:pt x="270" y="1186"/>
                  </a:lnTo>
                  <a:lnTo>
                    <a:pt x="247" y="1188"/>
                  </a:lnTo>
                  <a:lnTo>
                    <a:pt x="227" y="1190"/>
                  </a:lnTo>
                  <a:lnTo>
                    <a:pt x="207" y="1193"/>
                  </a:lnTo>
                  <a:lnTo>
                    <a:pt x="191" y="1196"/>
                  </a:lnTo>
                  <a:lnTo>
                    <a:pt x="198" y="1202"/>
                  </a:lnTo>
                  <a:lnTo>
                    <a:pt x="207" y="1210"/>
                  </a:lnTo>
                  <a:lnTo>
                    <a:pt x="218" y="1217"/>
                  </a:lnTo>
                  <a:lnTo>
                    <a:pt x="230" y="1224"/>
                  </a:lnTo>
                  <a:lnTo>
                    <a:pt x="257" y="1240"/>
                  </a:lnTo>
                  <a:lnTo>
                    <a:pt x="288" y="1255"/>
                  </a:lnTo>
                  <a:lnTo>
                    <a:pt x="324" y="1271"/>
                  </a:lnTo>
                  <a:lnTo>
                    <a:pt x="364" y="1289"/>
                  </a:lnTo>
                  <a:lnTo>
                    <a:pt x="408" y="1305"/>
                  </a:lnTo>
                  <a:lnTo>
                    <a:pt x="457" y="1322"/>
                  </a:lnTo>
                  <a:lnTo>
                    <a:pt x="486" y="1331"/>
                  </a:lnTo>
                  <a:lnTo>
                    <a:pt x="517" y="1340"/>
                  </a:lnTo>
                  <a:lnTo>
                    <a:pt x="549" y="1348"/>
                  </a:lnTo>
                  <a:lnTo>
                    <a:pt x="583" y="1356"/>
                  </a:lnTo>
                  <a:lnTo>
                    <a:pt x="617" y="1363"/>
                  </a:lnTo>
                  <a:lnTo>
                    <a:pt x="653" y="1369"/>
                  </a:lnTo>
                  <a:lnTo>
                    <a:pt x="688" y="1375"/>
                  </a:lnTo>
                  <a:lnTo>
                    <a:pt x="725" y="1380"/>
                  </a:lnTo>
                  <a:lnTo>
                    <a:pt x="735" y="1381"/>
                  </a:lnTo>
                  <a:lnTo>
                    <a:pt x="745" y="1383"/>
                  </a:lnTo>
                  <a:lnTo>
                    <a:pt x="782" y="1393"/>
                  </a:lnTo>
                  <a:lnTo>
                    <a:pt x="818" y="1402"/>
                  </a:lnTo>
                  <a:lnTo>
                    <a:pt x="854" y="1411"/>
                  </a:lnTo>
                  <a:lnTo>
                    <a:pt x="890" y="1418"/>
                  </a:lnTo>
                  <a:lnTo>
                    <a:pt x="924" y="1425"/>
                  </a:lnTo>
                  <a:lnTo>
                    <a:pt x="958" y="1430"/>
                  </a:lnTo>
                  <a:lnTo>
                    <a:pt x="992" y="1435"/>
                  </a:lnTo>
                  <a:lnTo>
                    <a:pt x="1024" y="1438"/>
                  </a:lnTo>
                  <a:lnTo>
                    <a:pt x="1055" y="1442"/>
                  </a:lnTo>
                  <a:lnTo>
                    <a:pt x="1086" y="1443"/>
                  </a:lnTo>
                  <a:lnTo>
                    <a:pt x="1116" y="1444"/>
                  </a:lnTo>
                  <a:lnTo>
                    <a:pt x="1144" y="1444"/>
                  </a:lnTo>
                  <a:lnTo>
                    <a:pt x="1171" y="1443"/>
                  </a:lnTo>
                  <a:lnTo>
                    <a:pt x="1198" y="1439"/>
                  </a:lnTo>
                  <a:lnTo>
                    <a:pt x="1223" y="1436"/>
                  </a:lnTo>
                  <a:lnTo>
                    <a:pt x="1248" y="1432"/>
                  </a:lnTo>
                  <a:lnTo>
                    <a:pt x="1263" y="1429"/>
                  </a:lnTo>
                  <a:lnTo>
                    <a:pt x="1279" y="1425"/>
                  </a:lnTo>
                  <a:lnTo>
                    <a:pt x="1294" y="1421"/>
                  </a:lnTo>
                  <a:lnTo>
                    <a:pt x="1307" y="1416"/>
                  </a:lnTo>
                  <a:close/>
                  <a:moveTo>
                    <a:pt x="171" y="1169"/>
                  </a:moveTo>
                  <a:lnTo>
                    <a:pt x="172" y="1174"/>
                  </a:lnTo>
                  <a:lnTo>
                    <a:pt x="175" y="1178"/>
                  </a:lnTo>
                  <a:lnTo>
                    <a:pt x="172" y="1170"/>
                  </a:lnTo>
                  <a:lnTo>
                    <a:pt x="171" y="1169"/>
                  </a:lnTo>
                  <a:close/>
                  <a:moveTo>
                    <a:pt x="823" y="1042"/>
                  </a:moveTo>
                  <a:lnTo>
                    <a:pt x="825" y="1042"/>
                  </a:lnTo>
                  <a:lnTo>
                    <a:pt x="831" y="1043"/>
                  </a:lnTo>
                  <a:lnTo>
                    <a:pt x="854" y="1048"/>
                  </a:lnTo>
                  <a:lnTo>
                    <a:pt x="877" y="1053"/>
                  </a:lnTo>
                  <a:lnTo>
                    <a:pt x="897" y="1058"/>
                  </a:lnTo>
                  <a:lnTo>
                    <a:pt x="917" y="1062"/>
                  </a:lnTo>
                  <a:lnTo>
                    <a:pt x="918" y="1063"/>
                  </a:lnTo>
                  <a:lnTo>
                    <a:pt x="918" y="1062"/>
                  </a:lnTo>
                  <a:lnTo>
                    <a:pt x="940" y="1068"/>
                  </a:lnTo>
                  <a:lnTo>
                    <a:pt x="962" y="1075"/>
                  </a:lnTo>
                  <a:lnTo>
                    <a:pt x="985" y="1082"/>
                  </a:lnTo>
                  <a:lnTo>
                    <a:pt x="1009" y="1089"/>
                  </a:lnTo>
                  <a:lnTo>
                    <a:pt x="1035" y="1097"/>
                  </a:lnTo>
                  <a:lnTo>
                    <a:pt x="1061" y="1106"/>
                  </a:lnTo>
                  <a:lnTo>
                    <a:pt x="1087" y="1115"/>
                  </a:lnTo>
                  <a:lnTo>
                    <a:pt x="1112" y="1123"/>
                  </a:lnTo>
                  <a:lnTo>
                    <a:pt x="1136" y="1133"/>
                  </a:lnTo>
                  <a:lnTo>
                    <a:pt x="1161" y="1143"/>
                  </a:lnTo>
                  <a:lnTo>
                    <a:pt x="1185" y="1152"/>
                  </a:lnTo>
                  <a:lnTo>
                    <a:pt x="1208" y="1162"/>
                  </a:lnTo>
                  <a:lnTo>
                    <a:pt x="1149" y="982"/>
                  </a:lnTo>
                  <a:lnTo>
                    <a:pt x="1147" y="974"/>
                  </a:lnTo>
                  <a:lnTo>
                    <a:pt x="1145" y="965"/>
                  </a:lnTo>
                  <a:lnTo>
                    <a:pt x="1145" y="957"/>
                  </a:lnTo>
                  <a:lnTo>
                    <a:pt x="1145" y="949"/>
                  </a:lnTo>
                  <a:lnTo>
                    <a:pt x="1146" y="941"/>
                  </a:lnTo>
                  <a:lnTo>
                    <a:pt x="1148" y="932"/>
                  </a:lnTo>
                  <a:lnTo>
                    <a:pt x="1151" y="924"/>
                  </a:lnTo>
                  <a:lnTo>
                    <a:pt x="1154" y="917"/>
                  </a:lnTo>
                  <a:lnTo>
                    <a:pt x="1158" y="910"/>
                  </a:lnTo>
                  <a:lnTo>
                    <a:pt x="1162" y="903"/>
                  </a:lnTo>
                  <a:lnTo>
                    <a:pt x="1167" y="896"/>
                  </a:lnTo>
                  <a:lnTo>
                    <a:pt x="1173" y="891"/>
                  </a:lnTo>
                  <a:lnTo>
                    <a:pt x="1181" y="886"/>
                  </a:lnTo>
                  <a:lnTo>
                    <a:pt x="1187" y="881"/>
                  </a:lnTo>
                  <a:lnTo>
                    <a:pt x="1195" y="878"/>
                  </a:lnTo>
                  <a:lnTo>
                    <a:pt x="1203" y="874"/>
                  </a:lnTo>
                  <a:lnTo>
                    <a:pt x="1209" y="873"/>
                  </a:lnTo>
                  <a:lnTo>
                    <a:pt x="1209" y="872"/>
                  </a:lnTo>
                  <a:lnTo>
                    <a:pt x="1220" y="869"/>
                  </a:lnTo>
                  <a:lnTo>
                    <a:pt x="1230" y="865"/>
                  </a:lnTo>
                  <a:lnTo>
                    <a:pt x="1239" y="861"/>
                  </a:lnTo>
                  <a:lnTo>
                    <a:pt x="1250" y="857"/>
                  </a:lnTo>
                  <a:lnTo>
                    <a:pt x="1268" y="847"/>
                  </a:lnTo>
                  <a:lnTo>
                    <a:pt x="1286" y="835"/>
                  </a:lnTo>
                  <a:lnTo>
                    <a:pt x="1302" y="823"/>
                  </a:lnTo>
                  <a:lnTo>
                    <a:pt x="1319" y="810"/>
                  </a:lnTo>
                  <a:lnTo>
                    <a:pt x="1335" y="795"/>
                  </a:lnTo>
                  <a:lnTo>
                    <a:pt x="1351" y="781"/>
                  </a:lnTo>
                  <a:lnTo>
                    <a:pt x="1376" y="758"/>
                  </a:lnTo>
                  <a:lnTo>
                    <a:pt x="1403" y="735"/>
                  </a:lnTo>
                  <a:lnTo>
                    <a:pt x="1416" y="724"/>
                  </a:lnTo>
                  <a:lnTo>
                    <a:pt x="1431" y="714"/>
                  </a:lnTo>
                  <a:lnTo>
                    <a:pt x="1445" y="705"/>
                  </a:lnTo>
                  <a:lnTo>
                    <a:pt x="1461" y="695"/>
                  </a:lnTo>
                  <a:lnTo>
                    <a:pt x="1476" y="687"/>
                  </a:lnTo>
                  <a:lnTo>
                    <a:pt x="1493" y="680"/>
                  </a:lnTo>
                  <a:lnTo>
                    <a:pt x="1509" y="674"/>
                  </a:lnTo>
                  <a:lnTo>
                    <a:pt x="1528" y="667"/>
                  </a:lnTo>
                  <a:lnTo>
                    <a:pt x="1547" y="663"/>
                  </a:lnTo>
                  <a:lnTo>
                    <a:pt x="1567" y="660"/>
                  </a:lnTo>
                  <a:lnTo>
                    <a:pt x="1588" y="657"/>
                  </a:lnTo>
                  <a:lnTo>
                    <a:pt x="1611" y="657"/>
                  </a:lnTo>
                  <a:lnTo>
                    <a:pt x="1620" y="657"/>
                  </a:lnTo>
                  <a:lnTo>
                    <a:pt x="1630" y="659"/>
                  </a:lnTo>
                  <a:lnTo>
                    <a:pt x="1639" y="661"/>
                  </a:lnTo>
                  <a:lnTo>
                    <a:pt x="1647" y="664"/>
                  </a:lnTo>
                  <a:lnTo>
                    <a:pt x="1655" y="669"/>
                  </a:lnTo>
                  <a:lnTo>
                    <a:pt x="1663" y="674"/>
                  </a:lnTo>
                  <a:lnTo>
                    <a:pt x="1669" y="680"/>
                  </a:lnTo>
                  <a:lnTo>
                    <a:pt x="1676" y="686"/>
                  </a:lnTo>
                  <a:lnTo>
                    <a:pt x="1702" y="714"/>
                  </a:lnTo>
                  <a:lnTo>
                    <a:pt x="1725" y="742"/>
                  </a:lnTo>
                  <a:lnTo>
                    <a:pt x="1746" y="770"/>
                  </a:lnTo>
                  <a:lnTo>
                    <a:pt x="1767" y="800"/>
                  </a:lnTo>
                  <a:lnTo>
                    <a:pt x="1772" y="789"/>
                  </a:lnTo>
                  <a:lnTo>
                    <a:pt x="1778" y="777"/>
                  </a:lnTo>
                  <a:lnTo>
                    <a:pt x="1784" y="765"/>
                  </a:lnTo>
                  <a:lnTo>
                    <a:pt x="1791" y="754"/>
                  </a:lnTo>
                  <a:lnTo>
                    <a:pt x="1798" y="742"/>
                  </a:lnTo>
                  <a:lnTo>
                    <a:pt x="1805" y="730"/>
                  </a:lnTo>
                  <a:lnTo>
                    <a:pt x="1812" y="717"/>
                  </a:lnTo>
                  <a:lnTo>
                    <a:pt x="1820" y="703"/>
                  </a:lnTo>
                  <a:lnTo>
                    <a:pt x="1840" y="672"/>
                  </a:lnTo>
                  <a:lnTo>
                    <a:pt x="1861" y="639"/>
                  </a:lnTo>
                  <a:lnTo>
                    <a:pt x="1884" y="606"/>
                  </a:lnTo>
                  <a:lnTo>
                    <a:pt x="1908" y="572"/>
                  </a:lnTo>
                  <a:lnTo>
                    <a:pt x="1931" y="538"/>
                  </a:lnTo>
                  <a:lnTo>
                    <a:pt x="1957" y="503"/>
                  </a:lnTo>
                  <a:lnTo>
                    <a:pt x="1984" y="468"/>
                  </a:lnTo>
                  <a:lnTo>
                    <a:pt x="2011" y="434"/>
                  </a:lnTo>
                  <a:lnTo>
                    <a:pt x="2015" y="429"/>
                  </a:lnTo>
                  <a:lnTo>
                    <a:pt x="2019" y="425"/>
                  </a:lnTo>
                  <a:lnTo>
                    <a:pt x="2051" y="393"/>
                  </a:lnTo>
                  <a:lnTo>
                    <a:pt x="2084" y="362"/>
                  </a:lnTo>
                  <a:lnTo>
                    <a:pt x="2117" y="331"/>
                  </a:lnTo>
                  <a:lnTo>
                    <a:pt x="2150" y="301"/>
                  </a:lnTo>
                  <a:lnTo>
                    <a:pt x="2183" y="273"/>
                  </a:lnTo>
                  <a:lnTo>
                    <a:pt x="2215" y="244"/>
                  </a:lnTo>
                  <a:lnTo>
                    <a:pt x="2248" y="217"/>
                  </a:lnTo>
                  <a:lnTo>
                    <a:pt x="2280" y="191"/>
                  </a:lnTo>
                  <a:lnTo>
                    <a:pt x="2312" y="166"/>
                  </a:lnTo>
                  <a:lnTo>
                    <a:pt x="2342" y="143"/>
                  </a:lnTo>
                  <a:lnTo>
                    <a:pt x="2372" y="121"/>
                  </a:lnTo>
                  <a:lnTo>
                    <a:pt x="2401" y="100"/>
                  </a:lnTo>
                  <a:lnTo>
                    <a:pt x="2430" y="82"/>
                  </a:lnTo>
                  <a:lnTo>
                    <a:pt x="2457" y="65"/>
                  </a:lnTo>
                  <a:lnTo>
                    <a:pt x="2483" y="50"/>
                  </a:lnTo>
                  <a:lnTo>
                    <a:pt x="2507" y="38"/>
                  </a:lnTo>
                  <a:lnTo>
                    <a:pt x="2533" y="25"/>
                  </a:lnTo>
                  <a:lnTo>
                    <a:pt x="2559" y="15"/>
                  </a:lnTo>
                  <a:lnTo>
                    <a:pt x="2571" y="11"/>
                  </a:lnTo>
                  <a:lnTo>
                    <a:pt x="2582" y="8"/>
                  </a:lnTo>
                  <a:lnTo>
                    <a:pt x="2594" y="5"/>
                  </a:lnTo>
                  <a:lnTo>
                    <a:pt x="2605" y="3"/>
                  </a:lnTo>
                  <a:lnTo>
                    <a:pt x="2611" y="1"/>
                  </a:lnTo>
                  <a:lnTo>
                    <a:pt x="2624" y="0"/>
                  </a:lnTo>
                  <a:lnTo>
                    <a:pt x="2636" y="0"/>
                  </a:lnTo>
                  <a:lnTo>
                    <a:pt x="823" y="104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38" name="Freeform 14"/>
            <p:cNvSpPr>
              <a:spLocks noChangeArrowheads="1"/>
            </p:cNvSpPr>
            <p:nvPr/>
          </p:nvSpPr>
          <p:spPr bwMode="auto">
            <a:xfrm>
              <a:off x="7007225" y="3213030"/>
              <a:ext cx="1144588" cy="1328766"/>
            </a:xfrm>
            <a:custGeom>
              <a:avLst/>
              <a:gdLst>
                <a:gd name="T0" fmla="*/ 2438 w 2550"/>
                <a:gd name="T1" fmla="*/ 435 h 2399"/>
                <a:gd name="T2" fmla="*/ 2241 w 2550"/>
                <a:gd name="T3" fmla="*/ 704 h 2399"/>
                <a:gd name="T4" fmla="*/ 2022 w 2550"/>
                <a:gd name="T5" fmla="*/ 901 h 2399"/>
                <a:gd name="T6" fmla="*/ 1889 w 2550"/>
                <a:gd name="T7" fmla="*/ 995 h 2399"/>
                <a:gd name="T8" fmla="*/ 1805 w 2550"/>
                <a:gd name="T9" fmla="*/ 1033 h 2399"/>
                <a:gd name="T10" fmla="*/ 1732 w 2550"/>
                <a:gd name="T11" fmla="*/ 1045 h 2399"/>
                <a:gd name="T12" fmla="*/ 1718 w 2550"/>
                <a:gd name="T13" fmla="*/ 1112 h 2399"/>
                <a:gd name="T14" fmla="*/ 1766 w 2550"/>
                <a:gd name="T15" fmla="*/ 1311 h 2399"/>
                <a:gd name="T16" fmla="*/ 1832 w 2550"/>
                <a:gd name="T17" fmla="*/ 1703 h 2399"/>
                <a:gd name="T18" fmla="*/ 1882 w 2550"/>
                <a:gd name="T19" fmla="*/ 2149 h 2399"/>
                <a:gd name="T20" fmla="*/ 1786 w 2550"/>
                <a:gd name="T21" fmla="*/ 2399 h 2399"/>
                <a:gd name="T22" fmla="*/ 1502 w 2550"/>
                <a:gd name="T23" fmla="*/ 2399 h 2399"/>
                <a:gd name="T24" fmla="*/ 1414 w 2550"/>
                <a:gd name="T25" fmla="*/ 2144 h 2399"/>
                <a:gd name="T26" fmla="*/ 1386 w 2550"/>
                <a:gd name="T27" fmla="*/ 1826 h 2399"/>
                <a:gd name="T28" fmla="*/ 1341 w 2550"/>
                <a:gd name="T29" fmla="*/ 1507 h 2399"/>
                <a:gd name="T30" fmla="*/ 1274 w 2550"/>
                <a:gd name="T31" fmla="*/ 1401 h 2399"/>
                <a:gd name="T32" fmla="*/ 1196 w 2550"/>
                <a:gd name="T33" fmla="*/ 1427 h 2399"/>
                <a:gd name="T34" fmla="*/ 1101 w 2550"/>
                <a:gd name="T35" fmla="*/ 1441 h 2399"/>
                <a:gd name="T36" fmla="*/ 993 w 2550"/>
                <a:gd name="T37" fmla="*/ 1442 h 2399"/>
                <a:gd name="T38" fmla="*/ 797 w 2550"/>
                <a:gd name="T39" fmla="*/ 1418 h 2399"/>
                <a:gd name="T40" fmla="*/ 565 w 2550"/>
                <a:gd name="T41" fmla="*/ 1370 h 2399"/>
                <a:gd name="T42" fmla="*/ 405 w 2550"/>
                <a:gd name="T43" fmla="*/ 1335 h 2399"/>
                <a:gd name="T44" fmla="*/ 266 w 2550"/>
                <a:gd name="T45" fmla="*/ 1289 h 2399"/>
                <a:gd name="T46" fmla="*/ 153 w 2550"/>
                <a:gd name="T47" fmla="*/ 1235 h 2399"/>
                <a:gd name="T48" fmla="*/ 70 w 2550"/>
                <a:gd name="T49" fmla="*/ 1180 h 2399"/>
                <a:gd name="T50" fmla="*/ 17 w 2550"/>
                <a:gd name="T51" fmla="*/ 1127 h 2399"/>
                <a:gd name="T52" fmla="*/ 0 w 2550"/>
                <a:gd name="T53" fmla="*/ 1081 h 2399"/>
                <a:gd name="T54" fmla="*/ 23 w 2550"/>
                <a:gd name="T55" fmla="*/ 1048 h 2399"/>
                <a:gd name="T56" fmla="*/ 89 w 2550"/>
                <a:gd name="T57" fmla="*/ 1026 h 2399"/>
                <a:gd name="T58" fmla="*/ 269 w 2550"/>
                <a:gd name="T59" fmla="*/ 1011 h 2399"/>
                <a:gd name="T60" fmla="*/ 580 w 2550"/>
                <a:gd name="T61" fmla="*/ 1026 h 2399"/>
                <a:gd name="T62" fmla="*/ 838 w 2550"/>
                <a:gd name="T63" fmla="*/ 1067 h 2399"/>
                <a:gd name="T64" fmla="*/ 1027 w 2550"/>
                <a:gd name="T65" fmla="*/ 1130 h 2399"/>
                <a:gd name="T66" fmla="*/ 1190 w 2550"/>
                <a:gd name="T67" fmla="*/ 1204 h 2399"/>
                <a:gd name="T68" fmla="*/ 1239 w 2550"/>
                <a:gd name="T69" fmla="*/ 1156 h 2399"/>
                <a:gd name="T70" fmla="*/ 1160 w 2550"/>
                <a:gd name="T71" fmla="*/ 917 h 2399"/>
                <a:gd name="T72" fmla="*/ 1202 w 2550"/>
                <a:gd name="T73" fmla="*/ 847 h 2399"/>
                <a:gd name="T74" fmla="*/ 1273 w 2550"/>
                <a:gd name="T75" fmla="*/ 801 h 2399"/>
                <a:gd name="T76" fmla="*/ 1375 w 2550"/>
                <a:gd name="T77" fmla="*/ 712 h 2399"/>
                <a:gd name="T78" fmla="*/ 1429 w 2550"/>
                <a:gd name="T79" fmla="*/ 678 h 2399"/>
                <a:gd name="T80" fmla="*/ 1494 w 2550"/>
                <a:gd name="T81" fmla="*/ 659 h 2399"/>
                <a:gd name="T82" fmla="*/ 1568 w 2550"/>
                <a:gd name="T83" fmla="*/ 705 h 2399"/>
                <a:gd name="T84" fmla="*/ 1626 w 2550"/>
                <a:gd name="T85" fmla="*/ 790 h 2399"/>
                <a:gd name="T86" fmla="*/ 1679 w 2550"/>
                <a:gd name="T87" fmla="*/ 908 h 2399"/>
                <a:gd name="T88" fmla="*/ 1700 w 2550"/>
                <a:gd name="T89" fmla="*/ 903 h 2399"/>
                <a:gd name="T90" fmla="*/ 1729 w 2550"/>
                <a:gd name="T91" fmla="*/ 812 h 2399"/>
                <a:gd name="T92" fmla="*/ 1823 w 2550"/>
                <a:gd name="T93" fmla="*/ 636 h 2399"/>
                <a:gd name="T94" fmla="*/ 1960 w 2550"/>
                <a:gd name="T95" fmla="*/ 441 h 2399"/>
                <a:gd name="T96" fmla="*/ 2157 w 2550"/>
                <a:gd name="T97" fmla="*/ 247 h 2399"/>
                <a:gd name="T98" fmla="*/ 2353 w 2550"/>
                <a:gd name="T99" fmla="*/ 93 h 2399"/>
                <a:gd name="T100" fmla="*/ 2482 w 2550"/>
                <a:gd name="T101" fmla="*/ 18 h 2399"/>
                <a:gd name="T102" fmla="*/ 2541 w 2550"/>
                <a:gd name="T103" fmla="*/ 0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50" h="2399">
                  <a:moveTo>
                    <a:pt x="2550" y="237"/>
                  </a:moveTo>
                  <a:lnTo>
                    <a:pt x="2526" y="283"/>
                  </a:lnTo>
                  <a:lnTo>
                    <a:pt x="2500" y="331"/>
                  </a:lnTo>
                  <a:lnTo>
                    <a:pt x="2470" y="382"/>
                  </a:lnTo>
                  <a:lnTo>
                    <a:pt x="2438" y="435"/>
                  </a:lnTo>
                  <a:lnTo>
                    <a:pt x="2403" y="489"/>
                  </a:lnTo>
                  <a:lnTo>
                    <a:pt x="2367" y="544"/>
                  </a:lnTo>
                  <a:lnTo>
                    <a:pt x="2328" y="600"/>
                  </a:lnTo>
                  <a:lnTo>
                    <a:pt x="2288" y="657"/>
                  </a:lnTo>
                  <a:lnTo>
                    <a:pt x="2241" y="704"/>
                  </a:lnTo>
                  <a:lnTo>
                    <a:pt x="2195" y="748"/>
                  </a:lnTo>
                  <a:lnTo>
                    <a:pt x="2149" y="791"/>
                  </a:lnTo>
                  <a:lnTo>
                    <a:pt x="2106" y="830"/>
                  </a:lnTo>
                  <a:lnTo>
                    <a:pt x="2063" y="867"/>
                  </a:lnTo>
                  <a:lnTo>
                    <a:pt x="2022" y="901"/>
                  </a:lnTo>
                  <a:lnTo>
                    <a:pt x="1982" y="932"/>
                  </a:lnTo>
                  <a:lnTo>
                    <a:pt x="1943" y="960"/>
                  </a:lnTo>
                  <a:lnTo>
                    <a:pt x="1925" y="972"/>
                  </a:lnTo>
                  <a:lnTo>
                    <a:pt x="1906" y="983"/>
                  </a:lnTo>
                  <a:lnTo>
                    <a:pt x="1889" y="995"/>
                  </a:lnTo>
                  <a:lnTo>
                    <a:pt x="1871" y="1004"/>
                  </a:lnTo>
                  <a:lnTo>
                    <a:pt x="1854" y="1013"/>
                  </a:lnTo>
                  <a:lnTo>
                    <a:pt x="1837" y="1021"/>
                  </a:lnTo>
                  <a:lnTo>
                    <a:pt x="1821" y="1028"/>
                  </a:lnTo>
                  <a:lnTo>
                    <a:pt x="1805" y="1033"/>
                  </a:lnTo>
                  <a:lnTo>
                    <a:pt x="1790" y="1038"/>
                  </a:lnTo>
                  <a:lnTo>
                    <a:pt x="1774" y="1041"/>
                  </a:lnTo>
                  <a:lnTo>
                    <a:pt x="1760" y="1044"/>
                  </a:lnTo>
                  <a:lnTo>
                    <a:pt x="1747" y="1045"/>
                  </a:lnTo>
                  <a:lnTo>
                    <a:pt x="1732" y="1045"/>
                  </a:lnTo>
                  <a:lnTo>
                    <a:pt x="1720" y="1044"/>
                  </a:lnTo>
                  <a:lnTo>
                    <a:pt x="1706" y="1042"/>
                  </a:lnTo>
                  <a:lnTo>
                    <a:pt x="1694" y="1039"/>
                  </a:lnTo>
                  <a:lnTo>
                    <a:pt x="1706" y="1075"/>
                  </a:lnTo>
                  <a:lnTo>
                    <a:pt x="1718" y="1112"/>
                  </a:lnTo>
                  <a:lnTo>
                    <a:pt x="1728" y="1151"/>
                  </a:lnTo>
                  <a:lnTo>
                    <a:pt x="1738" y="1190"/>
                  </a:lnTo>
                  <a:lnTo>
                    <a:pt x="1748" y="1230"/>
                  </a:lnTo>
                  <a:lnTo>
                    <a:pt x="1758" y="1270"/>
                  </a:lnTo>
                  <a:lnTo>
                    <a:pt x="1766" y="1311"/>
                  </a:lnTo>
                  <a:lnTo>
                    <a:pt x="1775" y="1353"/>
                  </a:lnTo>
                  <a:lnTo>
                    <a:pt x="1791" y="1439"/>
                  </a:lnTo>
                  <a:lnTo>
                    <a:pt x="1806" y="1526"/>
                  </a:lnTo>
                  <a:lnTo>
                    <a:pt x="1820" y="1614"/>
                  </a:lnTo>
                  <a:lnTo>
                    <a:pt x="1832" y="1703"/>
                  </a:lnTo>
                  <a:lnTo>
                    <a:pt x="1843" y="1794"/>
                  </a:lnTo>
                  <a:lnTo>
                    <a:pt x="1855" y="1883"/>
                  </a:lnTo>
                  <a:lnTo>
                    <a:pt x="1864" y="1973"/>
                  </a:lnTo>
                  <a:lnTo>
                    <a:pt x="1873" y="2062"/>
                  </a:lnTo>
                  <a:lnTo>
                    <a:pt x="1882" y="2149"/>
                  </a:lnTo>
                  <a:lnTo>
                    <a:pt x="1891" y="2235"/>
                  </a:lnTo>
                  <a:lnTo>
                    <a:pt x="1898" y="2318"/>
                  </a:lnTo>
                  <a:lnTo>
                    <a:pt x="1906" y="2399"/>
                  </a:lnTo>
                  <a:lnTo>
                    <a:pt x="1844" y="2399"/>
                  </a:lnTo>
                  <a:lnTo>
                    <a:pt x="1786" y="2399"/>
                  </a:lnTo>
                  <a:lnTo>
                    <a:pt x="1729" y="2399"/>
                  </a:lnTo>
                  <a:lnTo>
                    <a:pt x="1673" y="2399"/>
                  </a:lnTo>
                  <a:lnTo>
                    <a:pt x="1618" y="2399"/>
                  </a:lnTo>
                  <a:lnTo>
                    <a:pt x="1561" y="2399"/>
                  </a:lnTo>
                  <a:lnTo>
                    <a:pt x="1502" y="2399"/>
                  </a:lnTo>
                  <a:lnTo>
                    <a:pt x="1441" y="2399"/>
                  </a:lnTo>
                  <a:lnTo>
                    <a:pt x="1432" y="2336"/>
                  </a:lnTo>
                  <a:lnTo>
                    <a:pt x="1426" y="2272"/>
                  </a:lnTo>
                  <a:lnTo>
                    <a:pt x="1420" y="2208"/>
                  </a:lnTo>
                  <a:lnTo>
                    <a:pt x="1414" y="2144"/>
                  </a:lnTo>
                  <a:lnTo>
                    <a:pt x="1409" y="2081"/>
                  </a:lnTo>
                  <a:lnTo>
                    <a:pt x="1404" y="2017"/>
                  </a:lnTo>
                  <a:lnTo>
                    <a:pt x="1398" y="1953"/>
                  </a:lnTo>
                  <a:lnTo>
                    <a:pt x="1392" y="1890"/>
                  </a:lnTo>
                  <a:lnTo>
                    <a:pt x="1386" y="1826"/>
                  </a:lnTo>
                  <a:lnTo>
                    <a:pt x="1379" y="1762"/>
                  </a:lnTo>
                  <a:lnTo>
                    <a:pt x="1372" y="1698"/>
                  </a:lnTo>
                  <a:lnTo>
                    <a:pt x="1362" y="1634"/>
                  </a:lnTo>
                  <a:lnTo>
                    <a:pt x="1352" y="1571"/>
                  </a:lnTo>
                  <a:lnTo>
                    <a:pt x="1341" y="1507"/>
                  </a:lnTo>
                  <a:lnTo>
                    <a:pt x="1328" y="1443"/>
                  </a:lnTo>
                  <a:lnTo>
                    <a:pt x="1313" y="1379"/>
                  </a:lnTo>
                  <a:lnTo>
                    <a:pt x="1301" y="1388"/>
                  </a:lnTo>
                  <a:lnTo>
                    <a:pt x="1288" y="1394"/>
                  </a:lnTo>
                  <a:lnTo>
                    <a:pt x="1274" y="1401"/>
                  </a:lnTo>
                  <a:lnTo>
                    <a:pt x="1259" y="1407"/>
                  </a:lnTo>
                  <a:lnTo>
                    <a:pt x="1244" y="1413"/>
                  </a:lnTo>
                  <a:lnTo>
                    <a:pt x="1229" y="1418"/>
                  </a:lnTo>
                  <a:lnTo>
                    <a:pt x="1212" y="1423"/>
                  </a:lnTo>
                  <a:lnTo>
                    <a:pt x="1196" y="1427"/>
                  </a:lnTo>
                  <a:lnTo>
                    <a:pt x="1177" y="1431"/>
                  </a:lnTo>
                  <a:lnTo>
                    <a:pt x="1160" y="1434"/>
                  </a:lnTo>
                  <a:lnTo>
                    <a:pt x="1140" y="1437"/>
                  </a:lnTo>
                  <a:lnTo>
                    <a:pt x="1120" y="1439"/>
                  </a:lnTo>
                  <a:lnTo>
                    <a:pt x="1101" y="1441"/>
                  </a:lnTo>
                  <a:lnTo>
                    <a:pt x="1080" y="1442"/>
                  </a:lnTo>
                  <a:lnTo>
                    <a:pt x="1059" y="1443"/>
                  </a:lnTo>
                  <a:lnTo>
                    <a:pt x="1038" y="1443"/>
                  </a:lnTo>
                  <a:lnTo>
                    <a:pt x="1015" y="1443"/>
                  </a:lnTo>
                  <a:lnTo>
                    <a:pt x="993" y="1442"/>
                  </a:lnTo>
                  <a:lnTo>
                    <a:pt x="970" y="1441"/>
                  </a:lnTo>
                  <a:lnTo>
                    <a:pt x="946" y="1439"/>
                  </a:lnTo>
                  <a:lnTo>
                    <a:pt x="898" y="1434"/>
                  </a:lnTo>
                  <a:lnTo>
                    <a:pt x="848" y="1427"/>
                  </a:lnTo>
                  <a:lnTo>
                    <a:pt x="797" y="1418"/>
                  </a:lnTo>
                  <a:lnTo>
                    <a:pt x="744" y="1407"/>
                  </a:lnTo>
                  <a:lnTo>
                    <a:pt x="690" y="1394"/>
                  </a:lnTo>
                  <a:lnTo>
                    <a:pt x="635" y="1379"/>
                  </a:lnTo>
                  <a:lnTo>
                    <a:pt x="599" y="1375"/>
                  </a:lnTo>
                  <a:lnTo>
                    <a:pt x="565" y="1370"/>
                  </a:lnTo>
                  <a:lnTo>
                    <a:pt x="531" y="1364"/>
                  </a:lnTo>
                  <a:lnTo>
                    <a:pt x="498" y="1358"/>
                  </a:lnTo>
                  <a:lnTo>
                    <a:pt x="466" y="1350"/>
                  </a:lnTo>
                  <a:lnTo>
                    <a:pt x="434" y="1343"/>
                  </a:lnTo>
                  <a:lnTo>
                    <a:pt x="405" y="1335"/>
                  </a:lnTo>
                  <a:lnTo>
                    <a:pt x="375" y="1327"/>
                  </a:lnTo>
                  <a:lnTo>
                    <a:pt x="346" y="1318"/>
                  </a:lnTo>
                  <a:lnTo>
                    <a:pt x="318" y="1308"/>
                  </a:lnTo>
                  <a:lnTo>
                    <a:pt x="291" y="1299"/>
                  </a:lnTo>
                  <a:lnTo>
                    <a:pt x="266" y="1289"/>
                  </a:lnTo>
                  <a:lnTo>
                    <a:pt x="242" y="1278"/>
                  </a:lnTo>
                  <a:lnTo>
                    <a:pt x="218" y="1268"/>
                  </a:lnTo>
                  <a:lnTo>
                    <a:pt x="195" y="1258"/>
                  </a:lnTo>
                  <a:lnTo>
                    <a:pt x="174" y="1246"/>
                  </a:lnTo>
                  <a:lnTo>
                    <a:pt x="153" y="1235"/>
                  </a:lnTo>
                  <a:lnTo>
                    <a:pt x="135" y="1225"/>
                  </a:lnTo>
                  <a:lnTo>
                    <a:pt x="116" y="1213"/>
                  </a:lnTo>
                  <a:lnTo>
                    <a:pt x="100" y="1202"/>
                  </a:lnTo>
                  <a:lnTo>
                    <a:pt x="84" y="1191"/>
                  </a:lnTo>
                  <a:lnTo>
                    <a:pt x="70" y="1180"/>
                  </a:lnTo>
                  <a:lnTo>
                    <a:pt x="56" y="1169"/>
                  </a:lnTo>
                  <a:lnTo>
                    <a:pt x="45" y="1158"/>
                  </a:lnTo>
                  <a:lnTo>
                    <a:pt x="35" y="1147"/>
                  </a:lnTo>
                  <a:lnTo>
                    <a:pt x="25" y="1137"/>
                  </a:lnTo>
                  <a:lnTo>
                    <a:pt x="17" y="1127"/>
                  </a:lnTo>
                  <a:lnTo>
                    <a:pt x="11" y="1117"/>
                  </a:lnTo>
                  <a:lnTo>
                    <a:pt x="6" y="1108"/>
                  </a:lnTo>
                  <a:lnTo>
                    <a:pt x="2" y="1099"/>
                  </a:lnTo>
                  <a:lnTo>
                    <a:pt x="0" y="1090"/>
                  </a:lnTo>
                  <a:lnTo>
                    <a:pt x="0" y="1081"/>
                  </a:lnTo>
                  <a:lnTo>
                    <a:pt x="1" y="1074"/>
                  </a:lnTo>
                  <a:lnTo>
                    <a:pt x="3" y="1067"/>
                  </a:lnTo>
                  <a:lnTo>
                    <a:pt x="8" y="1060"/>
                  </a:lnTo>
                  <a:lnTo>
                    <a:pt x="14" y="1054"/>
                  </a:lnTo>
                  <a:lnTo>
                    <a:pt x="23" y="1048"/>
                  </a:lnTo>
                  <a:lnTo>
                    <a:pt x="33" y="1042"/>
                  </a:lnTo>
                  <a:lnTo>
                    <a:pt x="45" y="1038"/>
                  </a:lnTo>
                  <a:lnTo>
                    <a:pt x="58" y="1033"/>
                  </a:lnTo>
                  <a:lnTo>
                    <a:pt x="73" y="1029"/>
                  </a:lnTo>
                  <a:lnTo>
                    <a:pt x="89" y="1026"/>
                  </a:lnTo>
                  <a:lnTo>
                    <a:pt x="107" y="1023"/>
                  </a:lnTo>
                  <a:lnTo>
                    <a:pt x="126" y="1020"/>
                  </a:lnTo>
                  <a:lnTo>
                    <a:pt x="169" y="1015"/>
                  </a:lnTo>
                  <a:lnTo>
                    <a:pt x="216" y="1012"/>
                  </a:lnTo>
                  <a:lnTo>
                    <a:pt x="269" y="1011"/>
                  </a:lnTo>
                  <a:lnTo>
                    <a:pt x="324" y="1011"/>
                  </a:lnTo>
                  <a:lnTo>
                    <a:pt x="384" y="1013"/>
                  </a:lnTo>
                  <a:lnTo>
                    <a:pt x="446" y="1015"/>
                  </a:lnTo>
                  <a:lnTo>
                    <a:pt x="512" y="1020"/>
                  </a:lnTo>
                  <a:lnTo>
                    <a:pt x="580" y="1026"/>
                  </a:lnTo>
                  <a:lnTo>
                    <a:pt x="649" y="1032"/>
                  </a:lnTo>
                  <a:lnTo>
                    <a:pt x="720" y="1039"/>
                  </a:lnTo>
                  <a:lnTo>
                    <a:pt x="759" y="1047"/>
                  </a:lnTo>
                  <a:lnTo>
                    <a:pt x="799" y="1057"/>
                  </a:lnTo>
                  <a:lnTo>
                    <a:pt x="838" y="1067"/>
                  </a:lnTo>
                  <a:lnTo>
                    <a:pt x="877" y="1078"/>
                  </a:lnTo>
                  <a:lnTo>
                    <a:pt x="915" y="1091"/>
                  </a:lnTo>
                  <a:lnTo>
                    <a:pt x="954" y="1103"/>
                  </a:lnTo>
                  <a:lnTo>
                    <a:pt x="991" y="1115"/>
                  </a:lnTo>
                  <a:lnTo>
                    <a:pt x="1027" y="1130"/>
                  </a:lnTo>
                  <a:lnTo>
                    <a:pt x="1063" y="1144"/>
                  </a:lnTo>
                  <a:lnTo>
                    <a:pt x="1097" y="1159"/>
                  </a:lnTo>
                  <a:lnTo>
                    <a:pt x="1130" y="1173"/>
                  </a:lnTo>
                  <a:lnTo>
                    <a:pt x="1161" y="1189"/>
                  </a:lnTo>
                  <a:lnTo>
                    <a:pt x="1190" y="1204"/>
                  </a:lnTo>
                  <a:lnTo>
                    <a:pt x="1219" y="1221"/>
                  </a:lnTo>
                  <a:lnTo>
                    <a:pt x="1246" y="1236"/>
                  </a:lnTo>
                  <a:lnTo>
                    <a:pt x="1271" y="1251"/>
                  </a:lnTo>
                  <a:lnTo>
                    <a:pt x="1255" y="1204"/>
                  </a:lnTo>
                  <a:lnTo>
                    <a:pt x="1239" y="1156"/>
                  </a:lnTo>
                  <a:lnTo>
                    <a:pt x="1223" y="1108"/>
                  </a:lnTo>
                  <a:lnTo>
                    <a:pt x="1207" y="1061"/>
                  </a:lnTo>
                  <a:lnTo>
                    <a:pt x="1191" y="1012"/>
                  </a:lnTo>
                  <a:lnTo>
                    <a:pt x="1175" y="965"/>
                  </a:lnTo>
                  <a:lnTo>
                    <a:pt x="1160" y="917"/>
                  </a:lnTo>
                  <a:lnTo>
                    <a:pt x="1144" y="869"/>
                  </a:lnTo>
                  <a:lnTo>
                    <a:pt x="1160" y="865"/>
                  </a:lnTo>
                  <a:lnTo>
                    <a:pt x="1174" y="860"/>
                  </a:lnTo>
                  <a:lnTo>
                    <a:pt x="1188" y="855"/>
                  </a:lnTo>
                  <a:lnTo>
                    <a:pt x="1202" y="847"/>
                  </a:lnTo>
                  <a:lnTo>
                    <a:pt x="1215" y="841"/>
                  </a:lnTo>
                  <a:lnTo>
                    <a:pt x="1227" y="834"/>
                  </a:lnTo>
                  <a:lnTo>
                    <a:pt x="1239" y="826"/>
                  </a:lnTo>
                  <a:lnTo>
                    <a:pt x="1251" y="818"/>
                  </a:lnTo>
                  <a:lnTo>
                    <a:pt x="1273" y="801"/>
                  </a:lnTo>
                  <a:lnTo>
                    <a:pt x="1294" y="783"/>
                  </a:lnTo>
                  <a:lnTo>
                    <a:pt x="1314" y="765"/>
                  </a:lnTo>
                  <a:lnTo>
                    <a:pt x="1335" y="747"/>
                  </a:lnTo>
                  <a:lnTo>
                    <a:pt x="1354" y="730"/>
                  </a:lnTo>
                  <a:lnTo>
                    <a:pt x="1375" y="712"/>
                  </a:lnTo>
                  <a:lnTo>
                    <a:pt x="1385" y="705"/>
                  </a:lnTo>
                  <a:lnTo>
                    <a:pt x="1395" y="698"/>
                  </a:lnTo>
                  <a:lnTo>
                    <a:pt x="1407" y="691"/>
                  </a:lnTo>
                  <a:lnTo>
                    <a:pt x="1418" y="683"/>
                  </a:lnTo>
                  <a:lnTo>
                    <a:pt x="1429" y="678"/>
                  </a:lnTo>
                  <a:lnTo>
                    <a:pt x="1442" y="673"/>
                  </a:lnTo>
                  <a:lnTo>
                    <a:pt x="1454" y="668"/>
                  </a:lnTo>
                  <a:lnTo>
                    <a:pt x="1467" y="664"/>
                  </a:lnTo>
                  <a:lnTo>
                    <a:pt x="1481" y="661"/>
                  </a:lnTo>
                  <a:lnTo>
                    <a:pt x="1494" y="659"/>
                  </a:lnTo>
                  <a:lnTo>
                    <a:pt x="1510" y="658"/>
                  </a:lnTo>
                  <a:lnTo>
                    <a:pt x="1525" y="657"/>
                  </a:lnTo>
                  <a:lnTo>
                    <a:pt x="1541" y="673"/>
                  </a:lnTo>
                  <a:lnTo>
                    <a:pt x="1555" y="689"/>
                  </a:lnTo>
                  <a:lnTo>
                    <a:pt x="1568" y="705"/>
                  </a:lnTo>
                  <a:lnTo>
                    <a:pt x="1582" y="721"/>
                  </a:lnTo>
                  <a:lnTo>
                    <a:pt x="1593" y="738"/>
                  </a:lnTo>
                  <a:lnTo>
                    <a:pt x="1604" y="755"/>
                  </a:lnTo>
                  <a:lnTo>
                    <a:pt x="1616" y="772"/>
                  </a:lnTo>
                  <a:lnTo>
                    <a:pt x="1626" y="790"/>
                  </a:lnTo>
                  <a:lnTo>
                    <a:pt x="1635" y="808"/>
                  </a:lnTo>
                  <a:lnTo>
                    <a:pt x="1645" y="827"/>
                  </a:lnTo>
                  <a:lnTo>
                    <a:pt x="1653" y="846"/>
                  </a:lnTo>
                  <a:lnTo>
                    <a:pt x="1662" y="866"/>
                  </a:lnTo>
                  <a:lnTo>
                    <a:pt x="1679" y="908"/>
                  </a:lnTo>
                  <a:lnTo>
                    <a:pt x="1694" y="955"/>
                  </a:lnTo>
                  <a:lnTo>
                    <a:pt x="1695" y="942"/>
                  </a:lnTo>
                  <a:lnTo>
                    <a:pt x="1696" y="930"/>
                  </a:lnTo>
                  <a:lnTo>
                    <a:pt x="1697" y="916"/>
                  </a:lnTo>
                  <a:lnTo>
                    <a:pt x="1700" y="903"/>
                  </a:lnTo>
                  <a:lnTo>
                    <a:pt x="1703" y="889"/>
                  </a:lnTo>
                  <a:lnTo>
                    <a:pt x="1707" y="874"/>
                  </a:lnTo>
                  <a:lnTo>
                    <a:pt x="1712" y="860"/>
                  </a:lnTo>
                  <a:lnTo>
                    <a:pt x="1717" y="844"/>
                  </a:lnTo>
                  <a:lnTo>
                    <a:pt x="1729" y="812"/>
                  </a:lnTo>
                  <a:lnTo>
                    <a:pt x="1744" y="779"/>
                  </a:lnTo>
                  <a:lnTo>
                    <a:pt x="1760" y="745"/>
                  </a:lnTo>
                  <a:lnTo>
                    <a:pt x="1780" y="709"/>
                  </a:lnTo>
                  <a:lnTo>
                    <a:pt x="1800" y="673"/>
                  </a:lnTo>
                  <a:lnTo>
                    <a:pt x="1823" y="636"/>
                  </a:lnTo>
                  <a:lnTo>
                    <a:pt x="1848" y="598"/>
                  </a:lnTo>
                  <a:lnTo>
                    <a:pt x="1873" y="560"/>
                  </a:lnTo>
                  <a:lnTo>
                    <a:pt x="1901" y="521"/>
                  </a:lnTo>
                  <a:lnTo>
                    <a:pt x="1930" y="481"/>
                  </a:lnTo>
                  <a:lnTo>
                    <a:pt x="1960" y="441"/>
                  </a:lnTo>
                  <a:lnTo>
                    <a:pt x="1992" y="402"/>
                  </a:lnTo>
                  <a:lnTo>
                    <a:pt x="2032" y="362"/>
                  </a:lnTo>
                  <a:lnTo>
                    <a:pt x="2073" y="322"/>
                  </a:lnTo>
                  <a:lnTo>
                    <a:pt x="2115" y="283"/>
                  </a:lnTo>
                  <a:lnTo>
                    <a:pt x="2157" y="247"/>
                  </a:lnTo>
                  <a:lnTo>
                    <a:pt x="2198" y="212"/>
                  </a:lnTo>
                  <a:lnTo>
                    <a:pt x="2238" y="178"/>
                  </a:lnTo>
                  <a:lnTo>
                    <a:pt x="2278" y="147"/>
                  </a:lnTo>
                  <a:lnTo>
                    <a:pt x="2316" y="119"/>
                  </a:lnTo>
                  <a:lnTo>
                    <a:pt x="2353" y="93"/>
                  </a:lnTo>
                  <a:lnTo>
                    <a:pt x="2388" y="69"/>
                  </a:lnTo>
                  <a:lnTo>
                    <a:pt x="2422" y="48"/>
                  </a:lnTo>
                  <a:lnTo>
                    <a:pt x="2453" y="32"/>
                  </a:lnTo>
                  <a:lnTo>
                    <a:pt x="2468" y="25"/>
                  </a:lnTo>
                  <a:lnTo>
                    <a:pt x="2482" y="18"/>
                  </a:lnTo>
                  <a:lnTo>
                    <a:pt x="2494" y="12"/>
                  </a:lnTo>
                  <a:lnTo>
                    <a:pt x="2508" y="8"/>
                  </a:lnTo>
                  <a:lnTo>
                    <a:pt x="2519" y="4"/>
                  </a:lnTo>
                  <a:lnTo>
                    <a:pt x="2530" y="2"/>
                  </a:lnTo>
                  <a:lnTo>
                    <a:pt x="2541" y="0"/>
                  </a:lnTo>
                  <a:lnTo>
                    <a:pt x="2550" y="0"/>
                  </a:lnTo>
                  <a:lnTo>
                    <a:pt x="2550" y="23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" name="Freeform 15"/>
            <p:cNvSpPr>
              <a:spLocks noChangeArrowheads="1"/>
            </p:cNvSpPr>
            <p:nvPr/>
          </p:nvSpPr>
          <p:spPr bwMode="auto">
            <a:xfrm>
              <a:off x="7223125" y="5270473"/>
              <a:ext cx="928688" cy="1109687"/>
            </a:xfrm>
            <a:custGeom>
              <a:avLst/>
              <a:gdLst>
                <a:gd name="T0" fmla="*/ 1297 w 2062"/>
                <a:gd name="T1" fmla="*/ 98 h 1999"/>
                <a:gd name="T2" fmla="*/ 1235 w 2062"/>
                <a:gd name="T3" fmla="*/ 87 h 1999"/>
                <a:gd name="T4" fmla="*/ 1515 w 2062"/>
                <a:gd name="T5" fmla="*/ 43 h 1999"/>
                <a:gd name="T6" fmla="*/ 1788 w 2062"/>
                <a:gd name="T7" fmla="*/ 1 h 1999"/>
                <a:gd name="T8" fmla="*/ 1857 w 2062"/>
                <a:gd name="T9" fmla="*/ 23 h 1999"/>
                <a:gd name="T10" fmla="*/ 1885 w 2062"/>
                <a:gd name="T11" fmla="*/ 89 h 1999"/>
                <a:gd name="T12" fmla="*/ 1829 w 2062"/>
                <a:gd name="T13" fmla="*/ 523 h 1999"/>
                <a:gd name="T14" fmla="*/ 1931 w 2062"/>
                <a:gd name="T15" fmla="*/ 598 h 1999"/>
                <a:gd name="T16" fmla="*/ 2062 w 2062"/>
                <a:gd name="T17" fmla="*/ 1134 h 1999"/>
                <a:gd name="T18" fmla="*/ 1813 w 2062"/>
                <a:gd name="T19" fmla="*/ 1253 h 1999"/>
                <a:gd name="T20" fmla="*/ 1721 w 2062"/>
                <a:gd name="T21" fmla="*/ 1468 h 1999"/>
                <a:gd name="T22" fmla="*/ 1680 w 2062"/>
                <a:gd name="T23" fmla="*/ 1878 h 1999"/>
                <a:gd name="T24" fmla="*/ 1646 w 2062"/>
                <a:gd name="T25" fmla="*/ 1977 h 1999"/>
                <a:gd name="T26" fmla="*/ 2062 w 2062"/>
                <a:gd name="T27" fmla="*/ 1134 h 1999"/>
                <a:gd name="T28" fmla="*/ 846 w 2062"/>
                <a:gd name="T29" fmla="*/ 1971 h 1999"/>
                <a:gd name="T30" fmla="*/ 825 w 2062"/>
                <a:gd name="T31" fmla="*/ 1906 h 1999"/>
                <a:gd name="T32" fmla="*/ 911 w 2062"/>
                <a:gd name="T33" fmla="*/ 1592 h 1999"/>
                <a:gd name="T34" fmla="*/ 1012 w 2062"/>
                <a:gd name="T35" fmla="*/ 1157 h 1999"/>
                <a:gd name="T36" fmla="*/ 879 w 2062"/>
                <a:gd name="T37" fmla="*/ 1060 h 1999"/>
                <a:gd name="T38" fmla="*/ 558 w 2062"/>
                <a:gd name="T39" fmla="*/ 877 h 1999"/>
                <a:gd name="T40" fmla="*/ 285 w 2062"/>
                <a:gd name="T41" fmla="*/ 639 h 1999"/>
                <a:gd name="T42" fmla="*/ 66 w 2062"/>
                <a:gd name="T43" fmla="*/ 362 h 1999"/>
                <a:gd name="T44" fmla="*/ 0 w 2062"/>
                <a:gd name="T45" fmla="*/ 173 h 1999"/>
                <a:gd name="T46" fmla="*/ 24 w 2062"/>
                <a:gd name="T47" fmla="*/ 94 h 1999"/>
                <a:gd name="T48" fmla="*/ 81 w 2062"/>
                <a:gd name="T49" fmla="*/ 35 h 1999"/>
                <a:gd name="T50" fmla="*/ 190 w 2062"/>
                <a:gd name="T51" fmla="*/ 19 h 1999"/>
                <a:gd name="T52" fmla="*/ 401 w 2062"/>
                <a:gd name="T53" fmla="*/ 90 h 1999"/>
                <a:gd name="T54" fmla="*/ 796 w 2062"/>
                <a:gd name="T55" fmla="*/ 361 h 1999"/>
                <a:gd name="T56" fmla="*/ 950 w 2062"/>
                <a:gd name="T57" fmla="*/ 499 h 1999"/>
                <a:gd name="T58" fmla="*/ 1117 w 2062"/>
                <a:gd name="T59" fmla="*/ 688 h 1999"/>
                <a:gd name="T60" fmla="*/ 1164 w 2062"/>
                <a:gd name="T61" fmla="*/ 163 h 1999"/>
                <a:gd name="T62" fmla="*/ 1195 w 2062"/>
                <a:gd name="T63" fmla="*/ 105 h 1999"/>
                <a:gd name="T64" fmla="*/ 1249 w 2062"/>
                <a:gd name="T65" fmla="*/ 86 h 1999"/>
                <a:gd name="T66" fmla="*/ 1357 w 2062"/>
                <a:gd name="T67" fmla="*/ 236 h 1999"/>
                <a:gd name="T68" fmla="*/ 1303 w 2062"/>
                <a:gd name="T69" fmla="*/ 595 h 1999"/>
                <a:gd name="T70" fmla="*/ 1248 w 2062"/>
                <a:gd name="T71" fmla="*/ 951 h 1999"/>
                <a:gd name="T72" fmla="*/ 1207 w 2062"/>
                <a:gd name="T73" fmla="*/ 1010 h 1999"/>
                <a:gd name="T74" fmla="*/ 1140 w 2062"/>
                <a:gd name="T75" fmla="*/ 1383 h 1999"/>
                <a:gd name="T76" fmla="*/ 1023 w 2062"/>
                <a:gd name="T77" fmla="*/ 1828 h 1999"/>
                <a:gd name="T78" fmla="*/ 1545 w 2062"/>
                <a:gd name="T79" fmla="*/ 1524 h 1999"/>
                <a:gd name="T80" fmla="*/ 1588 w 2062"/>
                <a:gd name="T81" fmla="*/ 1131 h 1999"/>
                <a:gd name="T82" fmla="*/ 1587 w 2062"/>
                <a:gd name="T83" fmla="*/ 1067 h 1999"/>
                <a:gd name="T84" fmla="*/ 1643 w 2062"/>
                <a:gd name="T85" fmla="*/ 630 h 1999"/>
                <a:gd name="T86" fmla="*/ 1700 w 2062"/>
                <a:gd name="T87" fmla="*/ 193 h 1999"/>
                <a:gd name="T88" fmla="*/ 1860 w 2062"/>
                <a:gd name="T89" fmla="*/ 923 h 1999"/>
                <a:gd name="T90" fmla="*/ 1754 w 2062"/>
                <a:gd name="T91" fmla="*/ 1091 h 1999"/>
                <a:gd name="T92" fmla="*/ 1881 w 2062"/>
                <a:gd name="T93" fmla="*/ 898 h 1999"/>
                <a:gd name="T94" fmla="*/ 2011 w 2062"/>
                <a:gd name="T95" fmla="*/ 961 h 1999"/>
                <a:gd name="T96" fmla="*/ 1815 w 2062"/>
                <a:gd name="T97" fmla="*/ 1075 h 1999"/>
                <a:gd name="T98" fmla="*/ 1075 w 2062"/>
                <a:gd name="T99" fmla="*/ 943 h 1999"/>
                <a:gd name="T100" fmla="*/ 960 w 2062"/>
                <a:gd name="T101" fmla="*/ 764 h 1999"/>
                <a:gd name="T102" fmla="*/ 732 w 2062"/>
                <a:gd name="T103" fmla="*/ 530 h 1999"/>
                <a:gd name="T104" fmla="*/ 455 w 2062"/>
                <a:gd name="T105" fmla="*/ 319 h 1999"/>
                <a:gd name="T106" fmla="*/ 199 w 2062"/>
                <a:gd name="T107" fmla="*/ 194 h 1999"/>
                <a:gd name="T108" fmla="*/ 165 w 2062"/>
                <a:gd name="T109" fmla="*/ 189 h 1999"/>
                <a:gd name="T110" fmla="*/ 266 w 2062"/>
                <a:gd name="T111" fmla="*/ 352 h 1999"/>
                <a:gd name="T112" fmla="*/ 617 w 2062"/>
                <a:gd name="T113" fmla="*/ 711 h 1999"/>
                <a:gd name="T114" fmla="*/ 911 w 2062"/>
                <a:gd name="T115" fmla="*/ 888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2" h="1999">
                  <a:moveTo>
                    <a:pt x="1235" y="87"/>
                  </a:moveTo>
                  <a:lnTo>
                    <a:pt x="1243" y="86"/>
                  </a:lnTo>
                  <a:lnTo>
                    <a:pt x="1251" y="85"/>
                  </a:lnTo>
                  <a:lnTo>
                    <a:pt x="1260" y="86"/>
                  </a:lnTo>
                  <a:lnTo>
                    <a:pt x="1268" y="87"/>
                  </a:lnTo>
                  <a:lnTo>
                    <a:pt x="1275" y="89"/>
                  </a:lnTo>
                  <a:lnTo>
                    <a:pt x="1282" y="92"/>
                  </a:lnTo>
                  <a:lnTo>
                    <a:pt x="1290" y="95"/>
                  </a:lnTo>
                  <a:lnTo>
                    <a:pt x="1297" y="98"/>
                  </a:lnTo>
                  <a:lnTo>
                    <a:pt x="1303" y="103"/>
                  </a:lnTo>
                  <a:lnTo>
                    <a:pt x="1309" y="108"/>
                  </a:lnTo>
                  <a:lnTo>
                    <a:pt x="1314" y="115"/>
                  </a:lnTo>
                  <a:lnTo>
                    <a:pt x="1319" y="121"/>
                  </a:lnTo>
                  <a:lnTo>
                    <a:pt x="1325" y="127"/>
                  </a:lnTo>
                  <a:lnTo>
                    <a:pt x="1328" y="134"/>
                  </a:lnTo>
                  <a:lnTo>
                    <a:pt x="1332" y="142"/>
                  </a:lnTo>
                  <a:lnTo>
                    <a:pt x="1334" y="150"/>
                  </a:lnTo>
                  <a:lnTo>
                    <a:pt x="1235" y="87"/>
                  </a:lnTo>
                  <a:close/>
                  <a:moveTo>
                    <a:pt x="1235" y="87"/>
                  </a:moveTo>
                  <a:lnTo>
                    <a:pt x="1269" y="79"/>
                  </a:lnTo>
                  <a:lnTo>
                    <a:pt x="1303" y="72"/>
                  </a:lnTo>
                  <a:lnTo>
                    <a:pt x="1338" y="66"/>
                  </a:lnTo>
                  <a:lnTo>
                    <a:pt x="1373" y="61"/>
                  </a:lnTo>
                  <a:lnTo>
                    <a:pt x="1408" y="56"/>
                  </a:lnTo>
                  <a:lnTo>
                    <a:pt x="1444" y="52"/>
                  </a:lnTo>
                  <a:lnTo>
                    <a:pt x="1479" y="48"/>
                  </a:lnTo>
                  <a:lnTo>
                    <a:pt x="1515" y="43"/>
                  </a:lnTo>
                  <a:lnTo>
                    <a:pt x="1550" y="39"/>
                  </a:lnTo>
                  <a:lnTo>
                    <a:pt x="1584" y="35"/>
                  </a:lnTo>
                  <a:lnTo>
                    <a:pt x="1618" y="31"/>
                  </a:lnTo>
                  <a:lnTo>
                    <a:pt x="1652" y="27"/>
                  </a:lnTo>
                  <a:lnTo>
                    <a:pt x="1685" y="22"/>
                  </a:lnTo>
                  <a:lnTo>
                    <a:pt x="1718" y="17"/>
                  </a:lnTo>
                  <a:lnTo>
                    <a:pt x="1749" y="11"/>
                  </a:lnTo>
                  <a:lnTo>
                    <a:pt x="1780" y="3"/>
                  </a:lnTo>
                  <a:lnTo>
                    <a:pt x="1788" y="1"/>
                  </a:lnTo>
                  <a:lnTo>
                    <a:pt x="1796" y="0"/>
                  </a:lnTo>
                  <a:lnTo>
                    <a:pt x="1805" y="0"/>
                  </a:lnTo>
                  <a:lnTo>
                    <a:pt x="1813" y="1"/>
                  </a:lnTo>
                  <a:lnTo>
                    <a:pt x="1821" y="3"/>
                  </a:lnTo>
                  <a:lnTo>
                    <a:pt x="1829" y="5"/>
                  </a:lnTo>
                  <a:lnTo>
                    <a:pt x="1836" y="9"/>
                  </a:lnTo>
                  <a:lnTo>
                    <a:pt x="1844" y="13"/>
                  </a:lnTo>
                  <a:lnTo>
                    <a:pt x="1851" y="18"/>
                  </a:lnTo>
                  <a:lnTo>
                    <a:pt x="1857" y="23"/>
                  </a:lnTo>
                  <a:lnTo>
                    <a:pt x="1863" y="28"/>
                  </a:lnTo>
                  <a:lnTo>
                    <a:pt x="1868" y="35"/>
                  </a:lnTo>
                  <a:lnTo>
                    <a:pt x="1874" y="41"/>
                  </a:lnTo>
                  <a:lnTo>
                    <a:pt x="1877" y="49"/>
                  </a:lnTo>
                  <a:lnTo>
                    <a:pt x="1881" y="57"/>
                  </a:lnTo>
                  <a:lnTo>
                    <a:pt x="1883" y="65"/>
                  </a:lnTo>
                  <a:lnTo>
                    <a:pt x="1885" y="73"/>
                  </a:lnTo>
                  <a:lnTo>
                    <a:pt x="1885" y="82"/>
                  </a:lnTo>
                  <a:lnTo>
                    <a:pt x="1885" y="89"/>
                  </a:lnTo>
                  <a:lnTo>
                    <a:pt x="1885" y="96"/>
                  </a:lnTo>
                  <a:lnTo>
                    <a:pt x="1878" y="153"/>
                  </a:lnTo>
                  <a:lnTo>
                    <a:pt x="1870" y="210"/>
                  </a:lnTo>
                  <a:lnTo>
                    <a:pt x="1863" y="270"/>
                  </a:lnTo>
                  <a:lnTo>
                    <a:pt x="1855" y="332"/>
                  </a:lnTo>
                  <a:lnTo>
                    <a:pt x="1847" y="395"/>
                  </a:lnTo>
                  <a:lnTo>
                    <a:pt x="1838" y="459"/>
                  </a:lnTo>
                  <a:lnTo>
                    <a:pt x="1829" y="523"/>
                  </a:lnTo>
                  <a:lnTo>
                    <a:pt x="1821" y="588"/>
                  </a:lnTo>
                  <a:lnTo>
                    <a:pt x="1801" y="731"/>
                  </a:lnTo>
                  <a:lnTo>
                    <a:pt x="1819" y="713"/>
                  </a:lnTo>
                  <a:lnTo>
                    <a:pt x="1836" y="695"/>
                  </a:lnTo>
                  <a:lnTo>
                    <a:pt x="1854" y="676"/>
                  </a:lnTo>
                  <a:lnTo>
                    <a:pt x="1872" y="657"/>
                  </a:lnTo>
                  <a:lnTo>
                    <a:pt x="1892" y="638"/>
                  </a:lnTo>
                  <a:lnTo>
                    <a:pt x="1912" y="619"/>
                  </a:lnTo>
                  <a:lnTo>
                    <a:pt x="1931" y="598"/>
                  </a:lnTo>
                  <a:lnTo>
                    <a:pt x="1952" y="578"/>
                  </a:lnTo>
                  <a:lnTo>
                    <a:pt x="1959" y="571"/>
                  </a:lnTo>
                  <a:lnTo>
                    <a:pt x="1967" y="566"/>
                  </a:lnTo>
                  <a:lnTo>
                    <a:pt x="1991" y="549"/>
                  </a:lnTo>
                  <a:lnTo>
                    <a:pt x="2015" y="532"/>
                  </a:lnTo>
                  <a:lnTo>
                    <a:pt x="2038" y="516"/>
                  </a:lnTo>
                  <a:lnTo>
                    <a:pt x="2062" y="499"/>
                  </a:lnTo>
                  <a:lnTo>
                    <a:pt x="1235" y="87"/>
                  </a:lnTo>
                  <a:close/>
                  <a:moveTo>
                    <a:pt x="2062" y="1134"/>
                  </a:moveTo>
                  <a:lnTo>
                    <a:pt x="2031" y="1154"/>
                  </a:lnTo>
                  <a:lnTo>
                    <a:pt x="2001" y="1172"/>
                  </a:lnTo>
                  <a:lnTo>
                    <a:pt x="1972" y="1189"/>
                  </a:lnTo>
                  <a:lnTo>
                    <a:pt x="1945" y="1204"/>
                  </a:lnTo>
                  <a:lnTo>
                    <a:pt x="1917" y="1218"/>
                  </a:lnTo>
                  <a:lnTo>
                    <a:pt x="1890" y="1229"/>
                  </a:lnTo>
                  <a:lnTo>
                    <a:pt x="1863" y="1238"/>
                  </a:lnTo>
                  <a:lnTo>
                    <a:pt x="1837" y="1246"/>
                  </a:lnTo>
                  <a:lnTo>
                    <a:pt x="1813" y="1253"/>
                  </a:lnTo>
                  <a:lnTo>
                    <a:pt x="1788" y="1257"/>
                  </a:lnTo>
                  <a:lnTo>
                    <a:pt x="1765" y="1259"/>
                  </a:lnTo>
                  <a:lnTo>
                    <a:pt x="1743" y="1260"/>
                  </a:lnTo>
                  <a:lnTo>
                    <a:pt x="1739" y="1294"/>
                  </a:lnTo>
                  <a:lnTo>
                    <a:pt x="1734" y="1329"/>
                  </a:lnTo>
                  <a:lnTo>
                    <a:pt x="1730" y="1364"/>
                  </a:lnTo>
                  <a:lnTo>
                    <a:pt x="1727" y="1398"/>
                  </a:lnTo>
                  <a:lnTo>
                    <a:pt x="1724" y="1433"/>
                  </a:lnTo>
                  <a:lnTo>
                    <a:pt x="1721" y="1468"/>
                  </a:lnTo>
                  <a:lnTo>
                    <a:pt x="1719" y="1503"/>
                  </a:lnTo>
                  <a:lnTo>
                    <a:pt x="1716" y="1538"/>
                  </a:lnTo>
                  <a:lnTo>
                    <a:pt x="1712" y="1587"/>
                  </a:lnTo>
                  <a:lnTo>
                    <a:pt x="1708" y="1635"/>
                  </a:lnTo>
                  <a:lnTo>
                    <a:pt x="1703" y="1684"/>
                  </a:lnTo>
                  <a:lnTo>
                    <a:pt x="1698" y="1732"/>
                  </a:lnTo>
                  <a:lnTo>
                    <a:pt x="1693" y="1780"/>
                  </a:lnTo>
                  <a:lnTo>
                    <a:pt x="1687" y="1830"/>
                  </a:lnTo>
                  <a:lnTo>
                    <a:pt x="1680" y="1878"/>
                  </a:lnTo>
                  <a:lnTo>
                    <a:pt x="1673" y="1928"/>
                  </a:lnTo>
                  <a:lnTo>
                    <a:pt x="1671" y="1935"/>
                  </a:lnTo>
                  <a:lnTo>
                    <a:pt x="1669" y="1942"/>
                  </a:lnTo>
                  <a:lnTo>
                    <a:pt x="1665" y="1948"/>
                  </a:lnTo>
                  <a:lnTo>
                    <a:pt x="1662" y="1956"/>
                  </a:lnTo>
                  <a:lnTo>
                    <a:pt x="1659" y="1961"/>
                  </a:lnTo>
                  <a:lnTo>
                    <a:pt x="1655" y="1967"/>
                  </a:lnTo>
                  <a:lnTo>
                    <a:pt x="1650" y="1972"/>
                  </a:lnTo>
                  <a:lnTo>
                    <a:pt x="1646" y="1977"/>
                  </a:lnTo>
                  <a:lnTo>
                    <a:pt x="1640" y="1981"/>
                  </a:lnTo>
                  <a:lnTo>
                    <a:pt x="1635" y="1986"/>
                  </a:lnTo>
                  <a:lnTo>
                    <a:pt x="1628" y="1989"/>
                  </a:lnTo>
                  <a:lnTo>
                    <a:pt x="1622" y="1992"/>
                  </a:lnTo>
                  <a:lnTo>
                    <a:pt x="1616" y="1995"/>
                  </a:lnTo>
                  <a:lnTo>
                    <a:pt x="1609" y="1997"/>
                  </a:lnTo>
                  <a:lnTo>
                    <a:pt x="1603" y="1998"/>
                  </a:lnTo>
                  <a:lnTo>
                    <a:pt x="1595" y="1999"/>
                  </a:lnTo>
                  <a:lnTo>
                    <a:pt x="2062" y="1134"/>
                  </a:lnTo>
                  <a:close/>
                  <a:moveTo>
                    <a:pt x="899" y="1999"/>
                  </a:moveTo>
                  <a:lnTo>
                    <a:pt x="892" y="1998"/>
                  </a:lnTo>
                  <a:lnTo>
                    <a:pt x="884" y="1996"/>
                  </a:lnTo>
                  <a:lnTo>
                    <a:pt x="876" y="1993"/>
                  </a:lnTo>
                  <a:lnTo>
                    <a:pt x="870" y="1990"/>
                  </a:lnTo>
                  <a:lnTo>
                    <a:pt x="863" y="1986"/>
                  </a:lnTo>
                  <a:lnTo>
                    <a:pt x="857" y="1981"/>
                  </a:lnTo>
                  <a:lnTo>
                    <a:pt x="852" y="1976"/>
                  </a:lnTo>
                  <a:lnTo>
                    <a:pt x="846" y="1971"/>
                  </a:lnTo>
                  <a:lnTo>
                    <a:pt x="841" y="1965"/>
                  </a:lnTo>
                  <a:lnTo>
                    <a:pt x="837" y="1959"/>
                  </a:lnTo>
                  <a:lnTo>
                    <a:pt x="833" y="1953"/>
                  </a:lnTo>
                  <a:lnTo>
                    <a:pt x="830" y="1945"/>
                  </a:lnTo>
                  <a:lnTo>
                    <a:pt x="827" y="1938"/>
                  </a:lnTo>
                  <a:lnTo>
                    <a:pt x="826" y="1930"/>
                  </a:lnTo>
                  <a:lnTo>
                    <a:pt x="825" y="1922"/>
                  </a:lnTo>
                  <a:lnTo>
                    <a:pt x="824" y="1913"/>
                  </a:lnTo>
                  <a:lnTo>
                    <a:pt x="825" y="1906"/>
                  </a:lnTo>
                  <a:lnTo>
                    <a:pt x="826" y="1898"/>
                  </a:lnTo>
                  <a:lnTo>
                    <a:pt x="827" y="1891"/>
                  </a:lnTo>
                  <a:lnTo>
                    <a:pt x="830" y="1884"/>
                  </a:lnTo>
                  <a:lnTo>
                    <a:pt x="844" y="1835"/>
                  </a:lnTo>
                  <a:lnTo>
                    <a:pt x="857" y="1787"/>
                  </a:lnTo>
                  <a:lnTo>
                    <a:pt x="870" y="1738"/>
                  </a:lnTo>
                  <a:lnTo>
                    <a:pt x="885" y="1690"/>
                  </a:lnTo>
                  <a:lnTo>
                    <a:pt x="898" y="1641"/>
                  </a:lnTo>
                  <a:lnTo>
                    <a:pt x="911" y="1592"/>
                  </a:lnTo>
                  <a:lnTo>
                    <a:pt x="924" y="1543"/>
                  </a:lnTo>
                  <a:lnTo>
                    <a:pt x="936" y="1495"/>
                  </a:lnTo>
                  <a:lnTo>
                    <a:pt x="949" y="1446"/>
                  </a:lnTo>
                  <a:lnTo>
                    <a:pt x="961" y="1398"/>
                  </a:lnTo>
                  <a:lnTo>
                    <a:pt x="972" y="1350"/>
                  </a:lnTo>
                  <a:lnTo>
                    <a:pt x="984" y="1301"/>
                  </a:lnTo>
                  <a:lnTo>
                    <a:pt x="994" y="1253"/>
                  </a:lnTo>
                  <a:lnTo>
                    <a:pt x="1003" y="1205"/>
                  </a:lnTo>
                  <a:lnTo>
                    <a:pt x="1012" y="1157"/>
                  </a:lnTo>
                  <a:lnTo>
                    <a:pt x="1022" y="1108"/>
                  </a:lnTo>
                  <a:lnTo>
                    <a:pt x="1013" y="1107"/>
                  </a:lnTo>
                  <a:lnTo>
                    <a:pt x="1005" y="1105"/>
                  </a:lnTo>
                  <a:lnTo>
                    <a:pt x="998" y="1103"/>
                  </a:lnTo>
                  <a:lnTo>
                    <a:pt x="990" y="1101"/>
                  </a:lnTo>
                  <a:lnTo>
                    <a:pt x="964" y="1093"/>
                  </a:lnTo>
                  <a:lnTo>
                    <a:pt x="936" y="1084"/>
                  </a:lnTo>
                  <a:lnTo>
                    <a:pt x="908" y="1072"/>
                  </a:lnTo>
                  <a:lnTo>
                    <a:pt x="879" y="1060"/>
                  </a:lnTo>
                  <a:lnTo>
                    <a:pt x="847" y="1045"/>
                  </a:lnTo>
                  <a:lnTo>
                    <a:pt x="815" y="1029"/>
                  </a:lnTo>
                  <a:lnTo>
                    <a:pt x="781" y="1011"/>
                  </a:lnTo>
                  <a:lnTo>
                    <a:pt x="746" y="993"/>
                  </a:lnTo>
                  <a:lnTo>
                    <a:pt x="710" y="972"/>
                  </a:lnTo>
                  <a:lnTo>
                    <a:pt x="674" y="951"/>
                  </a:lnTo>
                  <a:lnTo>
                    <a:pt x="635" y="928"/>
                  </a:lnTo>
                  <a:lnTo>
                    <a:pt x="597" y="903"/>
                  </a:lnTo>
                  <a:lnTo>
                    <a:pt x="558" y="877"/>
                  </a:lnTo>
                  <a:lnTo>
                    <a:pt x="518" y="851"/>
                  </a:lnTo>
                  <a:lnTo>
                    <a:pt x="478" y="823"/>
                  </a:lnTo>
                  <a:lnTo>
                    <a:pt x="437" y="794"/>
                  </a:lnTo>
                  <a:lnTo>
                    <a:pt x="430" y="789"/>
                  </a:lnTo>
                  <a:lnTo>
                    <a:pt x="425" y="785"/>
                  </a:lnTo>
                  <a:lnTo>
                    <a:pt x="377" y="736"/>
                  </a:lnTo>
                  <a:lnTo>
                    <a:pt x="331" y="688"/>
                  </a:lnTo>
                  <a:lnTo>
                    <a:pt x="285" y="639"/>
                  </a:lnTo>
                  <a:lnTo>
                    <a:pt x="243" y="592"/>
                  </a:lnTo>
                  <a:lnTo>
                    <a:pt x="202" y="544"/>
                  </a:lnTo>
                  <a:lnTo>
                    <a:pt x="165" y="499"/>
                  </a:lnTo>
                  <a:lnTo>
                    <a:pt x="146" y="476"/>
                  </a:lnTo>
                  <a:lnTo>
                    <a:pt x="130" y="455"/>
                  </a:lnTo>
                  <a:lnTo>
                    <a:pt x="113" y="433"/>
                  </a:lnTo>
                  <a:lnTo>
                    <a:pt x="99" y="412"/>
                  </a:lnTo>
                  <a:lnTo>
                    <a:pt x="81" y="387"/>
                  </a:lnTo>
                  <a:lnTo>
                    <a:pt x="66" y="362"/>
                  </a:lnTo>
                  <a:lnTo>
                    <a:pt x="51" y="337"/>
                  </a:lnTo>
                  <a:lnTo>
                    <a:pt x="39" y="314"/>
                  </a:lnTo>
                  <a:lnTo>
                    <a:pt x="28" y="290"/>
                  </a:lnTo>
                  <a:lnTo>
                    <a:pt x="18" y="267"/>
                  </a:lnTo>
                  <a:lnTo>
                    <a:pt x="11" y="246"/>
                  </a:lnTo>
                  <a:lnTo>
                    <a:pt x="6" y="224"/>
                  </a:lnTo>
                  <a:lnTo>
                    <a:pt x="2" y="203"/>
                  </a:lnTo>
                  <a:lnTo>
                    <a:pt x="1" y="183"/>
                  </a:lnTo>
                  <a:lnTo>
                    <a:pt x="0" y="173"/>
                  </a:lnTo>
                  <a:lnTo>
                    <a:pt x="1" y="164"/>
                  </a:lnTo>
                  <a:lnTo>
                    <a:pt x="2" y="155"/>
                  </a:lnTo>
                  <a:lnTo>
                    <a:pt x="3" y="145"/>
                  </a:lnTo>
                  <a:lnTo>
                    <a:pt x="5" y="136"/>
                  </a:lnTo>
                  <a:lnTo>
                    <a:pt x="8" y="127"/>
                  </a:lnTo>
                  <a:lnTo>
                    <a:pt x="10" y="119"/>
                  </a:lnTo>
                  <a:lnTo>
                    <a:pt x="14" y="110"/>
                  </a:lnTo>
                  <a:lnTo>
                    <a:pt x="18" y="102"/>
                  </a:lnTo>
                  <a:lnTo>
                    <a:pt x="24" y="94"/>
                  </a:lnTo>
                  <a:lnTo>
                    <a:pt x="29" y="87"/>
                  </a:lnTo>
                  <a:lnTo>
                    <a:pt x="35" y="79"/>
                  </a:lnTo>
                  <a:lnTo>
                    <a:pt x="39" y="71"/>
                  </a:lnTo>
                  <a:lnTo>
                    <a:pt x="45" y="65"/>
                  </a:lnTo>
                  <a:lnTo>
                    <a:pt x="50" y="59"/>
                  </a:lnTo>
                  <a:lnTo>
                    <a:pt x="58" y="53"/>
                  </a:lnTo>
                  <a:lnTo>
                    <a:pt x="65" y="47"/>
                  </a:lnTo>
                  <a:lnTo>
                    <a:pt x="73" y="40"/>
                  </a:lnTo>
                  <a:lnTo>
                    <a:pt x="81" y="35"/>
                  </a:lnTo>
                  <a:lnTo>
                    <a:pt x="91" y="31"/>
                  </a:lnTo>
                  <a:lnTo>
                    <a:pt x="100" y="27"/>
                  </a:lnTo>
                  <a:lnTo>
                    <a:pt x="110" y="24"/>
                  </a:lnTo>
                  <a:lnTo>
                    <a:pt x="120" y="21"/>
                  </a:lnTo>
                  <a:lnTo>
                    <a:pt x="131" y="20"/>
                  </a:lnTo>
                  <a:lnTo>
                    <a:pt x="142" y="18"/>
                  </a:lnTo>
                  <a:lnTo>
                    <a:pt x="153" y="18"/>
                  </a:lnTo>
                  <a:lnTo>
                    <a:pt x="166" y="17"/>
                  </a:lnTo>
                  <a:lnTo>
                    <a:pt x="190" y="19"/>
                  </a:lnTo>
                  <a:lnTo>
                    <a:pt x="216" y="22"/>
                  </a:lnTo>
                  <a:lnTo>
                    <a:pt x="236" y="27"/>
                  </a:lnTo>
                  <a:lnTo>
                    <a:pt x="257" y="32"/>
                  </a:lnTo>
                  <a:lnTo>
                    <a:pt x="279" y="39"/>
                  </a:lnTo>
                  <a:lnTo>
                    <a:pt x="302" y="47"/>
                  </a:lnTo>
                  <a:lnTo>
                    <a:pt x="325" y="56"/>
                  </a:lnTo>
                  <a:lnTo>
                    <a:pt x="349" y="66"/>
                  </a:lnTo>
                  <a:lnTo>
                    <a:pt x="375" y="78"/>
                  </a:lnTo>
                  <a:lnTo>
                    <a:pt x="401" y="90"/>
                  </a:lnTo>
                  <a:lnTo>
                    <a:pt x="407" y="94"/>
                  </a:lnTo>
                  <a:lnTo>
                    <a:pt x="451" y="118"/>
                  </a:lnTo>
                  <a:lnTo>
                    <a:pt x="497" y="143"/>
                  </a:lnTo>
                  <a:lnTo>
                    <a:pt x="545" y="173"/>
                  </a:lnTo>
                  <a:lnTo>
                    <a:pt x="593" y="205"/>
                  </a:lnTo>
                  <a:lnTo>
                    <a:pt x="643" y="240"/>
                  </a:lnTo>
                  <a:lnTo>
                    <a:pt x="694" y="279"/>
                  </a:lnTo>
                  <a:lnTo>
                    <a:pt x="745" y="319"/>
                  </a:lnTo>
                  <a:lnTo>
                    <a:pt x="796" y="361"/>
                  </a:lnTo>
                  <a:lnTo>
                    <a:pt x="818" y="380"/>
                  </a:lnTo>
                  <a:lnTo>
                    <a:pt x="840" y="398"/>
                  </a:lnTo>
                  <a:lnTo>
                    <a:pt x="863" y="418"/>
                  </a:lnTo>
                  <a:lnTo>
                    <a:pt x="886" y="438"/>
                  </a:lnTo>
                  <a:lnTo>
                    <a:pt x="908" y="459"/>
                  </a:lnTo>
                  <a:lnTo>
                    <a:pt x="930" y="480"/>
                  </a:lnTo>
                  <a:lnTo>
                    <a:pt x="950" y="499"/>
                  </a:lnTo>
                  <a:lnTo>
                    <a:pt x="969" y="518"/>
                  </a:lnTo>
                  <a:lnTo>
                    <a:pt x="990" y="539"/>
                  </a:lnTo>
                  <a:lnTo>
                    <a:pt x="1010" y="561"/>
                  </a:lnTo>
                  <a:lnTo>
                    <a:pt x="1029" y="583"/>
                  </a:lnTo>
                  <a:lnTo>
                    <a:pt x="1048" y="603"/>
                  </a:lnTo>
                  <a:lnTo>
                    <a:pt x="1066" y="625"/>
                  </a:lnTo>
                  <a:lnTo>
                    <a:pt x="1085" y="647"/>
                  </a:lnTo>
                  <a:lnTo>
                    <a:pt x="1101" y="667"/>
                  </a:lnTo>
                  <a:lnTo>
                    <a:pt x="1117" y="688"/>
                  </a:lnTo>
                  <a:lnTo>
                    <a:pt x="1127" y="624"/>
                  </a:lnTo>
                  <a:lnTo>
                    <a:pt x="1135" y="559"/>
                  </a:lnTo>
                  <a:lnTo>
                    <a:pt x="1143" y="494"/>
                  </a:lnTo>
                  <a:lnTo>
                    <a:pt x="1150" y="429"/>
                  </a:lnTo>
                  <a:lnTo>
                    <a:pt x="1156" y="365"/>
                  </a:lnTo>
                  <a:lnTo>
                    <a:pt x="1160" y="300"/>
                  </a:lnTo>
                  <a:lnTo>
                    <a:pt x="1163" y="236"/>
                  </a:lnTo>
                  <a:lnTo>
                    <a:pt x="1164" y="171"/>
                  </a:lnTo>
                  <a:lnTo>
                    <a:pt x="1164" y="163"/>
                  </a:lnTo>
                  <a:lnTo>
                    <a:pt x="1165" y="156"/>
                  </a:lnTo>
                  <a:lnTo>
                    <a:pt x="1167" y="149"/>
                  </a:lnTo>
                  <a:lnTo>
                    <a:pt x="1169" y="141"/>
                  </a:lnTo>
                  <a:lnTo>
                    <a:pt x="1172" y="134"/>
                  </a:lnTo>
                  <a:lnTo>
                    <a:pt x="1175" y="128"/>
                  </a:lnTo>
                  <a:lnTo>
                    <a:pt x="1179" y="122"/>
                  </a:lnTo>
                  <a:lnTo>
                    <a:pt x="1184" y="116"/>
                  </a:lnTo>
                  <a:lnTo>
                    <a:pt x="1189" y="110"/>
                  </a:lnTo>
                  <a:lnTo>
                    <a:pt x="1195" y="105"/>
                  </a:lnTo>
                  <a:lnTo>
                    <a:pt x="1200" y="100"/>
                  </a:lnTo>
                  <a:lnTo>
                    <a:pt x="1207" y="97"/>
                  </a:lnTo>
                  <a:lnTo>
                    <a:pt x="1213" y="93"/>
                  </a:lnTo>
                  <a:lnTo>
                    <a:pt x="1220" y="90"/>
                  </a:lnTo>
                  <a:lnTo>
                    <a:pt x="1228" y="88"/>
                  </a:lnTo>
                  <a:lnTo>
                    <a:pt x="1235" y="87"/>
                  </a:lnTo>
                  <a:lnTo>
                    <a:pt x="1242" y="86"/>
                  </a:lnTo>
                  <a:lnTo>
                    <a:pt x="1249" y="86"/>
                  </a:lnTo>
                  <a:lnTo>
                    <a:pt x="899" y="1999"/>
                  </a:lnTo>
                  <a:close/>
                  <a:moveTo>
                    <a:pt x="1535" y="214"/>
                  </a:moveTo>
                  <a:lnTo>
                    <a:pt x="1509" y="217"/>
                  </a:lnTo>
                  <a:lnTo>
                    <a:pt x="1483" y="220"/>
                  </a:lnTo>
                  <a:lnTo>
                    <a:pt x="1457" y="223"/>
                  </a:lnTo>
                  <a:lnTo>
                    <a:pt x="1432" y="226"/>
                  </a:lnTo>
                  <a:lnTo>
                    <a:pt x="1407" y="229"/>
                  </a:lnTo>
                  <a:lnTo>
                    <a:pt x="1382" y="232"/>
                  </a:lnTo>
                  <a:lnTo>
                    <a:pt x="1357" y="236"/>
                  </a:lnTo>
                  <a:lnTo>
                    <a:pt x="1334" y="240"/>
                  </a:lnTo>
                  <a:lnTo>
                    <a:pt x="1332" y="285"/>
                  </a:lnTo>
                  <a:lnTo>
                    <a:pt x="1330" y="329"/>
                  </a:lnTo>
                  <a:lnTo>
                    <a:pt x="1327" y="373"/>
                  </a:lnTo>
                  <a:lnTo>
                    <a:pt x="1322" y="418"/>
                  </a:lnTo>
                  <a:lnTo>
                    <a:pt x="1318" y="462"/>
                  </a:lnTo>
                  <a:lnTo>
                    <a:pt x="1314" y="506"/>
                  </a:lnTo>
                  <a:lnTo>
                    <a:pt x="1309" y="551"/>
                  </a:lnTo>
                  <a:lnTo>
                    <a:pt x="1303" y="595"/>
                  </a:lnTo>
                  <a:lnTo>
                    <a:pt x="1298" y="639"/>
                  </a:lnTo>
                  <a:lnTo>
                    <a:pt x="1291" y="684"/>
                  </a:lnTo>
                  <a:lnTo>
                    <a:pt x="1284" y="727"/>
                  </a:lnTo>
                  <a:lnTo>
                    <a:pt x="1277" y="771"/>
                  </a:lnTo>
                  <a:lnTo>
                    <a:pt x="1271" y="816"/>
                  </a:lnTo>
                  <a:lnTo>
                    <a:pt x="1264" y="860"/>
                  </a:lnTo>
                  <a:lnTo>
                    <a:pt x="1257" y="904"/>
                  </a:lnTo>
                  <a:lnTo>
                    <a:pt x="1249" y="948"/>
                  </a:lnTo>
                  <a:lnTo>
                    <a:pt x="1248" y="951"/>
                  </a:lnTo>
                  <a:lnTo>
                    <a:pt x="1246" y="960"/>
                  </a:lnTo>
                  <a:lnTo>
                    <a:pt x="1243" y="968"/>
                  </a:lnTo>
                  <a:lnTo>
                    <a:pt x="1239" y="977"/>
                  </a:lnTo>
                  <a:lnTo>
                    <a:pt x="1234" y="985"/>
                  </a:lnTo>
                  <a:lnTo>
                    <a:pt x="1229" y="993"/>
                  </a:lnTo>
                  <a:lnTo>
                    <a:pt x="1222" y="999"/>
                  </a:lnTo>
                  <a:lnTo>
                    <a:pt x="1214" y="1005"/>
                  </a:lnTo>
                  <a:lnTo>
                    <a:pt x="1207" y="1010"/>
                  </a:lnTo>
                  <a:lnTo>
                    <a:pt x="1207" y="1022"/>
                  </a:lnTo>
                  <a:lnTo>
                    <a:pt x="1206" y="1033"/>
                  </a:lnTo>
                  <a:lnTo>
                    <a:pt x="1199" y="1084"/>
                  </a:lnTo>
                  <a:lnTo>
                    <a:pt x="1191" y="1133"/>
                  </a:lnTo>
                  <a:lnTo>
                    <a:pt x="1181" y="1184"/>
                  </a:lnTo>
                  <a:lnTo>
                    <a:pt x="1172" y="1233"/>
                  </a:lnTo>
                  <a:lnTo>
                    <a:pt x="1162" y="1283"/>
                  </a:lnTo>
                  <a:lnTo>
                    <a:pt x="1151" y="1332"/>
                  </a:lnTo>
                  <a:lnTo>
                    <a:pt x="1140" y="1383"/>
                  </a:lnTo>
                  <a:lnTo>
                    <a:pt x="1129" y="1432"/>
                  </a:lnTo>
                  <a:lnTo>
                    <a:pt x="1116" y="1482"/>
                  </a:lnTo>
                  <a:lnTo>
                    <a:pt x="1104" y="1531"/>
                  </a:lnTo>
                  <a:lnTo>
                    <a:pt x="1091" y="1580"/>
                  </a:lnTo>
                  <a:lnTo>
                    <a:pt x="1077" y="1630"/>
                  </a:lnTo>
                  <a:lnTo>
                    <a:pt x="1064" y="1679"/>
                  </a:lnTo>
                  <a:lnTo>
                    <a:pt x="1051" y="1729"/>
                  </a:lnTo>
                  <a:lnTo>
                    <a:pt x="1037" y="1778"/>
                  </a:lnTo>
                  <a:lnTo>
                    <a:pt x="1023" y="1828"/>
                  </a:lnTo>
                  <a:lnTo>
                    <a:pt x="1514" y="1828"/>
                  </a:lnTo>
                  <a:lnTo>
                    <a:pt x="1519" y="1791"/>
                  </a:lnTo>
                  <a:lnTo>
                    <a:pt x="1523" y="1753"/>
                  </a:lnTo>
                  <a:lnTo>
                    <a:pt x="1527" y="1714"/>
                  </a:lnTo>
                  <a:lnTo>
                    <a:pt x="1532" y="1676"/>
                  </a:lnTo>
                  <a:lnTo>
                    <a:pt x="1536" y="1639"/>
                  </a:lnTo>
                  <a:lnTo>
                    <a:pt x="1539" y="1600"/>
                  </a:lnTo>
                  <a:lnTo>
                    <a:pt x="1542" y="1562"/>
                  </a:lnTo>
                  <a:lnTo>
                    <a:pt x="1545" y="1524"/>
                  </a:lnTo>
                  <a:lnTo>
                    <a:pt x="1549" y="1476"/>
                  </a:lnTo>
                  <a:lnTo>
                    <a:pt x="1553" y="1429"/>
                  </a:lnTo>
                  <a:lnTo>
                    <a:pt x="1557" y="1382"/>
                  </a:lnTo>
                  <a:lnTo>
                    <a:pt x="1562" y="1333"/>
                  </a:lnTo>
                  <a:lnTo>
                    <a:pt x="1568" y="1286"/>
                  </a:lnTo>
                  <a:lnTo>
                    <a:pt x="1574" y="1237"/>
                  </a:lnTo>
                  <a:lnTo>
                    <a:pt x="1580" y="1189"/>
                  </a:lnTo>
                  <a:lnTo>
                    <a:pt x="1587" y="1140"/>
                  </a:lnTo>
                  <a:lnTo>
                    <a:pt x="1588" y="1131"/>
                  </a:lnTo>
                  <a:lnTo>
                    <a:pt x="1591" y="1123"/>
                  </a:lnTo>
                  <a:lnTo>
                    <a:pt x="1594" y="1115"/>
                  </a:lnTo>
                  <a:lnTo>
                    <a:pt x="1599" y="1106"/>
                  </a:lnTo>
                  <a:lnTo>
                    <a:pt x="1595" y="1100"/>
                  </a:lnTo>
                  <a:lnTo>
                    <a:pt x="1592" y="1094"/>
                  </a:lnTo>
                  <a:lnTo>
                    <a:pt x="1590" y="1088"/>
                  </a:lnTo>
                  <a:lnTo>
                    <a:pt x="1589" y="1081"/>
                  </a:lnTo>
                  <a:lnTo>
                    <a:pt x="1588" y="1074"/>
                  </a:lnTo>
                  <a:lnTo>
                    <a:pt x="1587" y="1067"/>
                  </a:lnTo>
                  <a:lnTo>
                    <a:pt x="1587" y="1061"/>
                  </a:lnTo>
                  <a:lnTo>
                    <a:pt x="1588" y="1054"/>
                  </a:lnTo>
                  <a:lnTo>
                    <a:pt x="1594" y="998"/>
                  </a:lnTo>
                  <a:lnTo>
                    <a:pt x="1603" y="940"/>
                  </a:lnTo>
                  <a:lnTo>
                    <a:pt x="1610" y="881"/>
                  </a:lnTo>
                  <a:lnTo>
                    <a:pt x="1618" y="820"/>
                  </a:lnTo>
                  <a:lnTo>
                    <a:pt x="1626" y="757"/>
                  </a:lnTo>
                  <a:lnTo>
                    <a:pt x="1635" y="694"/>
                  </a:lnTo>
                  <a:lnTo>
                    <a:pt x="1643" y="630"/>
                  </a:lnTo>
                  <a:lnTo>
                    <a:pt x="1652" y="566"/>
                  </a:lnTo>
                  <a:lnTo>
                    <a:pt x="1657" y="522"/>
                  </a:lnTo>
                  <a:lnTo>
                    <a:pt x="1663" y="479"/>
                  </a:lnTo>
                  <a:lnTo>
                    <a:pt x="1669" y="434"/>
                  </a:lnTo>
                  <a:lnTo>
                    <a:pt x="1675" y="389"/>
                  </a:lnTo>
                  <a:lnTo>
                    <a:pt x="1681" y="342"/>
                  </a:lnTo>
                  <a:lnTo>
                    <a:pt x="1687" y="294"/>
                  </a:lnTo>
                  <a:lnTo>
                    <a:pt x="1693" y="245"/>
                  </a:lnTo>
                  <a:lnTo>
                    <a:pt x="1700" y="193"/>
                  </a:lnTo>
                  <a:lnTo>
                    <a:pt x="1680" y="196"/>
                  </a:lnTo>
                  <a:lnTo>
                    <a:pt x="1659" y="199"/>
                  </a:lnTo>
                  <a:lnTo>
                    <a:pt x="1639" y="201"/>
                  </a:lnTo>
                  <a:lnTo>
                    <a:pt x="1618" y="204"/>
                  </a:lnTo>
                  <a:lnTo>
                    <a:pt x="1596" y="206"/>
                  </a:lnTo>
                  <a:lnTo>
                    <a:pt x="1576" y="209"/>
                  </a:lnTo>
                  <a:lnTo>
                    <a:pt x="1555" y="212"/>
                  </a:lnTo>
                  <a:lnTo>
                    <a:pt x="1535" y="214"/>
                  </a:lnTo>
                  <a:close/>
                  <a:moveTo>
                    <a:pt x="1860" y="923"/>
                  </a:moveTo>
                  <a:lnTo>
                    <a:pt x="1842" y="944"/>
                  </a:lnTo>
                  <a:lnTo>
                    <a:pt x="1825" y="966"/>
                  </a:lnTo>
                  <a:lnTo>
                    <a:pt x="1810" y="988"/>
                  </a:lnTo>
                  <a:lnTo>
                    <a:pt x="1795" y="1007"/>
                  </a:lnTo>
                  <a:lnTo>
                    <a:pt x="1783" y="1028"/>
                  </a:lnTo>
                  <a:lnTo>
                    <a:pt x="1772" y="1048"/>
                  </a:lnTo>
                  <a:lnTo>
                    <a:pt x="1762" y="1067"/>
                  </a:lnTo>
                  <a:lnTo>
                    <a:pt x="1755" y="1087"/>
                  </a:lnTo>
                  <a:lnTo>
                    <a:pt x="1754" y="1091"/>
                  </a:lnTo>
                  <a:lnTo>
                    <a:pt x="1860" y="923"/>
                  </a:lnTo>
                  <a:close/>
                  <a:moveTo>
                    <a:pt x="2062" y="709"/>
                  </a:moveTo>
                  <a:lnTo>
                    <a:pt x="2033" y="738"/>
                  </a:lnTo>
                  <a:lnTo>
                    <a:pt x="2004" y="767"/>
                  </a:lnTo>
                  <a:lnTo>
                    <a:pt x="1978" y="795"/>
                  </a:lnTo>
                  <a:lnTo>
                    <a:pt x="1952" y="822"/>
                  </a:lnTo>
                  <a:lnTo>
                    <a:pt x="1927" y="848"/>
                  </a:lnTo>
                  <a:lnTo>
                    <a:pt x="1903" y="873"/>
                  </a:lnTo>
                  <a:lnTo>
                    <a:pt x="1881" y="898"/>
                  </a:lnTo>
                  <a:lnTo>
                    <a:pt x="1860" y="923"/>
                  </a:lnTo>
                  <a:lnTo>
                    <a:pt x="2062" y="709"/>
                  </a:lnTo>
                  <a:close/>
                  <a:moveTo>
                    <a:pt x="1868" y="1052"/>
                  </a:moveTo>
                  <a:lnTo>
                    <a:pt x="1890" y="1039"/>
                  </a:lnTo>
                  <a:lnTo>
                    <a:pt x="1913" y="1027"/>
                  </a:lnTo>
                  <a:lnTo>
                    <a:pt x="1936" y="1012"/>
                  </a:lnTo>
                  <a:lnTo>
                    <a:pt x="1961" y="996"/>
                  </a:lnTo>
                  <a:lnTo>
                    <a:pt x="1985" y="979"/>
                  </a:lnTo>
                  <a:lnTo>
                    <a:pt x="2011" y="961"/>
                  </a:lnTo>
                  <a:lnTo>
                    <a:pt x="2036" y="941"/>
                  </a:lnTo>
                  <a:lnTo>
                    <a:pt x="2062" y="921"/>
                  </a:lnTo>
                  <a:lnTo>
                    <a:pt x="1868" y="1052"/>
                  </a:lnTo>
                  <a:close/>
                  <a:moveTo>
                    <a:pt x="1753" y="1093"/>
                  </a:moveTo>
                  <a:lnTo>
                    <a:pt x="1762" y="1092"/>
                  </a:lnTo>
                  <a:lnTo>
                    <a:pt x="1774" y="1090"/>
                  </a:lnTo>
                  <a:lnTo>
                    <a:pt x="1786" y="1086"/>
                  </a:lnTo>
                  <a:lnTo>
                    <a:pt x="1800" y="1082"/>
                  </a:lnTo>
                  <a:lnTo>
                    <a:pt x="1815" y="1075"/>
                  </a:lnTo>
                  <a:lnTo>
                    <a:pt x="1831" y="1068"/>
                  </a:lnTo>
                  <a:lnTo>
                    <a:pt x="1849" y="1061"/>
                  </a:lnTo>
                  <a:lnTo>
                    <a:pt x="1868" y="1052"/>
                  </a:lnTo>
                  <a:lnTo>
                    <a:pt x="1753" y="1093"/>
                  </a:lnTo>
                  <a:close/>
                  <a:moveTo>
                    <a:pt x="1034" y="936"/>
                  </a:moveTo>
                  <a:lnTo>
                    <a:pt x="1045" y="939"/>
                  </a:lnTo>
                  <a:lnTo>
                    <a:pt x="1057" y="941"/>
                  </a:lnTo>
                  <a:lnTo>
                    <a:pt x="1066" y="942"/>
                  </a:lnTo>
                  <a:lnTo>
                    <a:pt x="1075" y="943"/>
                  </a:lnTo>
                  <a:lnTo>
                    <a:pt x="1069" y="929"/>
                  </a:lnTo>
                  <a:lnTo>
                    <a:pt x="1061" y="912"/>
                  </a:lnTo>
                  <a:lnTo>
                    <a:pt x="1052" y="896"/>
                  </a:lnTo>
                  <a:lnTo>
                    <a:pt x="1041" y="878"/>
                  </a:lnTo>
                  <a:lnTo>
                    <a:pt x="1030" y="861"/>
                  </a:lnTo>
                  <a:lnTo>
                    <a:pt x="1019" y="842"/>
                  </a:lnTo>
                  <a:lnTo>
                    <a:pt x="1005" y="823"/>
                  </a:lnTo>
                  <a:lnTo>
                    <a:pt x="991" y="803"/>
                  </a:lnTo>
                  <a:lnTo>
                    <a:pt x="960" y="764"/>
                  </a:lnTo>
                  <a:lnTo>
                    <a:pt x="926" y="723"/>
                  </a:lnTo>
                  <a:lnTo>
                    <a:pt x="888" y="681"/>
                  </a:lnTo>
                  <a:lnTo>
                    <a:pt x="848" y="638"/>
                  </a:lnTo>
                  <a:lnTo>
                    <a:pt x="828" y="619"/>
                  </a:lnTo>
                  <a:lnTo>
                    <a:pt x="810" y="600"/>
                  </a:lnTo>
                  <a:lnTo>
                    <a:pt x="790" y="583"/>
                  </a:lnTo>
                  <a:lnTo>
                    <a:pt x="771" y="565"/>
                  </a:lnTo>
                  <a:lnTo>
                    <a:pt x="752" y="548"/>
                  </a:lnTo>
                  <a:lnTo>
                    <a:pt x="732" y="530"/>
                  </a:lnTo>
                  <a:lnTo>
                    <a:pt x="711" y="513"/>
                  </a:lnTo>
                  <a:lnTo>
                    <a:pt x="689" y="495"/>
                  </a:lnTo>
                  <a:lnTo>
                    <a:pt x="685" y="491"/>
                  </a:lnTo>
                  <a:lnTo>
                    <a:pt x="638" y="452"/>
                  </a:lnTo>
                  <a:lnTo>
                    <a:pt x="591" y="415"/>
                  </a:lnTo>
                  <a:lnTo>
                    <a:pt x="545" y="381"/>
                  </a:lnTo>
                  <a:lnTo>
                    <a:pt x="499" y="348"/>
                  </a:lnTo>
                  <a:lnTo>
                    <a:pt x="455" y="319"/>
                  </a:lnTo>
                  <a:lnTo>
                    <a:pt x="412" y="292"/>
                  </a:lnTo>
                  <a:lnTo>
                    <a:pt x="370" y="268"/>
                  </a:lnTo>
                  <a:lnTo>
                    <a:pt x="331" y="247"/>
                  </a:lnTo>
                  <a:lnTo>
                    <a:pt x="324" y="243"/>
                  </a:lnTo>
                  <a:lnTo>
                    <a:pt x="283" y="225"/>
                  </a:lnTo>
                  <a:lnTo>
                    <a:pt x="246" y="209"/>
                  </a:lnTo>
                  <a:lnTo>
                    <a:pt x="230" y="203"/>
                  </a:lnTo>
                  <a:lnTo>
                    <a:pt x="213" y="198"/>
                  </a:lnTo>
                  <a:lnTo>
                    <a:pt x="199" y="194"/>
                  </a:lnTo>
                  <a:lnTo>
                    <a:pt x="185" y="191"/>
                  </a:lnTo>
                  <a:lnTo>
                    <a:pt x="181" y="190"/>
                  </a:lnTo>
                  <a:lnTo>
                    <a:pt x="179" y="187"/>
                  </a:lnTo>
                  <a:lnTo>
                    <a:pt x="178" y="185"/>
                  </a:lnTo>
                  <a:lnTo>
                    <a:pt x="178" y="182"/>
                  </a:lnTo>
                  <a:lnTo>
                    <a:pt x="177" y="176"/>
                  </a:lnTo>
                  <a:lnTo>
                    <a:pt x="177" y="174"/>
                  </a:lnTo>
                  <a:lnTo>
                    <a:pt x="171" y="182"/>
                  </a:lnTo>
                  <a:lnTo>
                    <a:pt x="165" y="189"/>
                  </a:lnTo>
                  <a:lnTo>
                    <a:pt x="165" y="191"/>
                  </a:lnTo>
                  <a:lnTo>
                    <a:pt x="165" y="193"/>
                  </a:lnTo>
                  <a:lnTo>
                    <a:pt x="166" y="197"/>
                  </a:lnTo>
                  <a:lnTo>
                    <a:pt x="167" y="201"/>
                  </a:lnTo>
                  <a:lnTo>
                    <a:pt x="173" y="213"/>
                  </a:lnTo>
                  <a:lnTo>
                    <a:pt x="181" y="227"/>
                  </a:lnTo>
                  <a:lnTo>
                    <a:pt x="205" y="265"/>
                  </a:lnTo>
                  <a:lnTo>
                    <a:pt x="238" y="314"/>
                  </a:lnTo>
                  <a:lnTo>
                    <a:pt x="266" y="352"/>
                  </a:lnTo>
                  <a:lnTo>
                    <a:pt x="298" y="392"/>
                  </a:lnTo>
                  <a:lnTo>
                    <a:pt x="333" y="434"/>
                  </a:lnTo>
                  <a:lnTo>
                    <a:pt x="370" y="477"/>
                  </a:lnTo>
                  <a:lnTo>
                    <a:pt x="410" y="522"/>
                  </a:lnTo>
                  <a:lnTo>
                    <a:pt x="452" y="567"/>
                  </a:lnTo>
                  <a:lnTo>
                    <a:pt x="496" y="613"/>
                  </a:lnTo>
                  <a:lnTo>
                    <a:pt x="543" y="659"/>
                  </a:lnTo>
                  <a:lnTo>
                    <a:pt x="580" y="686"/>
                  </a:lnTo>
                  <a:lnTo>
                    <a:pt x="617" y="711"/>
                  </a:lnTo>
                  <a:lnTo>
                    <a:pt x="653" y="736"/>
                  </a:lnTo>
                  <a:lnTo>
                    <a:pt x="689" y="759"/>
                  </a:lnTo>
                  <a:lnTo>
                    <a:pt x="724" y="782"/>
                  </a:lnTo>
                  <a:lnTo>
                    <a:pt x="757" y="802"/>
                  </a:lnTo>
                  <a:lnTo>
                    <a:pt x="790" y="822"/>
                  </a:lnTo>
                  <a:lnTo>
                    <a:pt x="823" y="840"/>
                  </a:lnTo>
                  <a:lnTo>
                    <a:pt x="854" y="858"/>
                  </a:lnTo>
                  <a:lnTo>
                    <a:pt x="883" y="873"/>
                  </a:lnTo>
                  <a:lnTo>
                    <a:pt x="911" y="888"/>
                  </a:lnTo>
                  <a:lnTo>
                    <a:pt x="939" y="900"/>
                  </a:lnTo>
                  <a:lnTo>
                    <a:pt x="965" y="911"/>
                  </a:lnTo>
                  <a:lnTo>
                    <a:pt x="990" y="922"/>
                  </a:lnTo>
                  <a:lnTo>
                    <a:pt x="1012" y="930"/>
                  </a:lnTo>
                  <a:lnTo>
                    <a:pt x="1034" y="9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0" name="Freeform 16"/>
            <p:cNvSpPr>
              <a:spLocks noChangeArrowheads="1"/>
            </p:cNvSpPr>
            <p:nvPr/>
          </p:nvSpPr>
          <p:spPr bwMode="auto">
            <a:xfrm>
              <a:off x="7259638" y="5314924"/>
              <a:ext cx="892175" cy="1020785"/>
            </a:xfrm>
            <a:custGeom>
              <a:avLst/>
              <a:gdLst>
                <a:gd name="T0" fmla="*/ 1263 w 1977"/>
                <a:gd name="T1" fmla="*/ 66 h 1827"/>
                <a:gd name="T2" fmla="*/ 1510 w 1977"/>
                <a:gd name="T3" fmla="*/ 35 h 1827"/>
                <a:gd name="T4" fmla="*/ 1682 w 1977"/>
                <a:gd name="T5" fmla="*/ 8 h 1827"/>
                <a:gd name="T6" fmla="*/ 1692 w 1977"/>
                <a:gd name="T7" fmla="*/ 187 h 1827"/>
                <a:gd name="T8" fmla="*/ 1660 w 1977"/>
                <a:gd name="T9" fmla="*/ 430 h 1827"/>
                <a:gd name="T10" fmla="*/ 1628 w 1977"/>
                <a:gd name="T11" fmla="*/ 669 h 1827"/>
                <a:gd name="T12" fmla="*/ 1596 w 1977"/>
                <a:gd name="T13" fmla="*/ 914 h 1827"/>
                <a:gd name="T14" fmla="*/ 1621 w 1977"/>
                <a:gd name="T15" fmla="*/ 906 h 1827"/>
                <a:gd name="T16" fmla="*/ 1689 w 1977"/>
                <a:gd name="T17" fmla="*/ 807 h 1827"/>
                <a:gd name="T18" fmla="*/ 1781 w 1977"/>
                <a:gd name="T19" fmla="*/ 701 h 1827"/>
                <a:gd name="T20" fmla="*/ 1977 w 1977"/>
                <a:gd name="T21" fmla="*/ 517 h 1827"/>
                <a:gd name="T22" fmla="*/ 1881 w 1977"/>
                <a:gd name="T23" fmla="*/ 1008 h 1827"/>
                <a:gd name="T24" fmla="*/ 1766 w 1977"/>
                <a:gd name="T25" fmla="*/ 1067 h 1827"/>
                <a:gd name="T26" fmla="*/ 1680 w 1977"/>
                <a:gd name="T27" fmla="*/ 1088 h 1827"/>
                <a:gd name="T28" fmla="*/ 1640 w 1977"/>
                <a:gd name="T29" fmla="*/ 1087 h 1827"/>
                <a:gd name="T30" fmla="*/ 1607 w 1977"/>
                <a:gd name="T31" fmla="*/ 1077 h 1827"/>
                <a:gd name="T32" fmla="*/ 1580 w 1977"/>
                <a:gd name="T33" fmla="*/ 1111 h 1827"/>
                <a:gd name="T34" fmla="*/ 1558 w 1977"/>
                <a:gd name="T35" fmla="*/ 1302 h 1827"/>
                <a:gd name="T36" fmla="*/ 1541 w 1977"/>
                <a:gd name="T37" fmla="*/ 1493 h 1827"/>
                <a:gd name="T38" fmla="*/ 1523 w 1977"/>
                <a:gd name="T39" fmla="*/ 1684 h 1827"/>
                <a:gd name="T40" fmla="*/ 1422 w 1977"/>
                <a:gd name="T41" fmla="*/ 1827 h 1827"/>
                <a:gd name="T42" fmla="*/ 1077 w 1977"/>
                <a:gd name="T43" fmla="*/ 1827 h 1827"/>
                <a:gd name="T44" fmla="*/ 841 w 1977"/>
                <a:gd name="T45" fmla="*/ 1772 h 1827"/>
                <a:gd name="T46" fmla="*/ 903 w 1977"/>
                <a:gd name="T47" fmla="*/ 1549 h 1827"/>
                <a:gd name="T48" fmla="*/ 960 w 1977"/>
                <a:gd name="T49" fmla="*/ 1326 h 1827"/>
                <a:gd name="T50" fmla="*/ 1009 w 1977"/>
                <a:gd name="T51" fmla="*/ 1103 h 1827"/>
                <a:gd name="T52" fmla="*/ 1028 w 1977"/>
                <a:gd name="T53" fmla="*/ 939 h 1827"/>
                <a:gd name="T54" fmla="*/ 985 w 1977"/>
                <a:gd name="T55" fmla="*/ 943 h 1827"/>
                <a:gd name="T56" fmla="*/ 927 w 1977"/>
                <a:gd name="T57" fmla="*/ 933 h 1827"/>
                <a:gd name="T58" fmla="*/ 858 w 1977"/>
                <a:gd name="T59" fmla="*/ 909 h 1827"/>
                <a:gd name="T60" fmla="*/ 755 w 1977"/>
                <a:gd name="T61" fmla="*/ 861 h 1827"/>
                <a:gd name="T62" fmla="*/ 563 w 1977"/>
                <a:gd name="T63" fmla="*/ 748 h 1827"/>
                <a:gd name="T64" fmla="*/ 354 w 1977"/>
                <a:gd name="T65" fmla="*/ 590 h 1827"/>
                <a:gd name="T66" fmla="*/ 183 w 1977"/>
                <a:gd name="T67" fmla="*/ 404 h 1827"/>
                <a:gd name="T68" fmla="*/ 97 w 1977"/>
                <a:gd name="T69" fmla="*/ 297 h 1827"/>
                <a:gd name="T70" fmla="*/ 46 w 1977"/>
                <a:gd name="T71" fmla="*/ 219 h 1827"/>
                <a:gd name="T72" fmla="*/ 13 w 1977"/>
                <a:gd name="T73" fmla="*/ 151 h 1827"/>
                <a:gd name="T74" fmla="*/ 0 w 1977"/>
                <a:gd name="T75" fmla="*/ 95 h 1827"/>
                <a:gd name="T76" fmla="*/ 13 w 1977"/>
                <a:gd name="T77" fmla="*/ 51 h 1827"/>
                <a:gd name="T78" fmla="*/ 38 w 1977"/>
                <a:gd name="T79" fmla="*/ 24 h 1827"/>
                <a:gd name="T80" fmla="*/ 81 w 1977"/>
                <a:gd name="T81" fmla="*/ 16 h 1827"/>
                <a:gd name="T82" fmla="*/ 143 w 1977"/>
                <a:gd name="T83" fmla="*/ 28 h 1827"/>
                <a:gd name="T84" fmla="*/ 221 w 1977"/>
                <a:gd name="T85" fmla="*/ 54 h 1827"/>
                <a:gd name="T86" fmla="*/ 310 w 1977"/>
                <a:gd name="T87" fmla="*/ 99 h 1827"/>
                <a:gd name="T88" fmla="*/ 410 w 1977"/>
                <a:gd name="T89" fmla="*/ 157 h 1827"/>
                <a:gd name="T90" fmla="*/ 600 w 1977"/>
                <a:gd name="T91" fmla="*/ 295 h 1827"/>
                <a:gd name="T92" fmla="*/ 770 w 1977"/>
                <a:gd name="T93" fmla="*/ 440 h 1827"/>
                <a:gd name="T94" fmla="*/ 902 w 1977"/>
                <a:gd name="T95" fmla="*/ 577 h 1827"/>
                <a:gd name="T96" fmla="*/ 1005 w 1977"/>
                <a:gd name="T97" fmla="*/ 710 h 1827"/>
                <a:gd name="T98" fmla="*/ 1070 w 1977"/>
                <a:gd name="T99" fmla="*/ 825 h 1827"/>
                <a:gd name="T100" fmla="*/ 1103 w 1977"/>
                <a:gd name="T101" fmla="*/ 707 h 1827"/>
                <a:gd name="T102" fmla="*/ 1131 w 1977"/>
                <a:gd name="T103" fmla="*/ 515 h 1827"/>
                <a:gd name="T104" fmla="*/ 1153 w 1977"/>
                <a:gd name="T105" fmla="*/ 324 h 1827"/>
                <a:gd name="T106" fmla="*/ 1163 w 1977"/>
                <a:gd name="T107" fmla="*/ 133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7" h="1827">
                  <a:moveTo>
                    <a:pt x="1164" y="85"/>
                  </a:moveTo>
                  <a:lnTo>
                    <a:pt x="1196" y="78"/>
                  </a:lnTo>
                  <a:lnTo>
                    <a:pt x="1229" y="71"/>
                  </a:lnTo>
                  <a:lnTo>
                    <a:pt x="1263" y="66"/>
                  </a:lnTo>
                  <a:lnTo>
                    <a:pt x="1298" y="61"/>
                  </a:lnTo>
                  <a:lnTo>
                    <a:pt x="1368" y="51"/>
                  </a:lnTo>
                  <a:lnTo>
                    <a:pt x="1439" y="43"/>
                  </a:lnTo>
                  <a:lnTo>
                    <a:pt x="1510" y="35"/>
                  </a:lnTo>
                  <a:lnTo>
                    <a:pt x="1581" y="26"/>
                  </a:lnTo>
                  <a:lnTo>
                    <a:pt x="1615" y="20"/>
                  </a:lnTo>
                  <a:lnTo>
                    <a:pt x="1649" y="14"/>
                  </a:lnTo>
                  <a:lnTo>
                    <a:pt x="1682" y="8"/>
                  </a:lnTo>
                  <a:lnTo>
                    <a:pt x="1715" y="0"/>
                  </a:lnTo>
                  <a:lnTo>
                    <a:pt x="1707" y="64"/>
                  </a:lnTo>
                  <a:lnTo>
                    <a:pt x="1699" y="126"/>
                  </a:lnTo>
                  <a:lnTo>
                    <a:pt x="1692" y="187"/>
                  </a:lnTo>
                  <a:lnTo>
                    <a:pt x="1683" y="248"/>
                  </a:lnTo>
                  <a:lnTo>
                    <a:pt x="1675" y="309"/>
                  </a:lnTo>
                  <a:lnTo>
                    <a:pt x="1667" y="370"/>
                  </a:lnTo>
                  <a:lnTo>
                    <a:pt x="1660" y="430"/>
                  </a:lnTo>
                  <a:lnTo>
                    <a:pt x="1652" y="489"/>
                  </a:lnTo>
                  <a:lnTo>
                    <a:pt x="1643" y="549"/>
                  </a:lnTo>
                  <a:lnTo>
                    <a:pt x="1635" y="609"/>
                  </a:lnTo>
                  <a:lnTo>
                    <a:pt x="1628" y="669"/>
                  </a:lnTo>
                  <a:lnTo>
                    <a:pt x="1620" y="730"/>
                  </a:lnTo>
                  <a:lnTo>
                    <a:pt x="1611" y="790"/>
                  </a:lnTo>
                  <a:lnTo>
                    <a:pt x="1604" y="852"/>
                  </a:lnTo>
                  <a:lnTo>
                    <a:pt x="1596" y="914"/>
                  </a:lnTo>
                  <a:lnTo>
                    <a:pt x="1588" y="978"/>
                  </a:lnTo>
                  <a:lnTo>
                    <a:pt x="1597" y="954"/>
                  </a:lnTo>
                  <a:lnTo>
                    <a:pt x="1607" y="930"/>
                  </a:lnTo>
                  <a:lnTo>
                    <a:pt x="1621" y="906"/>
                  </a:lnTo>
                  <a:lnTo>
                    <a:pt x="1635" y="881"/>
                  </a:lnTo>
                  <a:lnTo>
                    <a:pt x="1650" y="857"/>
                  </a:lnTo>
                  <a:lnTo>
                    <a:pt x="1669" y="833"/>
                  </a:lnTo>
                  <a:lnTo>
                    <a:pt x="1689" y="807"/>
                  </a:lnTo>
                  <a:lnTo>
                    <a:pt x="1709" y="781"/>
                  </a:lnTo>
                  <a:lnTo>
                    <a:pt x="1732" y="755"/>
                  </a:lnTo>
                  <a:lnTo>
                    <a:pt x="1757" y="729"/>
                  </a:lnTo>
                  <a:lnTo>
                    <a:pt x="1781" y="701"/>
                  </a:lnTo>
                  <a:lnTo>
                    <a:pt x="1808" y="673"/>
                  </a:lnTo>
                  <a:lnTo>
                    <a:pt x="1866" y="615"/>
                  </a:lnTo>
                  <a:lnTo>
                    <a:pt x="1927" y="552"/>
                  </a:lnTo>
                  <a:lnTo>
                    <a:pt x="1977" y="517"/>
                  </a:lnTo>
                  <a:lnTo>
                    <a:pt x="1977" y="943"/>
                  </a:lnTo>
                  <a:lnTo>
                    <a:pt x="1944" y="967"/>
                  </a:lnTo>
                  <a:lnTo>
                    <a:pt x="1912" y="988"/>
                  </a:lnTo>
                  <a:lnTo>
                    <a:pt x="1881" y="1008"/>
                  </a:lnTo>
                  <a:lnTo>
                    <a:pt x="1850" y="1025"/>
                  </a:lnTo>
                  <a:lnTo>
                    <a:pt x="1821" y="1041"/>
                  </a:lnTo>
                  <a:lnTo>
                    <a:pt x="1793" y="1055"/>
                  </a:lnTo>
                  <a:lnTo>
                    <a:pt x="1766" y="1067"/>
                  </a:lnTo>
                  <a:lnTo>
                    <a:pt x="1739" y="1075"/>
                  </a:lnTo>
                  <a:lnTo>
                    <a:pt x="1714" y="1082"/>
                  </a:lnTo>
                  <a:lnTo>
                    <a:pt x="1692" y="1086"/>
                  </a:lnTo>
                  <a:lnTo>
                    <a:pt x="1680" y="1088"/>
                  </a:lnTo>
                  <a:lnTo>
                    <a:pt x="1670" y="1089"/>
                  </a:lnTo>
                  <a:lnTo>
                    <a:pt x="1660" y="1089"/>
                  </a:lnTo>
                  <a:lnTo>
                    <a:pt x="1649" y="1088"/>
                  </a:lnTo>
                  <a:lnTo>
                    <a:pt x="1640" y="1087"/>
                  </a:lnTo>
                  <a:lnTo>
                    <a:pt x="1632" y="1086"/>
                  </a:lnTo>
                  <a:lnTo>
                    <a:pt x="1623" y="1084"/>
                  </a:lnTo>
                  <a:lnTo>
                    <a:pt x="1615" y="1081"/>
                  </a:lnTo>
                  <a:lnTo>
                    <a:pt x="1607" y="1077"/>
                  </a:lnTo>
                  <a:lnTo>
                    <a:pt x="1600" y="1073"/>
                  </a:lnTo>
                  <a:lnTo>
                    <a:pt x="1594" y="1069"/>
                  </a:lnTo>
                  <a:lnTo>
                    <a:pt x="1588" y="1063"/>
                  </a:lnTo>
                  <a:lnTo>
                    <a:pt x="1580" y="1111"/>
                  </a:lnTo>
                  <a:lnTo>
                    <a:pt x="1573" y="1158"/>
                  </a:lnTo>
                  <a:lnTo>
                    <a:pt x="1568" y="1206"/>
                  </a:lnTo>
                  <a:lnTo>
                    <a:pt x="1563" y="1254"/>
                  </a:lnTo>
                  <a:lnTo>
                    <a:pt x="1558" y="1302"/>
                  </a:lnTo>
                  <a:lnTo>
                    <a:pt x="1554" y="1350"/>
                  </a:lnTo>
                  <a:lnTo>
                    <a:pt x="1550" y="1398"/>
                  </a:lnTo>
                  <a:lnTo>
                    <a:pt x="1545" y="1445"/>
                  </a:lnTo>
                  <a:lnTo>
                    <a:pt x="1541" y="1493"/>
                  </a:lnTo>
                  <a:lnTo>
                    <a:pt x="1537" y="1541"/>
                  </a:lnTo>
                  <a:lnTo>
                    <a:pt x="1533" y="1589"/>
                  </a:lnTo>
                  <a:lnTo>
                    <a:pt x="1528" y="1637"/>
                  </a:lnTo>
                  <a:lnTo>
                    <a:pt x="1523" y="1684"/>
                  </a:lnTo>
                  <a:lnTo>
                    <a:pt x="1517" y="1733"/>
                  </a:lnTo>
                  <a:lnTo>
                    <a:pt x="1510" y="1780"/>
                  </a:lnTo>
                  <a:lnTo>
                    <a:pt x="1503" y="1827"/>
                  </a:lnTo>
                  <a:lnTo>
                    <a:pt x="1422" y="1827"/>
                  </a:lnTo>
                  <a:lnTo>
                    <a:pt x="1337" y="1827"/>
                  </a:lnTo>
                  <a:lnTo>
                    <a:pt x="1251" y="1827"/>
                  </a:lnTo>
                  <a:lnTo>
                    <a:pt x="1164" y="1827"/>
                  </a:lnTo>
                  <a:lnTo>
                    <a:pt x="1077" y="1827"/>
                  </a:lnTo>
                  <a:lnTo>
                    <a:pt x="990" y="1827"/>
                  </a:lnTo>
                  <a:lnTo>
                    <a:pt x="906" y="1827"/>
                  </a:lnTo>
                  <a:lnTo>
                    <a:pt x="824" y="1827"/>
                  </a:lnTo>
                  <a:lnTo>
                    <a:pt x="841" y="1772"/>
                  </a:lnTo>
                  <a:lnTo>
                    <a:pt x="856" y="1716"/>
                  </a:lnTo>
                  <a:lnTo>
                    <a:pt x="872" y="1660"/>
                  </a:lnTo>
                  <a:lnTo>
                    <a:pt x="887" y="1605"/>
                  </a:lnTo>
                  <a:lnTo>
                    <a:pt x="903" y="1549"/>
                  </a:lnTo>
                  <a:lnTo>
                    <a:pt x="918" y="1493"/>
                  </a:lnTo>
                  <a:lnTo>
                    <a:pt x="933" y="1438"/>
                  </a:lnTo>
                  <a:lnTo>
                    <a:pt x="947" y="1382"/>
                  </a:lnTo>
                  <a:lnTo>
                    <a:pt x="960" y="1326"/>
                  </a:lnTo>
                  <a:lnTo>
                    <a:pt x="974" y="1270"/>
                  </a:lnTo>
                  <a:lnTo>
                    <a:pt x="986" y="1214"/>
                  </a:lnTo>
                  <a:lnTo>
                    <a:pt x="997" y="1158"/>
                  </a:lnTo>
                  <a:lnTo>
                    <a:pt x="1009" y="1103"/>
                  </a:lnTo>
                  <a:lnTo>
                    <a:pt x="1019" y="1047"/>
                  </a:lnTo>
                  <a:lnTo>
                    <a:pt x="1028" y="991"/>
                  </a:lnTo>
                  <a:lnTo>
                    <a:pt x="1037" y="936"/>
                  </a:lnTo>
                  <a:lnTo>
                    <a:pt x="1028" y="939"/>
                  </a:lnTo>
                  <a:lnTo>
                    <a:pt x="1019" y="942"/>
                  </a:lnTo>
                  <a:lnTo>
                    <a:pt x="1009" y="943"/>
                  </a:lnTo>
                  <a:lnTo>
                    <a:pt x="997" y="944"/>
                  </a:lnTo>
                  <a:lnTo>
                    <a:pt x="985" y="943"/>
                  </a:lnTo>
                  <a:lnTo>
                    <a:pt x="972" y="942"/>
                  </a:lnTo>
                  <a:lnTo>
                    <a:pt x="958" y="940"/>
                  </a:lnTo>
                  <a:lnTo>
                    <a:pt x="944" y="937"/>
                  </a:lnTo>
                  <a:lnTo>
                    <a:pt x="927" y="933"/>
                  </a:lnTo>
                  <a:lnTo>
                    <a:pt x="912" y="929"/>
                  </a:lnTo>
                  <a:lnTo>
                    <a:pt x="894" y="922"/>
                  </a:lnTo>
                  <a:lnTo>
                    <a:pt x="877" y="916"/>
                  </a:lnTo>
                  <a:lnTo>
                    <a:pt x="858" y="909"/>
                  </a:lnTo>
                  <a:lnTo>
                    <a:pt x="839" y="901"/>
                  </a:lnTo>
                  <a:lnTo>
                    <a:pt x="819" y="891"/>
                  </a:lnTo>
                  <a:lnTo>
                    <a:pt x="799" y="882"/>
                  </a:lnTo>
                  <a:lnTo>
                    <a:pt x="755" y="861"/>
                  </a:lnTo>
                  <a:lnTo>
                    <a:pt x="710" y="837"/>
                  </a:lnTo>
                  <a:lnTo>
                    <a:pt x="663" y="810"/>
                  </a:lnTo>
                  <a:lnTo>
                    <a:pt x="613" y="780"/>
                  </a:lnTo>
                  <a:lnTo>
                    <a:pt x="563" y="748"/>
                  </a:lnTo>
                  <a:lnTo>
                    <a:pt x="510" y="713"/>
                  </a:lnTo>
                  <a:lnTo>
                    <a:pt x="456" y="677"/>
                  </a:lnTo>
                  <a:lnTo>
                    <a:pt x="401" y="638"/>
                  </a:lnTo>
                  <a:lnTo>
                    <a:pt x="354" y="590"/>
                  </a:lnTo>
                  <a:lnTo>
                    <a:pt x="308" y="543"/>
                  </a:lnTo>
                  <a:lnTo>
                    <a:pt x="264" y="496"/>
                  </a:lnTo>
                  <a:lnTo>
                    <a:pt x="222" y="449"/>
                  </a:lnTo>
                  <a:lnTo>
                    <a:pt x="183" y="404"/>
                  </a:lnTo>
                  <a:lnTo>
                    <a:pt x="146" y="361"/>
                  </a:lnTo>
                  <a:lnTo>
                    <a:pt x="129" y="339"/>
                  </a:lnTo>
                  <a:lnTo>
                    <a:pt x="113" y="317"/>
                  </a:lnTo>
                  <a:lnTo>
                    <a:pt x="97" y="297"/>
                  </a:lnTo>
                  <a:lnTo>
                    <a:pt x="83" y="277"/>
                  </a:lnTo>
                  <a:lnTo>
                    <a:pt x="69" y="257"/>
                  </a:lnTo>
                  <a:lnTo>
                    <a:pt x="57" y="238"/>
                  </a:lnTo>
                  <a:lnTo>
                    <a:pt x="46" y="219"/>
                  </a:lnTo>
                  <a:lnTo>
                    <a:pt x="35" y="201"/>
                  </a:lnTo>
                  <a:lnTo>
                    <a:pt x="27" y="184"/>
                  </a:lnTo>
                  <a:lnTo>
                    <a:pt x="19" y="167"/>
                  </a:lnTo>
                  <a:lnTo>
                    <a:pt x="13" y="151"/>
                  </a:lnTo>
                  <a:lnTo>
                    <a:pt x="8" y="136"/>
                  </a:lnTo>
                  <a:lnTo>
                    <a:pt x="4" y="121"/>
                  </a:lnTo>
                  <a:lnTo>
                    <a:pt x="1" y="107"/>
                  </a:lnTo>
                  <a:lnTo>
                    <a:pt x="0" y="95"/>
                  </a:lnTo>
                  <a:lnTo>
                    <a:pt x="1" y="82"/>
                  </a:lnTo>
                  <a:lnTo>
                    <a:pt x="4" y="71"/>
                  </a:lnTo>
                  <a:lnTo>
                    <a:pt x="8" y="61"/>
                  </a:lnTo>
                  <a:lnTo>
                    <a:pt x="13" y="51"/>
                  </a:lnTo>
                  <a:lnTo>
                    <a:pt x="20" y="43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8" y="24"/>
                  </a:lnTo>
                  <a:lnTo>
                    <a:pt x="47" y="20"/>
                  </a:lnTo>
                  <a:lnTo>
                    <a:pt x="57" y="18"/>
                  </a:lnTo>
                  <a:lnTo>
                    <a:pt x="68" y="17"/>
                  </a:lnTo>
                  <a:lnTo>
                    <a:pt x="81" y="16"/>
                  </a:lnTo>
                  <a:lnTo>
                    <a:pt x="95" y="17"/>
                  </a:lnTo>
                  <a:lnTo>
                    <a:pt x="110" y="19"/>
                  </a:lnTo>
                  <a:lnTo>
                    <a:pt x="126" y="22"/>
                  </a:lnTo>
                  <a:lnTo>
                    <a:pt x="143" y="28"/>
                  </a:lnTo>
                  <a:lnTo>
                    <a:pt x="161" y="33"/>
                  </a:lnTo>
                  <a:lnTo>
                    <a:pt x="180" y="39"/>
                  </a:lnTo>
                  <a:lnTo>
                    <a:pt x="200" y="46"/>
                  </a:lnTo>
                  <a:lnTo>
                    <a:pt x="221" y="54"/>
                  </a:lnTo>
                  <a:lnTo>
                    <a:pt x="242" y="64"/>
                  </a:lnTo>
                  <a:lnTo>
                    <a:pt x="264" y="75"/>
                  </a:lnTo>
                  <a:lnTo>
                    <a:pt x="287" y="86"/>
                  </a:lnTo>
                  <a:lnTo>
                    <a:pt x="310" y="99"/>
                  </a:lnTo>
                  <a:lnTo>
                    <a:pt x="335" y="112"/>
                  </a:lnTo>
                  <a:lnTo>
                    <a:pt x="360" y="127"/>
                  </a:lnTo>
                  <a:lnTo>
                    <a:pt x="385" y="141"/>
                  </a:lnTo>
                  <a:lnTo>
                    <a:pt x="410" y="157"/>
                  </a:lnTo>
                  <a:lnTo>
                    <a:pt x="437" y="174"/>
                  </a:lnTo>
                  <a:lnTo>
                    <a:pt x="490" y="211"/>
                  </a:lnTo>
                  <a:lnTo>
                    <a:pt x="544" y="251"/>
                  </a:lnTo>
                  <a:lnTo>
                    <a:pt x="600" y="295"/>
                  </a:lnTo>
                  <a:lnTo>
                    <a:pt x="656" y="340"/>
                  </a:lnTo>
                  <a:lnTo>
                    <a:pt x="695" y="373"/>
                  </a:lnTo>
                  <a:lnTo>
                    <a:pt x="733" y="406"/>
                  </a:lnTo>
                  <a:lnTo>
                    <a:pt x="770" y="440"/>
                  </a:lnTo>
                  <a:lnTo>
                    <a:pt x="805" y="474"/>
                  </a:lnTo>
                  <a:lnTo>
                    <a:pt x="839" y="508"/>
                  </a:lnTo>
                  <a:lnTo>
                    <a:pt x="872" y="543"/>
                  </a:lnTo>
                  <a:lnTo>
                    <a:pt x="902" y="577"/>
                  </a:lnTo>
                  <a:lnTo>
                    <a:pt x="931" y="611"/>
                  </a:lnTo>
                  <a:lnTo>
                    <a:pt x="957" y="645"/>
                  </a:lnTo>
                  <a:lnTo>
                    <a:pt x="982" y="678"/>
                  </a:lnTo>
                  <a:lnTo>
                    <a:pt x="1005" y="710"/>
                  </a:lnTo>
                  <a:lnTo>
                    <a:pt x="1025" y="741"/>
                  </a:lnTo>
                  <a:lnTo>
                    <a:pt x="1043" y="771"/>
                  </a:lnTo>
                  <a:lnTo>
                    <a:pt x="1057" y="799"/>
                  </a:lnTo>
                  <a:lnTo>
                    <a:pt x="1070" y="825"/>
                  </a:lnTo>
                  <a:lnTo>
                    <a:pt x="1079" y="850"/>
                  </a:lnTo>
                  <a:lnTo>
                    <a:pt x="1087" y="803"/>
                  </a:lnTo>
                  <a:lnTo>
                    <a:pt x="1094" y="755"/>
                  </a:lnTo>
                  <a:lnTo>
                    <a:pt x="1103" y="707"/>
                  </a:lnTo>
                  <a:lnTo>
                    <a:pt x="1110" y="659"/>
                  </a:lnTo>
                  <a:lnTo>
                    <a:pt x="1117" y="611"/>
                  </a:lnTo>
                  <a:lnTo>
                    <a:pt x="1124" y="564"/>
                  </a:lnTo>
                  <a:lnTo>
                    <a:pt x="1131" y="515"/>
                  </a:lnTo>
                  <a:lnTo>
                    <a:pt x="1138" y="468"/>
                  </a:lnTo>
                  <a:lnTo>
                    <a:pt x="1143" y="420"/>
                  </a:lnTo>
                  <a:lnTo>
                    <a:pt x="1148" y="372"/>
                  </a:lnTo>
                  <a:lnTo>
                    <a:pt x="1153" y="324"/>
                  </a:lnTo>
                  <a:lnTo>
                    <a:pt x="1157" y="277"/>
                  </a:lnTo>
                  <a:lnTo>
                    <a:pt x="1160" y="229"/>
                  </a:lnTo>
                  <a:lnTo>
                    <a:pt x="1162" y="181"/>
                  </a:lnTo>
                  <a:lnTo>
                    <a:pt x="1163" y="133"/>
                  </a:lnTo>
                  <a:lnTo>
                    <a:pt x="1164" y="8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3" name="Freeform 17"/>
            <p:cNvSpPr>
              <a:spLocks noChangeArrowheads="1"/>
            </p:cNvSpPr>
            <p:nvPr/>
          </p:nvSpPr>
          <p:spPr bwMode="auto">
            <a:xfrm>
              <a:off x="7188200" y="5883261"/>
              <a:ext cx="452438" cy="496899"/>
            </a:xfrm>
            <a:custGeom>
              <a:avLst/>
              <a:gdLst>
                <a:gd name="T0" fmla="*/ 616 w 1012"/>
                <a:gd name="T1" fmla="*/ 9 h 894"/>
                <a:gd name="T2" fmla="*/ 669 w 1012"/>
                <a:gd name="T3" fmla="*/ 30 h 894"/>
                <a:gd name="T4" fmla="*/ 718 w 1012"/>
                <a:gd name="T5" fmla="*/ 63 h 894"/>
                <a:gd name="T6" fmla="*/ 763 w 1012"/>
                <a:gd name="T7" fmla="*/ 104 h 894"/>
                <a:gd name="T8" fmla="*/ 803 w 1012"/>
                <a:gd name="T9" fmla="*/ 154 h 894"/>
                <a:gd name="T10" fmla="*/ 840 w 1012"/>
                <a:gd name="T11" fmla="*/ 212 h 894"/>
                <a:gd name="T12" fmla="*/ 887 w 1012"/>
                <a:gd name="T13" fmla="*/ 308 h 894"/>
                <a:gd name="T14" fmla="*/ 927 w 1012"/>
                <a:gd name="T15" fmla="*/ 421 h 894"/>
                <a:gd name="T16" fmla="*/ 961 w 1012"/>
                <a:gd name="T17" fmla="*/ 549 h 894"/>
                <a:gd name="T18" fmla="*/ 988 w 1012"/>
                <a:gd name="T19" fmla="*/ 689 h 894"/>
                <a:gd name="T20" fmla="*/ 1007 w 1012"/>
                <a:gd name="T21" fmla="*/ 841 h 894"/>
                <a:gd name="T22" fmla="*/ 800 w 1012"/>
                <a:gd name="T23" fmla="*/ 894 h 894"/>
                <a:gd name="T24" fmla="*/ 0 w 1012"/>
                <a:gd name="T25" fmla="*/ 894 h 894"/>
                <a:gd name="T26" fmla="*/ 17 w 1012"/>
                <a:gd name="T27" fmla="*/ 818 h 894"/>
                <a:gd name="T28" fmla="*/ 45 w 1012"/>
                <a:gd name="T29" fmla="*/ 705 h 894"/>
                <a:gd name="T30" fmla="*/ 83 w 1012"/>
                <a:gd name="T31" fmla="*/ 581 h 894"/>
                <a:gd name="T32" fmla="*/ 125 w 1012"/>
                <a:gd name="T33" fmla="*/ 466 h 894"/>
                <a:gd name="T34" fmla="*/ 171 w 1012"/>
                <a:gd name="T35" fmla="*/ 362 h 894"/>
                <a:gd name="T36" fmla="*/ 222 w 1012"/>
                <a:gd name="T37" fmla="*/ 270 h 894"/>
                <a:gd name="T38" fmla="*/ 274 w 1012"/>
                <a:gd name="T39" fmla="*/ 191 h 894"/>
                <a:gd name="T40" fmla="*/ 331 w 1012"/>
                <a:gd name="T41" fmla="*/ 124 h 894"/>
                <a:gd name="T42" fmla="*/ 390 w 1012"/>
                <a:gd name="T43" fmla="*/ 71 h 894"/>
                <a:gd name="T44" fmla="*/ 449 w 1012"/>
                <a:gd name="T45" fmla="*/ 32 h 894"/>
                <a:gd name="T46" fmla="*/ 511 w 1012"/>
                <a:gd name="T47" fmla="*/ 9 h 894"/>
                <a:gd name="T48" fmla="*/ 574 w 1012"/>
                <a:gd name="T49" fmla="*/ 0 h 894"/>
                <a:gd name="T50" fmla="*/ 620 w 1012"/>
                <a:gd name="T51" fmla="*/ 203 h 894"/>
                <a:gd name="T52" fmla="*/ 581 w 1012"/>
                <a:gd name="T53" fmla="*/ 177 h 894"/>
                <a:gd name="T54" fmla="*/ 541 w 1012"/>
                <a:gd name="T55" fmla="*/ 177 h 894"/>
                <a:gd name="T56" fmla="*/ 502 w 1012"/>
                <a:gd name="T57" fmla="*/ 194 h 894"/>
                <a:gd name="T58" fmla="*/ 463 w 1012"/>
                <a:gd name="T59" fmla="*/ 223 h 894"/>
                <a:gd name="T60" fmla="*/ 424 w 1012"/>
                <a:gd name="T61" fmla="*/ 264 h 894"/>
                <a:gd name="T62" fmla="*/ 386 w 1012"/>
                <a:gd name="T63" fmla="*/ 316 h 894"/>
                <a:gd name="T64" fmla="*/ 349 w 1012"/>
                <a:gd name="T65" fmla="*/ 379 h 894"/>
                <a:gd name="T66" fmla="*/ 312 w 1012"/>
                <a:gd name="T67" fmla="*/ 452 h 894"/>
                <a:gd name="T68" fmla="*/ 278 w 1012"/>
                <a:gd name="T69" fmla="*/ 533 h 894"/>
                <a:gd name="T70" fmla="*/ 247 w 1012"/>
                <a:gd name="T71" fmla="*/ 625 h 894"/>
                <a:gd name="T72" fmla="*/ 216 w 1012"/>
                <a:gd name="T73" fmla="*/ 725 h 894"/>
                <a:gd name="T74" fmla="*/ 189 w 1012"/>
                <a:gd name="T75" fmla="*/ 832 h 894"/>
                <a:gd name="T76" fmla="*/ 179 w 1012"/>
                <a:gd name="T77" fmla="*/ 879 h 894"/>
                <a:gd name="T78" fmla="*/ 692 w 1012"/>
                <a:gd name="T79" fmla="*/ 296 h 894"/>
                <a:gd name="T80" fmla="*/ 648 w 1012"/>
                <a:gd name="T81" fmla="*/ 232 h 894"/>
                <a:gd name="T82" fmla="*/ 620 w 1012"/>
                <a:gd name="T83" fmla="*/ 203 h 894"/>
                <a:gd name="T84" fmla="*/ 837 w 1012"/>
                <a:gd name="T85" fmla="*/ 848 h 894"/>
                <a:gd name="T86" fmla="*/ 820 w 1012"/>
                <a:gd name="T87" fmla="*/ 713 h 894"/>
                <a:gd name="T88" fmla="*/ 797 w 1012"/>
                <a:gd name="T89" fmla="*/ 590 h 894"/>
                <a:gd name="T90" fmla="*/ 768 w 1012"/>
                <a:gd name="T91" fmla="*/ 478 h 894"/>
                <a:gd name="T92" fmla="*/ 732 w 1012"/>
                <a:gd name="T93" fmla="*/ 380 h 894"/>
                <a:gd name="T94" fmla="*/ 692 w 1012"/>
                <a:gd name="T95" fmla="*/ 296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12" h="894">
                  <a:moveTo>
                    <a:pt x="596" y="3"/>
                  </a:moveTo>
                  <a:lnTo>
                    <a:pt x="599" y="4"/>
                  </a:lnTo>
                  <a:lnTo>
                    <a:pt x="616" y="9"/>
                  </a:lnTo>
                  <a:lnTo>
                    <a:pt x="635" y="15"/>
                  </a:lnTo>
                  <a:lnTo>
                    <a:pt x="652" y="22"/>
                  </a:lnTo>
                  <a:lnTo>
                    <a:pt x="669" y="30"/>
                  </a:lnTo>
                  <a:lnTo>
                    <a:pt x="686" y="40"/>
                  </a:lnTo>
                  <a:lnTo>
                    <a:pt x="703" y="51"/>
                  </a:lnTo>
                  <a:lnTo>
                    <a:pt x="718" y="63"/>
                  </a:lnTo>
                  <a:lnTo>
                    <a:pt x="735" y="77"/>
                  </a:lnTo>
                  <a:lnTo>
                    <a:pt x="749" y="90"/>
                  </a:lnTo>
                  <a:lnTo>
                    <a:pt x="763" y="104"/>
                  </a:lnTo>
                  <a:lnTo>
                    <a:pt x="777" y="120"/>
                  </a:lnTo>
                  <a:lnTo>
                    <a:pt x="790" y="136"/>
                  </a:lnTo>
                  <a:lnTo>
                    <a:pt x="803" y="154"/>
                  </a:lnTo>
                  <a:lnTo>
                    <a:pt x="816" y="172"/>
                  </a:lnTo>
                  <a:lnTo>
                    <a:pt x="829" y="192"/>
                  </a:lnTo>
                  <a:lnTo>
                    <a:pt x="840" y="212"/>
                  </a:lnTo>
                  <a:lnTo>
                    <a:pt x="856" y="243"/>
                  </a:lnTo>
                  <a:lnTo>
                    <a:pt x="872" y="274"/>
                  </a:lnTo>
                  <a:lnTo>
                    <a:pt x="887" y="308"/>
                  </a:lnTo>
                  <a:lnTo>
                    <a:pt x="901" y="344"/>
                  </a:lnTo>
                  <a:lnTo>
                    <a:pt x="914" y="382"/>
                  </a:lnTo>
                  <a:lnTo>
                    <a:pt x="927" y="421"/>
                  </a:lnTo>
                  <a:lnTo>
                    <a:pt x="940" y="462"/>
                  </a:lnTo>
                  <a:lnTo>
                    <a:pt x="951" y="504"/>
                  </a:lnTo>
                  <a:lnTo>
                    <a:pt x="961" y="549"/>
                  </a:lnTo>
                  <a:lnTo>
                    <a:pt x="971" y="594"/>
                  </a:lnTo>
                  <a:lnTo>
                    <a:pt x="980" y="640"/>
                  </a:lnTo>
                  <a:lnTo>
                    <a:pt x="988" y="689"/>
                  </a:lnTo>
                  <a:lnTo>
                    <a:pt x="995" y="738"/>
                  </a:lnTo>
                  <a:lnTo>
                    <a:pt x="1002" y="789"/>
                  </a:lnTo>
                  <a:lnTo>
                    <a:pt x="1007" y="841"/>
                  </a:lnTo>
                  <a:lnTo>
                    <a:pt x="1012" y="894"/>
                  </a:lnTo>
                  <a:lnTo>
                    <a:pt x="842" y="894"/>
                  </a:lnTo>
                  <a:lnTo>
                    <a:pt x="800" y="894"/>
                  </a:lnTo>
                  <a:lnTo>
                    <a:pt x="360" y="894"/>
                  </a:lnTo>
                  <a:lnTo>
                    <a:pt x="175" y="894"/>
                  </a:lnTo>
                  <a:lnTo>
                    <a:pt x="0" y="894"/>
                  </a:lnTo>
                  <a:lnTo>
                    <a:pt x="6" y="868"/>
                  </a:lnTo>
                  <a:lnTo>
                    <a:pt x="11" y="843"/>
                  </a:lnTo>
                  <a:lnTo>
                    <a:pt x="17" y="818"/>
                  </a:lnTo>
                  <a:lnTo>
                    <a:pt x="22" y="793"/>
                  </a:lnTo>
                  <a:lnTo>
                    <a:pt x="33" y="749"/>
                  </a:lnTo>
                  <a:lnTo>
                    <a:pt x="45" y="705"/>
                  </a:lnTo>
                  <a:lnTo>
                    <a:pt x="57" y="662"/>
                  </a:lnTo>
                  <a:lnTo>
                    <a:pt x="69" y="621"/>
                  </a:lnTo>
                  <a:lnTo>
                    <a:pt x="83" y="581"/>
                  </a:lnTo>
                  <a:lnTo>
                    <a:pt x="96" y="540"/>
                  </a:lnTo>
                  <a:lnTo>
                    <a:pt x="110" y="503"/>
                  </a:lnTo>
                  <a:lnTo>
                    <a:pt x="125" y="466"/>
                  </a:lnTo>
                  <a:lnTo>
                    <a:pt x="139" y="430"/>
                  </a:lnTo>
                  <a:lnTo>
                    <a:pt x="155" y="396"/>
                  </a:lnTo>
                  <a:lnTo>
                    <a:pt x="171" y="362"/>
                  </a:lnTo>
                  <a:lnTo>
                    <a:pt x="188" y="330"/>
                  </a:lnTo>
                  <a:lnTo>
                    <a:pt x="204" y="300"/>
                  </a:lnTo>
                  <a:lnTo>
                    <a:pt x="222" y="270"/>
                  </a:lnTo>
                  <a:lnTo>
                    <a:pt x="239" y="243"/>
                  </a:lnTo>
                  <a:lnTo>
                    <a:pt x="257" y="216"/>
                  </a:lnTo>
                  <a:lnTo>
                    <a:pt x="274" y="191"/>
                  </a:lnTo>
                  <a:lnTo>
                    <a:pt x="293" y="167"/>
                  </a:lnTo>
                  <a:lnTo>
                    <a:pt x="311" y="145"/>
                  </a:lnTo>
                  <a:lnTo>
                    <a:pt x="331" y="124"/>
                  </a:lnTo>
                  <a:lnTo>
                    <a:pt x="351" y="105"/>
                  </a:lnTo>
                  <a:lnTo>
                    <a:pt x="369" y="87"/>
                  </a:lnTo>
                  <a:lnTo>
                    <a:pt x="390" y="71"/>
                  </a:lnTo>
                  <a:lnTo>
                    <a:pt x="409" y="57"/>
                  </a:lnTo>
                  <a:lnTo>
                    <a:pt x="429" y="44"/>
                  </a:lnTo>
                  <a:lnTo>
                    <a:pt x="449" y="32"/>
                  </a:lnTo>
                  <a:lnTo>
                    <a:pt x="470" y="23"/>
                  </a:lnTo>
                  <a:lnTo>
                    <a:pt x="491" y="15"/>
                  </a:lnTo>
                  <a:lnTo>
                    <a:pt x="511" y="9"/>
                  </a:lnTo>
                  <a:lnTo>
                    <a:pt x="532" y="4"/>
                  </a:lnTo>
                  <a:lnTo>
                    <a:pt x="552" y="1"/>
                  </a:lnTo>
                  <a:lnTo>
                    <a:pt x="574" y="0"/>
                  </a:lnTo>
                  <a:lnTo>
                    <a:pt x="585" y="1"/>
                  </a:lnTo>
                  <a:lnTo>
                    <a:pt x="596" y="3"/>
                  </a:lnTo>
                  <a:close/>
                  <a:moveTo>
                    <a:pt x="620" y="203"/>
                  </a:moveTo>
                  <a:lnTo>
                    <a:pt x="607" y="193"/>
                  </a:lnTo>
                  <a:lnTo>
                    <a:pt x="594" y="184"/>
                  </a:lnTo>
                  <a:lnTo>
                    <a:pt x="581" y="177"/>
                  </a:lnTo>
                  <a:lnTo>
                    <a:pt x="568" y="172"/>
                  </a:lnTo>
                  <a:lnTo>
                    <a:pt x="555" y="173"/>
                  </a:lnTo>
                  <a:lnTo>
                    <a:pt x="541" y="177"/>
                  </a:lnTo>
                  <a:lnTo>
                    <a:pt x="529" y="181"/>
                  </a:lnTo>
                  <a:lnTo>
                    <a:pt x="515" y="187"/>
                  </a:lnTo>
                  <a:lnTo>
                    <a:pt x="502" y="194"/>
                  </a:lnTo>
                  <a:lnTo>
                    <a:pt x="489" y="202"/>
                  </a:lnTo>
                  <a:lnTo>
                    <a:pt x="476" y="212"/>
                  </a:lnTo>
                  <a:lnTo>
                    <a:pt x="463" y="223"/>
                  </a:lnTo>
                  <a:lnTo>
                    <a:pt x="449" y="235"/>
                  </a:lnTo>
                  <a:lnTo>
                    <a:pt x="437" y="249"/>
                  </a:lnTo>
                  <a:lnTo>
                    <a:pt x="424" y="264"/>
                  </a:lnTo>
                  <a:lnTo>
                    <a:pt x="411" y="280"/>
                  </a:lnTo>
                  <a:lnTo>
                    <a:pt x="398" y="297"/>
                  </a:lnTo>
                  <a:lnTo>
                    <a:pt x="386" y="316"/>
                  </a:lnTo>
                  <a:lnTo>
                    <a:pt x="373" y="335"/>
                  </a:lnTo>
                  <a:lnTo>
                    <a:pt x="361" y="357"/>
                  </a:lnTo>
                  <a:lnTo>
                    <a:pt x="349" y="379"/>
                  </a:lnTo>
                  <a:lnTo>
                    <a:pt x="336" y="402"/>
                  </a:lnTo>
                  <a:lnTo>
                    <a:pt x="325" y="426"/>
                  </a:lnTo>
                  <a:lnTo>
                    <a:pt x="312" y="452"/>
                  </a:lnTo>
                  <a:lnTo>
                    <a:pt x="301" y="478"/>
                  </a:lnTo>
                  <a:lnTo>
                    <a:pt x="290" y="505"/>
                  </a:lnTo>
                  <a:lnTo>
                    <a:pt x="278" y="533"/>
                  </a:lnTo>
                  <a:lnTo>
                    <a:pt x="267" y="563"/>
                  </a:lnTo>
                  <a:lnTo>
                    <a:pt x="257" y="594"/>
                  </a:lnTo>
                  <a:lnTo>
                    <a:pt x="247" y="625"/>
                  </a:lnTo>
                  <a:lnTo>
                    <a:pt x="236" y="657"/>
                  </a:lnTo>
                  <a:lnTo>
                    <a:pt x="226" y="690"/>
                  </a:lnTo>
                  <a:lnTo>
                    <a:pt x="216" y="725"/>
                  </a:lnTo>
                  <a:lnTo>
                    <a:pt x="206" y="760"/>
                  </a:lnTo>
                  <a:lnTo>
                    <a:pt x="197" y="795"/>
                  </a:lnTo>
                  <a:lnTo>
                    <a:pt x="189" y="832"/>
                  </a:lnTo>
                  <a:lnTo>
                    <a:pt x="185" y="848"/>
                  </a:lnTo>
                  <a:lnTo>
                    <a:pt x="182" y="863"/>
                  </a:lnTo>
                  <a:lnTo>
                    <a:pt x="179" y="879"/>
                  </a:lnTo>
                  <a:lnTo>
                    <a:pt x="175" y="894"/>
                  </a:lnTo>
                  <a:lnTo>
                    <a:pt x="620" y="203"/>
                  </a:lnTo>
                  <a:close/>
                  <a:moveTo>
                    <a:pt x="692" y="296"/>
                  </a:moveTo>
                  <a:lnTo>
                    <a:pt x="675" y="268"/>
                  </a:lnTo>
                  <a:lnTo>
                    <a:pt x="658" y="244"/>
                  </a:lnTo>
                  <a:lnTo>
                    <a:pt x="648" y="232"/>
                  </a:lnTo>
                  <a:lnTo>
                    <a:pt x="639" y="222"/>
                  </a:lnTo>
                  <a:lnTo>
                    <a:pt x="630" y="213"/>
                  </a:lnTo>
                  <a:lnTo>
                    <a:pt x="620" y="203"/>
                  </a:lnTo>
                  <a:lnTo>
                    <a:pt x="692" y="296"/>
                  </a:lnTo>
                  <a:close/>
                  <a:moveTo>
                    <a:pt x="842" y="894"/>
                  </a:moveTo>
                  <a:lnTo>
                    <a:pt x="837" y="848"/>
                  </a:lnTo>
                  <a:lnTo>
                    <a:pt x="833" y="801"/>
                  </a:lnTo>
                  <a:lnTo>
                    <a:pt x="826" y="757"/>
                  </a:lnTo>
                  <a:lnTo>
                    <a:pt x="820" y="713"/>
                  </a:lnTo>
                  <a:lnTo>
                    <a:pt x="813" y="670"/>
                  </a:lnTo>
                  <a:lnTo>
                    <a:pt x="805" y="629"/>
                  </a:lnTo>
                  <a:lnTo>
                    <a:pt x="797" y="590"/>
                  </a:lnTo>
                  <a:lnTo>
                    <a:pt x="787" y="551"/>
                  </a:lnTo>
                  <a:lnTo>
                    <a:pt x="778" y="514"/>
                  </a:lnTo>
                  <a:lnTo>
                    <a:pt x="768" y="478"/>
                  </a:lnTo>
                  <a:lnTo>
                    <a:pt x="756" y="444"/>
                  </a:lnTo>
                  <a:lnTo>
                    <a:pt x="744" y="411"/>
                  </a:lnTo>
                  <a:lnTo>
                    <a:pt x="732" y="380"/>
                  </a:lnTo>
                  <a:lnTo>
                    <a:pt x="719" y="351"/>
                  </a:lnTo>
                  <a:lnTo>
                    <a:pt x="706" y="323"/>
                  </a:lnTo>
                  <a:lnTo>
                    <a:pt x="692" y="296"/>
                  </a:lnTo>
                  <a:lnTo>
                    <a:pt x="842" y="8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4" name="Freeform 18"/>
            <p:cNvSpPr>
              <a:spLocks noChangeArrowheads="1"/>
            </p:cNvSpPr>
            <p:nvPr/>
          </p:nvSpPr>
          <p:spPr bwMode="auto">
            <a:xfrm>
              <a:off x="7223125" y="5937238"/>
              <a:ext cx="381000" cy="442922"/>
            </a:xfrm>
            <a:custGeom>
              <a:avLst/>
              <a:gdLst>
                <a:gd name="T0" fmla="*/ 503 w 838"/>
                <a:gd name="T1" fmla="*/ 3 h 807"/>
                <a:gd name="T2" fmla="*/ 536 w 838"/>
                <a:gd name="T3" fmla="*/ 15 h 807"/>
                <a:gd name="T4" fmla="*/ 567 w 838"/>
                <a:gd name="T5" fmla="*/ 35 h 807"/>
                <a:gd name="T6" fmla="*/ 597 w 838"/>
                <a:gd name="T7" fmla="*/ 61 h 807"/>
                <a:gd name="T8" fmla="*/ 626 w 838"/>
                <a:gd name="T9" fmla="*/ 93 h 807"/>
                <a:gd name="T10" fmla="*/ 654 w 838"/>
                <a:gd name="T11" fmla="*/ 130 h 807"/>
                <a:gd name="T12" fmla="*/ 681 w 838"/>
                <a:gd name="T13" fmla="*/ 172 h 807"/>
                <a:gd name="T14" fmla="*/ 705 w 838"/>
                <a:gd name="T15" fmla="*/ 220 h 807"/>
                <a:gd name="T16" fmla="*/ 728 w 838"/>
                <a:gd name="T17" fmla="*/ 274 h 807"/>
                <a:gd name="T18" fmla="*/ 750 w 838"/>
                <a:gd name="T19" fmla="*/ 332 h 807"/>
                <a:gd name="T20" fmla="*/ 768 w 838"/>
                <a:gd name="T21" fmla="*/ 395 h 807"/>
                <a:gd name="T22" fmla="*/ 786 w 838"/>
                <a:gd name="T23" fmla="*/ 462 h 807"/>
                <a:gd name="T24" fmla="*/ 801 w 838"/>
                <a:gd name="T25" fmla="*/ 533 h 807"/>
                <a:gd name="T26" fmla="*/ 815 w 838"/>
                <a:gd name="T27" fmla="*/ 607 h 807"/>
                <a:gd name="T28" fmla="*/ 826 w 838"/>
                <a:gd name="T29" fmla="*/ 684 h 807"/>
                <a:gd name="T30" fmla="*/ 835 w 838"/>
                <a:gd name="T31" fmla="*/ 766 h 807"/>
                <a:gd name="T32" fmla="*/ 0 w 838"/>
                <a:gd name="T33" fmla="*/ 807 h 807"/>
                <a:gd name="T34" fmla="*/ 20 w 838"/>
                <a:gd name="T35" fmla="*/ 717 h 807"/>
                <a:gd name="T36" fmla="*/ 41 w 838"/>
                <a:gd name="T37" fmla="*/ 632 h 807"/>
                <a:gd name="T38" fmla="*/ 65 w 838"/>
                <a:gd name="T39" fmla="*/ 551 h 807"/>
                <a:gd name="T40" fmla="*/ 91 w 838"/>
                <a:gd name="T41" fmla="*/ 475 h 807"/>
                <a:gd name="T42" fmla="*/ 117 w 838"/>
                <a:gd name="T43" fmla="*/ 403 h 807"/>
                <a:gd name="T44" fmla="*/ 146 w 838"/>
                <a:gd name="T45" fmla="*/ 337 h 807"/>
                <a:gd name="T46" fmla="*/ 176 w 838"/>
                <a:gd name="T47" fmla="*/ 276 h 807"/>
                <a:gd name="T48" fmla="*/ 208 w 838"/>
                <a:gd name="T49" fmla="*/ 220 h 807"/>
                <a:gd name="T50" fmla="*/ 240 w 838"/>
                <a:gd name="T51" fmla="*/ 170 h 807"/>
                <a:gd name="T52" fmla="*/ 274 w 838"/>
                <a:gd name="T53" fmla="*/ 127 h 807"/>
                <a:gd name="T54" fmla="*/ 308 w 838"/>
                <a:gd name="T55" fmla="*/ 89 h 807"/>
                <a:gd name="T56" fmla="*/ 343 w 838"/>
                <a:gd name="T57" fmla="*/ 57 h 807"/>
                <a:gd name="T58" fmla="*/ 378 w 838"/>
                <a:gd name="T59" fmla="*/ 32 h 807"/>
                <a:gd name="T60" fmla="*/ 414 w 838"/>
                <a:gd name="T61" fmla="*/ 14 h 807"/>
                <a:gd name="T62" fmla="*/ 450 w 838"/>
                <a:gd name="T63" fmla="*/ 3 h 807"/>
                <a:gd name="T64" fmla="*/ 486 w 838"/>
                <a:gd name="T65" fmla="*/ 0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38" h="807">
                  <a:moveTo>
                    <a:pt x="486" y="0"/>
                  </a:moveTo>
                  <a:lnTo>
                    <a:pt x="503" y="3"/>
                  </a:lnTo>
                  <a:lnTo>
                    <a:pt x="519" y="9"/>
                  </a:lnTo>
                  <a:lnTo>
                    <a:pt x="536" y="15"/>
                  </a:lnTo>
                  <a:lnTo>
                    <a:pt x="551" y="25"/>
                  </a:lnTo>
                  <a:lnTo>
                    <a:pt x="567" y="35"/>
                  </a:lnTo>
                  <a:lnTo>
                    <a:pt x="583" y="47"/>
                  </a:lnTo>
                  <a:lnTo>
                    <a:pt x="597" y="61"/>
                  </a:lnTo>
                  <a:lnTo>
                    <a:pt x="613" y="75"/>
                  </a:lnTo>
                  <a:lnTo>
                    <a:pt x="626" y="93"/>
                  </a:lnTo>
                  <a:lnTo>
                    <a:pt x="641" y="110"/>
                  </a:lnTo>
                  <a:lnTo>
                    <a:pt x="654" y="130"/>
                  </a:lnTo>
                  <a:lnTo>
                    <a:pt x="667" y="150"/>
                  </a:lnTo>
                  <a:lnTo>
                    <a:pt x="681" y="172"/>
                  </a:lnTo>
                  <a:lnTo>
                    <a:pt x="693" y="196"/>
                  </a:lnTo>
                  <a:lnTo>
                    <a:pt x="705" y="220"/>
                  </a:lnTo>
                  <a:lnTo>
                    <a:pt x="717" y="247"/>
                  </a:lnTo>
                  <a:lnTo>
                    <a:pt x="728" y="274"/>
                  </a:lnTo>
                  <a:lnTo>
                    <a:pt x="739" y="303"/>
                  </a:lnTo>
                  <a:lnTo>
                    <a:pt x="750" y="332"/>
                  </a:lnTo>
                  <a:lnTo>
                    <a:pt x="759" y="363"/>
                  </a:lnTo>
                  <a:lnTo>
                    <a:pt x="768" y="395"/>
                  </a:lnTo>
                  <a:lnTo>
                    <a:pt x="778" y="428"/>
                  </a:lnTo>
                  <a:lnTo>
                    <a:pt x="786" y="462"/>
                  </a:lnTo>
                  <a:lnTo>
                    <a:pt x="794" y="497"/>
                  </a:lnTo>
                  <a:lnTo>
                    <a:pt x="801" y="533"/>
                  </a:lnTo>
                  <a:lnTo>
                    <a:pt x="808" y="569"/>
                  </a:lnTo>
                  <a:lnTo>
                    <a:pt x="815" y="607"/>
                  </a:lnTo>
                  <a:lnTo>
                    <a:pt x="821" y="645"/>
                  </a:lnTo>
                  <a:lnTo>
                    <a:pt x="826" y="684"/>
                  </a:lnTo>
                  <a:lnTo>
                    <a:pt x="831" y="725"/>
                  </a:lnTo>
                  <a:lnTo>
                    <a:pt x="835" y="766"/>
                  </a:lnTo>
                  <a:lnTo>
                    <a:pt x="838" y="807"/>
                  </a:lnTo>
                  <a:lnTo>
                    <a:pt x="0" y="807"/>
                  </a:lnTo>
                  <a:lnTo>
                    <a:pt x="9" y="762"/>
                  </a:lnTo>
                  <a:lnTo>
                    <a:pt x="20" y="717"/>
                  </a:lnTo>
                  <a:lnTo>
                    <a:pt x="30" y="674"/>
                  </a:lnTo>
                  <a:lnTo>
                    <a:pt x="41" y="632"/>
                  </a:lnTo>
                  <a:lnTo>
                    <a:pt x="52" y="592"/>
                  </a:lnTo>
                  <a:lnTo>
                    <a:pt x="65" y="551"/>
                  </a:lnTo>
                  <a:lnTo>
                    <a:pt x="77" y="512"/>
                  </a:lnTo>
                  <a:lnTo>
                    <a:pt x="91" y="475"/>
                  </a:lnTo>
                  <a:lnTo>
                    <a:pt x="104" y="438"/>
                  </a:lnTo>
                  <a:lnTo>
                    <a:pt x="117" y="403"/>
                  </a:lnTo>
                  <a:lnTo>
                    <a:pt x="132" y="369"/>
                  </a:lnTo>
                  <a:lnTo>
                    <a:pt x="146" y="337"/>
                  </a:lnTo>
                  <a:lnTo>
                    <a:pt x="162" y="306"/>
                  </a:lnTo>
                  <a:lnTo>
                    <a:pt x="176" y="276"/>
                  </a:lnTo>
                  <a:lnTo>
                    <a:pt x="193" y="247"/>
                  </a:lnTo>
                  <a:lnTo>
                    <a:pt x="208" y="220"/>
                  </a:lnTo>
                  <a:lnTo>
                    <a:pt x="223" y="195"/>
                  </a:lnTo>
                  <a:lnTo>
                    <a:pt x="240" y="170"/>
                  </a:lnTo>
                  <a:lnTo>
                    <a:pt x="256" y="147"/>
                  </a:lnTo>
                  <a:lnTo>
                    <a:pt x="274" y="127"/>
                  </a:lnTo>
                  <a:lnTo>
                    <a:pt x="290" y="107"/>
                  </a:lnTo>
                  <a:lnTo>
                    <a:pt x="308" y="89"/>
                  </a:lnTo>
                  <a:lnTo>
                    <a:pt x="325" y="72"/>
                  </a:lnTo>
                  <a:lnTo>
                    <a:pt x="343" y="57"/>
                  </a:lnTo>
                  <a:lnTo>
                    <a:pt x="360" y="44"/>
                  </a:lnTo>
                  <a:lnTo>
                    <a:pt x="378" y="32"/>
                  </a:lnTo>
                  <a:lnTo>
                    <a:pt x="395" y="23"/>
                  </a:lnTo>
                  <a:lnTo>
                    <a:pt x="414" y="14"/>
                  </a:lnTo>
                  <a:lnTo>
                    <a:pt x="432" y="8"/>
                  </a:lnTo>
                  <a:lnTo>
                    <a:pt x="450" y="3"/>
                  </a:lnTo>
                  <a:lnTo>
                    <a:pt x="468" y="1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3" name="Freeform 19"/>
            <p:cNvSpPr>
              <a:spLocks noChangeArrowheads="1"/>
            </p:cNvSpPr>
            <p:nvPr/>
          </p:nvSpPr>
          <p:spPr bwMode="auto">
            <a:xfrm>
              <a:off x="7151688" y="6265858"/>
              <a:ext cx="250825" cy="114302"/>
            </a:xfrm>
            <a:custGeom>
              <a:avLst/>
              <a:gdLst>
                <a:gd name="T0" fmla="*/ 258 w 555"/>
                <a:gd name="T1" fmla="*/ 2 h 215"/>
                <a:gd name="T2" fmla="*/ 268 w 555"/>
                <a:gd name="T3" fmla="*/ 1 h 215"/>
                <a:gd name="T4" fmla="*/ 278 w 555"/>
                <a:gd name="T5" fmla="*/ 0 h 215"/>
                <a:gd name="T6" fmla="*/ 296 w 555"/>
                <a:gd name="T7" fmla="*/ 0 h 215"/>
                <a:gd name="T8" fmla="*/ 313 w 555"/>
                <a:gd name="T9" fmla="*/ 1 h 215"/>
                <a:gd name="T10" fmla="*/ 331 w 555"/>
                <a:gd name="T11" fmla="*/ 4 h 215"/>
                <a:gd name="T12" fmla="*/ 348 w 555"/>
                <a:gd name="T13" fmla="*/ 9 h 215"/>
                <a:gd name="T14" fmla="*/ 366 w 555"/>
                <a:gd name="T15" fmla="*/ 15 h 215"/>
                <a:gd name="T16" fmla="*/ 383 w 555"/>
                <a:gd name="T17" fmla="*/ 24 h 215"/>
                <a:gd name="T18" fmla="*/ 401 w 555"/>
                <a:gd name="T19" fmla="*/ 34 h 215"/>
                <a:gd name="T20" fmla="*/ 417 w 555"/>
                <a:gd name="T21" fmla="*/ 45 h 215"/>
                <a:gd name="T22" fmla="*/ 434 w 555"/>
                <a:gd name="T23" fmla="*/ 58 h 215"/>
                <a:gd name="T24" fmla="*/ 450 w 555"/>
                <a:gd name="T25" fmla="*/ 74 h 215"/>
                <a:gd name="T26" fmla="*/ 467 w 555"/>
                <a:gd name="T27" fmla="*/ 90 h 215"/>
                <a:gd name="T28" fmla="*/ 482 w 555"/>
                <a:gd name="T29" fmla="*/ 108 h 215"/>
                <a:gd name="T30" fmla="*/ 498 w 555"/>
                <a:gd name="T31" fmla="*/ 127 h 215"/>
                <a:gd name="T32" fmla="*/ 513 w 555"/>
                <a:gd name="T33" fmla="*/ 148 h 215"/>
                <a:gd name="T34" fmla="*/ 529 w 555"/>
                <a:gd name="T35" fmla="*/ 170 h 215"/>
                <a:gd name="T36" fmla="*/ 543 w 555"/>
                <a:gd name="T37" fmla="*/ 192 h 215"/>
                <a:gd name="T38" fmla="*/ 555 w 555"/>
                <a:gd name="T39" fmla="*/ 215 h 215"/>
                <a:gd name="T40" fmla="*/ 351 w 555"/>
                <a:gd name="T41" fmla="*/ 215 h 215"/>
                <a:gd name="T42" fmla="*/ 342 w 555"/>
                <a:gd name="T43" fmla="*/ 205 h 215"/>
                <a:gd name="T44" fmla="*/ 334 w 555"/>
                <a:gd name="T45" fmla="*/ 195 h 215"/>
                <a:gd name="T46" fmla="*/ 326 w 555"/>
                <a:gd name="T47" fmla="*/ 187 h 215"/>
                <a:gd name="T48" fmla="*/ 318 w 555"/>
                <a:gd name="T49" fmla="*/ 181 h 215"/>
                <a:gd name="T50" fmla="*/ 310 w 555"/>
                <a:gd name="T51" fmla="*/ 176 h 215"/>
                <a:gd name="T52" fmla="*/ 303 w 555"/>
                <a:gd name="T53" fmla="*/ 173 h 215"/>
                <a:gd name="T54" fmla="*/ 297 w 555"/>
                <a:gd name="T55" fmla="*/ 171 h 215"/>
                <a:gd name="T56" fmla="*/ 291 w 555"/>
                <a:gd name="T57" fmla="*/ 171 h 215"/>
                <a:gd name="T58" fmla="*/ 291 w 555"/>
                <a:gd name="T59" fmla="*/ 170 h 215"/>
                <a:gd name="T60" fmla="*/ 281 w 555"/>
                <a:gd name="T61" fmla="*/ 172 h 215"/>
                <a:gd name="T62" fmla="*/ 272 w 555"/>
                <a:gd name="T63" fmla="*/ 173 h 215"/>
                <a:gd name="T64" fmla="*/ 266 w 555"/>
                <a:gd name="T65" fmla="*/ 173 h 215"/>
                <a:gd name="T66" fmla="*/ 265 w 555"/>
                <a:gd name="T67" fmla="*/ 173 h 215"/>
                <a:gd name="T68" fmla="*/ 257 w 555"/>
                <a:gd name="T69" fmla="*/ 175 h 215"/>
                <a:gd name="T70" fmla="*/ 248 w 555"/>
                <a:gd name="T71" fmla="*/ 177 h 215"/>
                <a:gd name="T72" fmla="*/ 240 w 555"/>
                <a:gd name="T73" fmla="*/ 181 h 215"/>
                <a:gd name="T74" fmla="*/ 232 w 555"/>
                <a:gd name="T75" fmla="*/ 185 h 215"/>
                <a:gd name="T76" fmla="*/ 224 w 555"/>
                <a:gd name="T77" fmla="*/ 191 h 215"/>
                <a:gd name="T78" fmla="*/ 215 w 555"/>
                <a:gd name="T79" fmla="*/ 199 h 215"/>
                <a:gd name="T80" fmla="*/ 207 w 555"/>
                <a:gd name="T81" fmla="*/ 206 h 215"/>
                <a:gd name="T82" fmla="*/ 199 w 555"/>
                <a:gd name="T83" fmla="*/ 215 h 215"/>
                <a:gd name="T84" fmla="*/ 0 w 555"/>
                <a:gd name="T85" fmla="*/ 215 h 215"/>
                <a:gd name="T86" fmla="*/ 13 w 555"/>
                <a:gd name="T87" fmla="*/ 192 h 215"/>
                <a:gd name="T88" fmla="*/ 25 w 555"/>
                <a:gd name="T89" fmla="*/ 170 h 215"/>
                <a:gd name="T90" fmla="*/ 37 w 555"/>
                <a:gd name="T91" fmla="*/ 149 h 215"/>
                <a:gd name="T92" fmla="*/ 52 w 555"/>
                <a:gd name="T93" fmla="*/ 129 h 215"/>
                <a:gd name="T94" fmla="*/ 65 w 555"/>
                <a:gd name="T95" fmla="*/ 111 h 215"/>
                <a:gd name="T96" fmla="*/ 79 w 555"/>
                <a:gd name="T97" fmla="*/ 94 h 215"/>
                <a:gd name="T98" fmla="*/ 95 w 555"/>
                <a:gd name="T99" fmla="*/ 79 h 215"/>
                <a:gd name="T100" fmla="*/ 110 w 555"/>
                <a:gd name="T101" fmla="*/ 64 h 215"/>
                <a:gd name="T102" fmla="*/ 127 w 555"/>
                <a:gd name="T103" fmla="*/ 51 h 215"/>
                <a:gd name="T104" fmla="*/ 143 w 555"/>
                <a:gd name="T105" fmla="*/ 40 h 215"/>
                <a:gd name="T106" fmla="*/ 160 w 555"/>
                <a:gd name="T107" fmla="*/ 29 h 215"/>
                <a:gd name="T108" fmla="*/ 177 w 555"/>
                <a:gd name="T109" fmla="*/ 21 h 215"/>
                <a:gd name="T110" fmla="*/ 196 w 555"/>
                <a:gd name="T111" fmla="*/ 14 h 215"/>
                <a:gd name="T112" fmla="*/ 214 w 555"/>
                <a:gd name="T113" fmla="*/ 9 h 215"/>
                <a:gd name="T114" fmla="*/ 233 w 555"/>
                <a:gd name="T115" fmla="*/ 5 h 215"/>
                <a:gd name="T116" fmla="*/ 252 w 555"/>
                <a:gd name="T117" fmla="*/ 3 h 215"/>
                <a:gd name="T118" fmla="*/ 258 w 555"/>
                <a:gd name="T119" fmla="*/ 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5" h="215">
                  <a:moveTo>
                    <a:pt x="258" y="2"/>
                  </a:moveTo>
                  <a:lnTo>
                    <a:pt x="268" y="1"/>
                  </a:lnTo>
                  <a:lnTo>
                    <a:pt x="278" y="0"/>
                  </a:lnTo>
                  <a:lnTo>
                    <a:pt x="296" y="0"/>
                  </a:lnTo>
                  <a:lnTo>
                    <a:pt x="313" y="1"/>
                  </a:lnTo>
                  <a:lnTo>
                    <a:pt x="331" y="4"/>
                  </a:lnTo>
                  <a:lnTo>
                    <a:pt x="348" y="9"/>
                  </a:lnTo>
                  <a:lnTo>
                    <a:pt x="366" y="15"/>
                  </a:lnTo>
                  <a:lnTo>
                    <a:pt x="383" y="24"/>
                  </a:lnTo>
                  <a:lnTo>
                    <a:pt x="401" y="34"/>
                  </a:lnTo>
                  <a:lnTo>
                    <a:pt x="417" y="45"/>
                  </a:lnTo>
                  <a:lnTo>
                    <a:pt x="434" y="58"/>
                  </a:lnTo>
                  <a:lnTo>
                    <a:pt x="450" y="74"/>
                  </a:lnTo>
                  <a:lnTo>
                    <a:pt x="467" y="90"/>
                  </a:lnTo>
                  <a:lnTo>
                    <a:pt x="482" y="108"/>
                  </a:lnTo>
                  <a:lnTo>
                    <a:pt x="498" y="127"/>
                  </a:lnTo>
                  <a:lnTo>
                    <a:pt x="513" y="148"/>
                  </a:lnTo>
                  <a:lnTo>
                    <a:pt x="529" y="170"/>
                  </a:lnTo>
                  <a:lnTo>
                    <a:pt x="543" y="192"/>
                  </a:lnTo>
                  <a:lnTo>
                    <a:pt x="555" y="215"/>
                  </a:lnTo>
                  <a:lnTo>
                    <a:pt x="351" y="215"/>
                  </a:lnTo>
                  <a:lnTo>
                    <a:pt x="342" y="205"/>
                  </a:lnTo>
                  <a:lnTo>
                    <a:pt x="334" y="195"/>
                  </a:lnTo>
                  <a:lnTo>
                    <a:pt x="326" y="187"/>
                  </a:lnTo>
                  <a:lnTo>
                    <a:pt x="318" y="181"/>
                  </a:lnTo>
                  <a:lnTo>
                    <a:pt x="310" y="176"/>
                  </a:lnTo>
                  <a:lnTo>
                    <a:pt x="303" y="173"/>
                  </a:lnTo>
                  <a:lnTo>
                    <a:pt x="297" y="171"/>
                  </a:lnTo>
                  <a:lnTo>
                    <a:pt x="291" y="171"/>
                  </a:lnTo>
                  <a:lnTo>
                    <a:pt x="291" y="170"/>
                  </a:lnTo>
                  <a:lnTo>
                    <a:pt x="281" y="172"/>
                  </a:lnTo>
                  <a:lnTo>
                    <a:pt x="272" y="173"/>
                  </a:lnTo>
                  <a:lnTo>
                    <a:pt x="266" y="173"/>
                  </a:lnTo>
                  <a:lnTo>
                    <a:pt x="265" y="173"/>
                  </a:lnTo>
                  <a:lnTo>
                    <a:pt x="257" y="175"/>
                  </a:lnTo>
                  <a:lnTo>
                    <a:pt x="248" y="177"/>
                  </a:lnTo>
                  <a:lnTo>
                    <a:pt x="240" y="181"/>
                  </a:lnTo>
                  <a:lnTo>
                    <a:pt x="232" y="185"/>
                  </a:lnTo>
                  <a:lnTo>
                    <a:pt x="224" y="191"/>
                  </a:lnTo>
                  <a:lnTo>
                    <a:pt x="215" y="199"/>
                  </a:lnTo>
                  <a:lnTo>
                    <a:pt x="207" y="206"/>
                  </a:lnTo>
                  <a:lnTo>
                    <a:pt x="199" y="215"/>
                  </a:lnTo>
                  <a:lnTo>
                    <a:pt x="0" y="215"/>
                  </a:lnTo>
                  <a:lnTo>
                    <a:pt x="13" y="192"/>
                  </a:lnTo>
                  <a:lnTo>
                    <a:pt x="25" y="170"/>
                  </a:lnTo>
                  <a:lnTo>
                    <a:pt x="37" y="149"/>
                  </a:lnTo>
                  <a:lnTo>
                    <a:pt x="52" y="129"/>
                  </a:lnTo>
                  <a:lnTo>
                    <a:pt x="65" y="111"/>
                  </a:lnTo>
                  <a:lnTo>
                    <a:pt x="79" y="94"/>
                  </a:lnTo>
                  <a:lnTo>
                    <a:pt x="95" y="79"/>
                  </a:lnTo>
                  <a:lnTo>
                    <a:pt x="110" y="64"/>
                  </a:lnTo>
                  <a:lnTo>
                    <a:pt x="127" y="51"/>
                  </a:lnTo>
                  <a:lnTo>
                    <a:pt x="143" y="40"/>
                  </a:lnTo>
                  <a:lnTo>
                    <a:pt x="160" y="29"/>
                  </a:lnTo>
                  <a:lnTo>
                    <a:pt x="177" y="21"/>
                  </a:lnTo>
                  <a:lnTo>
                    <a:pt x="196" y="14"/>
                  </a:lnTo>
                  <a:lnTo>
                    <a:pt x="214" y="9"/>
                  </a:lnTo>
                  <a:lnTo>
                    <a:pt x="233" y="5"/>
                  </a:lnTo>
                  <a:lnTo>
                    <a:pt x="252" y="3"/>
                  </a:lnTo>
                  <a:lnTo>
                    <a:pt x="258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4" name="Freeform 20"/>
            <p:cNvSpPr>
              <a:spLocks noChangeArrowheads="1"/>
            </p:cNvSpPr>
            <p:nvPr/>
          </p:nvSpPr>
          <p:spPr bwMode="auto">
            <a:xfrm>
              <a:off x="7194550" y="6310308"/>
              <a:ext cx="157163" cy="69851"/>
            </a:xfrm>
            <a:custGeom>
              <a:avLst/>
              <a:gdLst>
                <a:gd name="T0" fmla="*/ 173 w 358"/>
                <a:gd name="T1" fmla="*/ 2 h 130"/>
                <a:gd name="T2" fmla="*/ 184 w 358"/>
                <a:gd name="T3" fmla="*/ 0 h 130"/>
                <a:gd name="T4" fmla="*/ 196 w 358"/>
                <a:gd name="T5" fmla="*/ 0 h 130"/>
                <a:gd name="T6" fmla="*/ 207 w 358"/>
                <a:gd name="T7" fmla="*/ 1 h 130"/>
                <a:gd name="T8" fmla="*/ 218 w 358"/>
                <a:gd name="T9" fmla="*/ 3 h 130"/>
                <a:gd name="T10" fmla="*/ 230 w 358"/>
                <a:gd name="T11" fmla="*/ 6 h 130"/>
                <a:gd name="T12" fmla="*/ 242 w 358"/>
                <a:gd name="T13" fmla="*/ 11 h 130"/>
                <a:gd name="T14" fmla="*/ 253 w 358"/>
                <a:gd name="T15" fmla="*/ 18 h 130"/>
                <a:gd name="T16" fmla="*/ 265 w 358"/>
                <a:gd name="T17" fmla="*/ 26 h 130"/>
                <a:gd name="T18" fmla="*/ 277 w 358"/>
                <a:gd name="T19" fmla="*/ 34 h 130"/>
                <a:gd name="T20" fmla="*/ 288 w 358"/>
                <a:gd name="T21" fmla="*/ 44 h 130"/>
                <a:gd name="T22" fmla="*/ 301 w 358"/>
                <a:gd name="T23" fmla="*/ 56 h 130"/>
                <a:gd name="T24" fmla="*/ 312 w 358"/>
                <a:gd name="T25" fmla="*/ 68 h 130"/>
                <a:gd name="T26" fmla="*/ 323 w 358"/>
                <a:gd name="T27" fmla="*/ 83 h 130"/>
                <a:gd name="T28" fmla="*/ 336 w 358"/>
                <a:gd name="T29" fmla="*/ 97 h 130"/>
                <a:gd name="T30" fmla="*/ 347 w 358"/>
                <a:gd name="T31" fmla="*/ 114 h 130"/>
                <a:gd name="T32" fmla="*/ 358 w 358"/>
                <a:gd name="T33" fmla="*/ 130 h 130"/>
                <a:gd name="T34" fmla="*/ 0 w 358"/>
                <a:gd name="T35" fmla="*/ 130 h 130"/>
                <a:gd name="T36" fmla="*/ 9 w 358"/>
                <a:gd name="T37" fmla="*/ 116 h 130"/>
                <a:gd name="T38" fmla="*/ 19 w 358"/>
                <a:gd name="T39" fmla="*/ 101 h 130"/>
                <a:gd name="T40" fmla="*/ 28 w 358"/>
                <a:gd name="T41" fmla="*/ 88 h 130"/>
                <a:gd name="T42" fmla="*/ 38 w 358"/>
                <a:gd name="T43" fmla="*/ 76 h 130"/>
                <a:gd name="T44" fmla="*/ 47 w 358"/>
                <a:gd name="T45" fmla="*/ 65 h 130"/>
                <a:gd name="T46" fmla="*/ 58 w 358"/>
                <a:gd name="T47" fmla="*/ 54 h 130"/>
                <a:gd name="T48" fmla="*/ 68 w 358"/>
                <a:gd name="T49" fmla="*/ 44 h 130"/>
                <a:gd name="T50" fmla="*/ 79 w 358"/>
                <a:gd name="T51" fmla="*/ 36 h 130"/>
                <a:gd name="T52" fmla="*/ 90 w 358"/>
                <a:gd name="T53" fmla="*/ 28 h 130"/>
                <a:gd name="T54" fmla="*/ 101 w 358"/>
                <a:gd name="T55" fmla="*/ 22 h 130"/>
                <a:gd name="T56" fmla="*/ 112 w 358"/>
                <a:gd name="T57" fmla="*/ 16 h 130"/>
                <a:gd name="T58" fmla="*/ 125 w 358"/>
                <a:gd name="T59" fmla="*/ 11 h 130"/>
                <a:gd name="T60" fmla="*/ 136 w 358"/>
                <a:gd name="T61" fmla="*/ 7 h 130"/>
                <a:gd name="T62" fmla="*/ 148 w 358"/>
                <a:gd name="T63" fmla="*/ 4 h 130"/>
                <a:gd name="T64" fmla="*/ 161 w 358"/>
                <a:gd name="T65" fmla="*/ 3 h 130"/>
                <a:gd name="T66" fmla="*/ 173 w 358"/>
                <a:gd name="T67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8" h="130">
                  <a:moveTo>
                    <a:pt x="173" y="2"/>
                  </a:moveTo>
                  <a:lnTo>
                    <a:pt x="184" y="0"/>
                  </a:lnTo>
                  <a:lnTo>
                    <a:pt x="196" y="0"/>
                  </a:lnTo>
                  <a:lnTo>
                    <a:pt x="207" y="1"/>
                  </a:lnTo>
                  <a:lnTo>
                    <a:pt x="218" y="3"/>
                  </a:lnTo>
                  <a:lnTo>
                    <a:pt x="230" y="6"/>
                  </a:lnTo>
                  <a:lnTo>
                    <a:pt x="242" y="11"/>
                  </a:lnTo>
                  <a:lnTo>
                    <a:pt x="253" y="18"/>
                  </a:lnTo>
                  <a:lnTo>
                    <a:pt x="265" y="26"/>
                  </a:lnTo>
                  <a:lnTo>
                    <a:pt x="277" y="34"/>
                  </a:lnTo>
                  <a:lnTo>
                    <a:pt x="288" y="44"/>
                  </a:lnTo>
                  <a:lnTo>
                    <a:pt x="301" y="56"/>
                  </a:lnTo>
                  <a:lnTo>
                    <a:pt x="312" y="68"/>
                  </a:lnTo>
                  <a:lnTo>
                    <a:pt x="323" y="83"/>
                  </a:lnTo>
                  <a:lnTo>
                    <a:pt x="336" y="97"/>
                  </a:lnTo>
                  <a:lnTo>
                    <a:pt x="347" y="114"/>
                  </a:lnTo>
                  <a:lnTo>
                    <a:pt x="358" y="130"/>
                  </a:lnTo>
                  <a:lnTo>
                    <a:pt x="0" y="130"/>
                  </a:lnTo>
                  <a:lnTo>
                    <a:pt x="9" y="116"/>
                  </a:lnTo>
                  <a:lnTo>
                    <a:pt x="19" y="101"/>
                  </a:lnTo>
                  <a:lnTo>
                    <a:pt x="28" y="88"/>
                  </a:lnTo>
                  <a:lnTo>
                    <a:pt x="38" y="76"/>
                  </a:lnTo>
                  <a:lnTo>
                    <a:pt x="47" y="65"/>
                  </a:lnTo>
                  <a:lnTo>
                    <a:pt x="58" y="54"/>
                  </a:lnTo>
                  <a:lnTo>
                    <a:pt x="68" y="44"/>
                  </a:lnTo>
                  <a:lnTo>
                    <a:pt x="79" y="36"/>
                  </a:lnTo>
                  <a:lnTo>
                    <a:pt x="90" y="28"/>
                  </a:lnTo>
                  <a:lnTo>
                    <a:pt x="101" y="22"/>
                  </a:lnTo>
                  <a:lnTo>
                    <a:pt x="112" y="16"/>
                  </a:lnTo>
                  <a:lnTo>
                    <a:pt x="125" y="11"/>
                  </a:lnTo>
                  <a:lnTo>
                    <a:pt x="136" y="7"/>
                  </a:lnTo>
                  <a:lnTo>
                    <a:pt x="148" y="4"/>
                  </a:lnTo>
                  <a:lnTo>
                    <a:pt x="161" y="3"/>
                  </a:lnTo>
                  <a:lnTo>
                    <a:pt x="173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5" name="Freeform 21"/>
            <p:cNvSpPr>
              <a:spLocks noChangeArrowheads="1"/>
            </p:cNvSpPr>
            <p:nvPr/>
          </p:nvSpPr>
          <p:spPr bwMode="auto">
            <a:xfrm>
              <a:off x="8051800" y="6337296"/>
              <a:ext cx="100013" cy="44451"/>
            </a:xfrm>
            <a:custGeom>
              <a:avLst/>
              <a:gdLst>
                <a:gd name="T0" fmla="*/ 228 w 228"/>
                <a:gd name="T1" fmla="*/ 74 h 74"/>
                <a:gd name="T2" fmla="*/ 0 w 228"/>
                <a:gd name="T3" fmla="*/ 74 h 74"/>
                <a:gd name="T4" fmla="*/ 30 w 228"/>
                <a:gd name="T5" fmla="*/ 63 h 74"/>
                <a:gd name="T6" fmla="*/ 59 w 228"/>
                <a:gd name="T7" fmla="*/ 52 h 74"/>
                <a:gd name="T8" fmla="*/ 88 w 228"/>
                <a:gd name="T9" fmla="*/ 42 h 74"/>
                <a:gd name="T10" fmla="*/ 117 w 228"/>
                <a:gd name="T11" fmla="*/ 33 h 74"/>
                <a:gd name="T12" fmla="*/ 145 w 228"/>
                <a:gd name="T13" fmla="*/ 23 h 74"/>
                <a:gd name="T14" fmla="*/ 173 w 228"/>
                <a:gd name="T15" fmla="*/ 15 h 74"/>
                <a:gd name="T16" fmla="*/ 200 w 228"/>
                <a:gd name="T17" fmla="*/ 8 h 74"/>
                <a:gd name="T18" fmla="*/ 228 w 228"/>
                <a:gd name="T19" fmla="*/ 0 h 74"/>
                <a:gd name="T20" fmla="*/ 228 w 228"/>
                <a:gd name="T2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74">
                  <a:moveTo>
                    <a:pt x="228" y="74"/>
                  </a:moveTo>
                  <a:lnTo>
                    <a:pt x="0" y="74"/>
                  </a:lnTo>
                  <a:lnTo>
                    <a:pt x="30" y="63"/>
                  </a:lnTo>
                  <a:lnTo>
                    <a:pt x="59" y="52"/>
                  </a:lnTo>
                  <a:lnTo>
                    <a:pt x="88" y="42"/>
                  </a:lnTo>
                  <a:lnTo>
                    <a:pt x="117" y="33"/>
                  </a:lnTo>
                  <a:lnTo>
                    <a:pt x="145" y="23"/>
                  </a:lnTo>
                  <a:lnTo>
                    <a:pt x="173" y="15"/>
                  </a:lnTo>
                  <a:lnTo>
                    <a:pt x="200" y="8"/>
                  </a:lnTo>
                  <a:lnTo>
                    <a:pt x="228" y="0"/>
                  </a:lnTo>
                  <a:lnTo>
                    <a:pt x="228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6" name="Freeform 22"/>
            <p:cNvSpPr>
              <a:spLocks noChangeArrowheads="1"/>
            </p:cNvSpPr>
            <p:nvPr/>
          </p:nvSpPr>
          <p:spPr bwMode="auto">
            <a:xfrm>
              <a:off x="7410450" y="5999152"/>
              <a:ext cx="460375" cy="381008"/>
            </a:xfrm>
            <a:custGeom>
              <a:avLst/>
              <a:gdLst>
                <a:gd name="T0" fmla="*/ 841 w 1025"/>
                <a:gd name="T1" fmla="*/ 25 h 689"/>
                <a:gd name="T2" fmla="*/ 878 w 1025"/>
                <a:gd name="T3" fmla="*/ 55 h 689"/>
                <a:gd name="T4" fmla="*/ 912 w 1025"/>
                <a:gd name="T5" fmla="*/ 92 h 689"/>
                <a:gd name="T6" fmla="*/ 940 w 1025"/>
                <a:gd name="T7" fmla="*/ 137 h 689"/>
                <a:gd name="T8" fmla="*/ 966 w 1025"/>
                <a:gd name="T9" fmla="*/ 189 h 689"/>
                <a:gd name="T10" fmla="*/ 987 w 1025"/>
                <a:gd name="T11" fmla="*/ 248 h 689"/>
                <a:gd name="T12" fmla="*/ 1003 w 1025"/>
                <a:gd name="T13" fmla="*/ 312 h 689"/>
                <a:gd name="T14" fmla="*/ 1015 w 1025"/>
                <a:gd name="T15" fmla="*/ 382 h 689"/>
                <a:gd name="T16" fmla="*/ 1022 w 1025"/>
                <a:gd name="T17" fmla="*/ 458 h 689"/>
                <a:gd name="T18" fmla="*/ 1024 w 1025"/>
                <a:gd name="T19" fmla="*/ 494 h 689"/>
                <a:gd name="T20" fmla="*/ 1025 w 1025"/>
                <a:gd name="T21" fmla="*/ 531 h 689"/>
                <a:gd name="T22" fmla="*/ 1024 w 1025"/>
                <a:gd name="T23" fmla="*/ 570 h 689"/>
                <a:gd name="T24" fmla="*/ 1024 w 1025"/>
                <a:gd name="T25" fmla="*/ 611 h 689"/>
                <a:gd name="T26" fmla="*/ 1022 w 1025"/>
                <a:gd name="T27" fmla="*/ 649 h 689"/>
                <a:gd name="T28" fmla="*/ 1019 w 1025"/>
                <a:gd name="T29" fmla="*/ 689 h 689"/>
                <a:gd name="T30" fmla="*/ 849 w 1025"/>
                <a:gd name="T31" fmla="*/ 667 h 689"/>
                <a:gd name="T32" fmla="*/ 852 w 1025"/>
                <a:gd name="T33" fmla="*/ 624 h 689"/>
                <a:gd name="T34" fmla="*/ 854 w 1025"/>
                <a:gd name="T35" fmla="*/ 568 h 689"/>
                <a:gd name="T36" fmla="*/ 853 w 1025"/>
                <a:gd name="T37" fmla="*/ 500 h 689"/>
                <a:gd name="T38" fmla="*/ 850 w 1025"/>
                <a:gd name="T39" fmla="*/ 441 h 689"/>
                <a:gd name="T40" fmla="*/ 844 w 1025"/>
                <a:gd name="T41" fmla="*/ 388 h 689"/>
                <a:gd name="T42" fmla="*/ 835 w 1025"/>
                <a:gd name="T43" fmla="*/ 341 h 689"/>
                <a:gd name="T44" fmla="*/ 825 w 1025"/>
                <a:gd name="T45" fmla="*/ 297 h 689"/>
                <a:gd name="T46" fmla="*/ 813 w 1025"/>
                <a:gd name="T47" fmla="*/ 259 h 689"/>
                <a:gd name="T48" fmla="*/ 797 w 1025"/>
                <a:gd name="T49" fmla="*/ 227 h 689"/>
                <a:gd name="T50" fmla="*/ 781 w 1025"/>
                <a:gd name="T51" fmla="*/ 200 h 689"/>
                <a:gd name="T52" fmla="*/ 762 w 1025"/>
                <a:gd name="T53" fmla="*/ 180 h 689"/>
                <a:gd name="T54" fmla="*/ 741 w 1025"/>
                <a:gd name="T55" fmla="*/ 168 h 689"/>
                <a:gd name="T56" fmla="*/ 717 w 1025"/>
                <a:gd name="T57" fmla="*/ 167 h 689"/>
                <a:gd name="T58" fmla="*/ 691 w 1025"/>
                <a:gd name="T59" fmla="*/ 173 h 689"/>
                <a:gd name="T60" fmla="*/ 663 w 1025"/>
                <a:gd name="T61" fmla="*/ 182 h 689"/>
                <a:gd name="T62" fmla="*/ 634 w 1025"/>
                <a:gd name="T63" fmla="*/ 197 h 689"/>
                <a:gd name="T64" fmla="*/ 603 w 1025"/>
                <a:gd name="T65" fmla="*/ 217 h 689"/>
                <a:gd name="T66" fmla="*/ 569 w 1025"/>
                <a:gd name="T67" fmla="*/ 242 h 689"/>
                <a:gd name="T68" fmla="*/ 535 w 1025"/>
                <a:gd name="T69" fmla="*/ 270 h 689"/>
                <a:gd name="T70" fmla="*/ 499 w 1025"/>
                <a:gd name="T71" fmla="*/ 304 h 689"/>
                <a:gd name="T72" fmla="*/ 462 w 1025"/>
                <a:gd name="T73" fmla="*/ 344 h 689"/>
                <a:gd name="T74" fmla="*/ 404 w 1025"/>
                <a:gd name="T75" fmla="*/ 409 h 689"/>
                <a:gd name="T76" fmla="*/ 325 w 1025"/>
                <a:gd name="T77" fmla="*/ 509 h 689"/>
                <a:gd name="T78" fmla="*/ 243 w 1025"/>
                <a:gd name="T79" fmla="*/ 624 h 689"/>
                <a:gd name="T80" fmla="*/ 201 w 1025"/>
                <a:gd name="T81" fmla="*/ 689 h 689"/>
                <a:gd name="T82" fmla="*/ 15 w 1025"/>
                <a:gd name="T83" fmla="*/ 664 h 689"/>
                <a:gd name="T84" fmla="*/ 44 w 1025"/>
                <a:gd name="T85" fmla="*/ 617 h 689"/>
                <a:gd name="T86" fmla="*/ 84 w 1025"/>
                <a:gd name="T87" fmla="*/ 555 h 689"/>
                <a:gd name="T88" fmla="*/ 134 w 1025"/>
                <a:gd name="T89" fmla="*/ 481 h 689"/>
                <a:gd name="T90" fmla="*/ 185 w 1025"/>
                <a:gd name="T91" fmla="*/ 412 h 689"/>
                <a:gd name="T92" fmla="*/ 238 w 1025"/>
                <a:gd name="T93" fmla="*/ 347 h 689"/>
                <a:gd name="T94" fmla="*/ 290 w 1025"/>
                <a:gd name="T95" fmla="*/ 287 h 689"/>
                <a:gd name="T96" fmla="*/ 341 w 1025"/>
                <a:gd name="T97" fmla="*/ 232 h 689"/>
                <a:gd name="T98" fmla="*/ 393 w 1025"/>
                <a:gd name="T99" fmla="*/ 182 h 689"/>
                <a:gd name="T100" fmla="*/ 443 w 1025"/>
                <a:gd name="T101" fmla="*/ 139 h 689"/>
                <a:gd name="T102" fmla="*/ 492 w 1025"/>
                <a:gd name="T103" fmla="*/ 100 h 689"/>
                <a:gd name="T104" fmla="*/ 542 w 1025"/>
                <a:gd name="T105" fmla="*/ 67 h 689"/>
                <a:gd name="T106" fmla="*/ 589 w 1025"/>
                <a:gd name="T107" fmla="*/ 42 h 689"/>
                <a:gd name="T108" fmla="*/ 636 w 1025"/>
                <a:gd name="T109" fmla="*/ 21 h 689"/>
                <a:gd name="T110" fmla="*/ 681 w 1025"/>
                <a:gd name="T111" fmla="*/ 8 h 689"/>
                <a:gd name="T112" fmla="*/ 723 w 1025"/>
                <a:gd name="T113" fmla="*/ 1 h 689"/>
                <a:gd name="T114" fmla="*/ 764 w 1025"/>
                <a:gd name="T115" fmla="*/ 1 h 689"/>
                <a:gd name="T116" fmla="*/ 802 w 1025"/>
                <a:gd name="T117" fmla="*/ 9 h 689"/>
                <a:gd name="T118" fmla="*/ 829 w 1025"/>
                <a:gd name="T119" fmla="*/ 18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5" h="689">
                  <a:moveTo>
                    <a:pt x="837" y="23"/>
                  </a:moveTo>
                  <a:lnTo>
                    <a:pt x="841" y="25"/>
                  </a:lnTo>
                  <a:lnTo>
                    <a:pt x="859" y="39"/>
                  </a:lnTo>
                  <a:lnTo>
                    <a:pt x="878" y="55"/>
                  </a:lnTo>
                  <a:lnTo>
                    <a:pt x="895" y="73"/>
                  </a:lnTo>
                  <a:lnTo>
                    <a:pt x="912" y="92"/>
                  </a:lnTo>
                  <a:lnTo>
                    <a:pt x="927" y="114"/>
                  </a:lnTo>
                  <a:lnTo>
                    <a:pt x="940" y="137"/>
                  </a:lnTo>
                  <a:lnTo>
                    <a:pt x="954" y="162"/>
                  </a:lnTo>
                  <a:lnTo>
                    <a:pt x="966" y="189"/>
                  </a:lnTo>
                  <a:lnTo>
                    <a:pt x="977" y="218"/>
                  </a:lnTo>
                  <a:lnTo>
                    <a:pt x="987" y="248"/>
                  </a:lnTo>
                  <a:lnTo>
                    <a:pt x="995" y="279"/>
                  </a:lnTo>
                  <a:lnTo>
                    <a:pt x="1003" y="312"/>
                  </a:lnTo>
                  <a:lnTo>
                    <a:pt x="1009" y="347"/>
                  </a:lnTo>
                  <a:lnTo>
                    <a:pt x="1015" y="382"/>
                  </a:lnTo>
                  <a:lnTo>
                    <a:pt x="1019" y="420"/>
                  </a:lnTo>
                  <a:lnTo>
                    <a:pt x="1022" y="458"/>
                  </a:lnTo>
                  <a:lnTo>
                    <a:pt x="1023" y="476"/>
                  </a:lnTo>
                  <a:lnTo>
                    <a:pt x="1024" y="494"/>
                  </a:lnTo>
                  <a:lnTo>
                    <a:pt x="1024" y="513"/>
                  </a:lnTo>
                  <a:lnTo>
                    <a:pt x="1025" y="531"/>
                  </a:lnTo>
                  <a:lnTo>
                    <a:pt x="1025" y="551"/>
                  </a:lnTo>
                  <a:lnTo>
                    <a:pt x="1024" y="570"/>
                  </a:lnTo>
                  <a:lnTo>
                    <a:pt x="1024" y="590"/>
                  </a:lnTo>
                  <a:lnTo>
                    <a:pt x="1024" y="611"/>
                  </a:lnTo>
                  <a:lnTo>
                    <a:pt x="1023" y="629"/>
                  </a:lnTo>
                  <a:lnTo>
                    <a:pt x="1022" y="649"/>
                  </a:lnTo>
                  <a:lnTo>
                    <a:pt x="1020" y="669"/>
                  </a:lnTo>
                  <a:lnTo>
                    <a:pt x="1019" y="689"/>
                  </a:lnTo>
                  <a:lnTo>
                    <a:pt x="847" y="689"/>
                  </a:lnTo>
                  <a:lnTo>
                    <a:pt x="849" y="667"/>
                  </a:lnTo>
                  <a:lnTo>
                    <a:pt x="851" y="646"/>
                  </a:lnTo>
                  <a:lnTo>
                    <a:pt x="852" y="624"/>
                  </a:lnTo>
                  <a:lnTo>
                    <a:pt x="853" y="603"/>
                  </a:lnTo>
                  <a:lnTo>
                    <a:pt x="854" y="568"/>
                  </a:lnTo>
                  <a:lnTo>
                    <a:pt x="854" y="534"/>
                  </a:lnTo>
                  <a:lnTo>
                    <a:pt x="853" y="500"/>
                  </a:lnTo>
                  <a:lnTo>
                    <a:pt x="852" y="468"/>
                  </a:lnTo>
                  <a:lnTo>
                    <a:pt x="850" y="441"/>
                  </a:lnTo>
                  <a:lnTo>
                    <a:pt x="847" y="414"/>
                  </a:lnTo>
                  <a:lnTo>
                    <a:pt x="844" y="388"/>
                  </a:lnTo>
                  <a:lnTo>
                    <a:pt x="840" y="363"/>
                  </a:lnTo>
                  <a:lnTo>
                    <a:pt x="835" y="341"/>
                  </a:lnTo>
                  <a:lnTo>
                    <a:pt x="830" y="318"/>
                  </a:lnTo>
                  <a:lnTo>
                    <a:pt x="825" y="297"/>
                  </a:lnTo>
                  <a:lnTo>
                    <a:pt x="819" y="278"/>
                  </a:lnTo>
                  <a:lnTo>
                    <a:pt x="813" y="259"/>
                  </a:lnTo>
                  <a:lnTo>
                    <a:pt x="806" y="243"/>
                  </a:lnTo>
                  <a:lnTo>
                    <a:pt x="797" y="227"/>
                  </a:lnTo>
                  <a:lnTo>
                    <a:pt x="790" y="213"/>
                  </a:lnTo>
                  <a:lnTo>
                    <a:pt x="781" y="200"/>
                  </a:lnTo>
                  <a:lnTo>
                    <a:pt x="772" y="189"/>
                  </a:lnTo>
                  <a:lnTo>
                    <a:pt x="762" y="180"/>
                  </a:lnTo>
                  <a:lnTo>
                    <a:pt x="752" y="172"/>
                  </a:lnTo>
                  <a:lnTo>
                    <a:pt x="741" y="168"/>
                  </a:lnTo>
                  <a:lnTo>
                    <a:pt x="729" y="167"/>
                  </a:lnTo>
                  <a:lnTo>
                    <a:pt x="717" y="167"/>
                  </a:lnTo>
                  <a:lnTo>
                    <a:pt x="705" y="169"/>
                  </a:lnTo>
                  <a:lnTo>
                    <a:pt x="691" y="173"/>
                  </a:lnTo>
                  <a:lnTo>
                    <a:pt x="678" y="177"/>
                  </a:lnTo>
                  <a:lnTo>
                    <a:pt x="663" y="182"/>
                  </a:lnTo>
                  <a:lnTo>
                    <a:pt x="649" y="189"/>
                  </a:lnTo>
                  <a:lnTo>
                    <a:pt x="634" y="197"/>
                  </a:lnTo>
                  <a:lnTo>
                    <a:pt x="618" y="207"/>
                  </a:lnTo>
                  <a:lnTo>
                    <a:pt x="603" y="217"/>
                  </a:lnTo>
                  <a:lnTo>
                    <a:pt x="586" y="228"/>
                  </a:lnTo>
                  <a:lnTo>
                    <a:pt x="569" y="242"/>
                  </a:lnTo>
                  <a:lnTo>
                    <a:pt x="552" y="256"/>
                  </a:lnTo>
                  <a:lnTo>
                    <a:pt x="535" y="270"/>
                  </a:lnTo>
                  <a:lnTo>
                    <a:pt x="516" y="287"/>
                  </a:lnTo>
                  <a:lnTo>
                    <a:pt x="499" y="304"/>
                  </a:lnTo>
                  <a:lnTo>
                    <a:pt x="480" y="323"/>
                  </a:lnTo>
                  <a:lnTo>
                    <a:pt x="462" y="344"/>
                  </a:lnTo>
                  <a:lnTo>
                    <a:pt x="442" y="364"/>
                  </a:lnTo>
                  <a:lnTo>
                    <a:pt x="404" y="409"/>
                  </a:lnTo>
                  <a:lnTo>
                    <a:pt x="365" y="457"/>
                  </a:lnTo>
                  <a:lnTo>
                    <a:pt x="325" y="509"/>
                  </a:lnTo>
                  <a:lnTo>
                    <a:pt x="284" y="564"/>
                  </a:lnTo>
                  <a:lnTo>
                    <a:pt x="243" y="624"/>
                  </a:lnTo>
                  <a:lnTo>
                    <a:pt x="202" y="686"/>
                  </a:lnTo>
                  <a:lnTo>
                    <a:pt x="201" y="689"/>
                  </a:lnTo>
                  <a:lnTo>
                    <a:pt x="0" y="689"/>
                  </a:lnTo>
                  <a:lnTo>
                    <a:pt x="15" y="664"/>
                  </a:lnTo>
                  <a:lnTo>
                    <a:pt x="29" y="641"/>
                  </a:lnTo>
                  <a:lnTo>
                    <a:pt x="44" y="617"/>
                  </a:lnTo>
                  <a:lnTo>
                    <a:pt x="59" y="594"/>
                  </a:lnTo>
                  <a:lnTo>
                    <a:pt x="84" y="555"/>
                  </a:lnTo>
                  <a:lnTo>
                    <a:pt x="109" y="518"/>
                  </a:lnTo>
                  <a:lnTo>
                    <a:pt x="134" y="481"/>
                  </a:lnTo>
                  <a:lnTo>
                    <a:pt x="160" y="446"/>
                  </a:lnTo>
                  <a:lnTo>
                    <a:pt x="185" y="412"/>
                  </a:lnTo>
                  <a:lnTo>
                    <a:pt x="211" y="379"/>
                  </a:lnTo>
                  <a:lnTo>
                    <a:pt x="238" y="347"/>
                  </a:lnTo>
                  <a:lnTo>
                    <a:pt x="264" y="316"/>
                  </a:lnTo>
                  <a:lnTo>
                    <a:pt x="290" y="287"/>
                  </a:lnTo>
                  <a:lnTo>
                    <a:pt x="315" y="259"/>
                  </a:lnTo>
                  <a:lnTo>
                    <a:pt x="341" y="232"/>
                  </a:lnTo>
                  <a:lnTo>
                    <a:pt x="367" y="207"/>
                  </a:lnTo>
                  <a:lnTo>
                    <a:pt x="393" y="182"/>
                  </a:lnTo>
                  <a:lnTo>
                    <a:pt x="417" y="159"/>
                  </a:lnTo>
                  <a:lnTo>
                    <a:pt x="443" y="139"/>
                  </a:lnTo>
                  <a:lnTo>
                    <a:pt x="468" y="118"/>
                  </a:lnTo>
                  <a:lnTo>
                    <a:pt x="492" y="100"/>
                  </a:lnTo>
                  <a:lnTo>
                    <a:pt x="517" y="83"/>
                  </a:lnTo>
                  <a:lnTo>
                    <a:pt x="542" y="67"/>
                  </a:lnTo>
                  <a:lnTo>
                    <a:pt x="566" y="54"/>
                  </a:lnTo>
                  <a:lnTo>
                    <a:pt x="589" y="42"/>
                  </a:lnTo>
                  <a:lnTo>
                    <a:pt x="613" y="30"/>
                  </a:lnTo>
                  <a:lnTo>
                    <a:pt x="636" y="21"/>
                  </a:lnTo>
                  <a:lnTo>
                    <a:pt x="658" y="14"/>
                  </a:lnTo>
                  <a:lnTo>
                    <a:pt x="681" y="8"/>
                  </a:lnTo>
                  <a:lnTo>
                    <a:pt x="703" y="3"/>
                  </a:lnTo>
                  <a:lnTo>
                    <a:pt x="723" y="1"/>
                  </a:lnTo>
                  <a:lnTo>
                    <a:pt x="744" y="0"/>
                  </a:lnTo>
                  <a:lnTo>
                    <a:pt x="764" y="1"/>
                  </a:lnTo>
                  <a:lnTo>
                    <a:pt x="784" y="3"/>
                  </a:lnTo>
                  <a:lnTo>
                    <a:pt x="802" y="9"/>
                  </a:lnTo>
                  <a:lnTo>
                    <a:pt x="821" y="15"/>
                  </a:lnTo>
                  <a:lnTo>
                    <a:pt x="829" y="18"/>
                  </a:lnTo>
                  <a:lnTo>
                    <a:pt x="837" y="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7" name="Freeform 23"/>
            <p:cNvSpPr>
              <a:spLocks noChangeArrowheads="1"/>
            </p:cNvSpPr>
            <p:nvPr/>
          </p:nvSpPr>
          <p:spPr bwMode="auto">
            <a:xfrm>
              <a:off x="7453313" y="6043603"/>
              <a:ext cx="381000" cy="336557"/>
            </a:xfrm>
            <a:custGeom>
              <a:avLst/>
              <a:gdLst>
                <a:gd name="T0" fmla="*/ 689 w 838"/>
                <a:gd name="T1" fmla="*/ 10 h 605"/>
                <a:gd name="T2" fmla="*/ 700 w 838"/>
                <a:gd name="T3" fmla="*/ 17 h 605"/>
                <a:gd name="T4" fmla="*/ 711 w 838"/>
                <a:gd name="T5" fmla="*/ 25 h 605"/>
                <a:gd name="T6" fmla="*/ 720 w 838"/>
                <a:gd name="T7" fmla="*/ 34 h 605"/>
                <a:gd name="T8" fmla="*/ 730 w 838"/>
                <a:gd name="T9" fmla="*/ 43 h 605"/>
                <a:gd name="T10" fmla="*/ 740 w 838"/>
                <a:gd name="T11" fmla="*/ 53 h 605"/>
                <a:gd name="T12" fmla="*/ 748 w 838"/>
                <a:gd name="T13" fmla="*/ 65 h 605"/>
                <a:gd name="T14" fmla="*/ 756 w 838"/>
                <a:gd name="T15" fmla="*/ 77 h 605"/>
                <a:gd name="T16" fmla="*/ 764 w 838"/>
                <a:gd name="T17" fmla="*/ 91 h 605"/>
                <a:gd name="T18" fmla="*/ 773 w 838"/>
                <a:gd name="T19" fmla="*/ 104 h 605"/>
                <a:gd name="T20" fmla="*/ 780 w 838"/>
                <a:gd name="T21" fmla="*/ 118 h 605"/>
                <a:gd name="T22" fmla="*/ 786 w 838"/>
                <a:gd name="T23" fmla="*/ 134 h 605"/>
                <a:gd name="T24" fmla="*/ 793 w 838"/>
                <a:gd name="T25" fmla="*/ 149 h 605"/>
                <a:gd name="T26" fmla="*/ 798 w 838"/>
                <a:gd name="T27" fmla="*/ 167 h 605"/>
                <a:gd name="T28" fmla="*/ 804 w 838"/>
                <a:gd name="T29" fmla="*/ 184 h 605"/>
                <a:gd name="T30" fmla="*/ 810 w 838"/>
                <a:gd name="T31" fmla="*/ 202 h 605"/>
                <a:gd name="T32" fmla="*/ 815 w 838"/>
                <a:gd name="T33" fmla="*/ 222 h 605"/>
                <a:gd name="T34" fmla="*/ 823 w 838"/>
                <a:gd name="T35" fmla="*/ 261 h 605"/>
                <a:gd name="T36" fmla="*/ 829 w 838"/>
                <a:gd name="T37" fmla="*/ 303 h 605"/>
                <a:gd name="T38" fmla="*/ 834 w 838"/>
                <a:gd name="T39" fmla="*/ 348 h 605"/>
                <a:gd name="T40" fmla="*/ 837 w 838"/>
                <a:gd name="T41" fmla="*/ 395 h 605"/>
                <a:gd name="T42" fmla="*/ 838 w 838"/>
                <a:gd name="T43" fmla="*/ 444 h 605"/>
                <a:gd name="T44" fmla="*/ 838 w 838"/>
                <a:gd name="T45" fmla="*/ 496 h 605"/>
                <a:gd name="T46" fmla="*/ 836 w 838"/>
                <a:gd name="T47" fmla="*/ 549 h 605"/>
                <a:gd name="T48" fmla="*/ 832 w 838"/>
                <a:gd name="T49" fmla="*/ 605 h 605"/>
                <a:gd name="T50" fmla="*/ 0 w 838"/>
                <a:gd name="T51" fmla="*/ 605 h 605"/>
                <a:gd name="T52" fmla="*/ 24 w 838"/>
                <a:gd name="T53" fmla="*/ 567 h 605"/>
                <a:gd name="T54" fmla="*/ 47 w 838"/>
                <a:gd name="T55" fmla="*/ 530 h 605"/>
                <a:gd name="T56" fmla="*/ 72 w 838"/>
                <a:gd name="T57" fmla="*/ 494 h 605"/>
                <a:gd name="T58" fmla="*/ 96 w 838"/>
                <a:gd name="T59" fmla="*/ 459 h 605"/>
                <a:gd name="T60" fmla="*/ 119 w 838"/>
                <a:gd name="T61" fmla="*/ 425 h 605"/>
                <a:gd name="T62" fmla="*/ 144 w 838"/>
                <a:gd name="T63" fmla="*/ 392 h 605"/>
                <a:gd name="T64" fmla="*/ 168 w 838"/>
                <a:gd name="T65" fmla="*/ 360 h 605"/>
                <a:gd name="T66" fmla="*/ 193 w 838"/>
                <a:gd name="T67" fmla="*/ 329 h 605"/>
                <a:gd name="T68" fmla="*/ 216 w 838"/>
                <a:gd name="T69" fmla="*/ 300 h 605"/>
                <a:gd name="T70" fmla="*/ 240 w 838"/>
                <a:gd name="T71" fmla="*/ 271 h 605"/>
                <a:gd name="T72" fmla="*/ 264 w 838"/>
                <a:gd name="T73" fmla="*/ 244 h 605"/>
                <a:gd name="T74" fmla="*/ 287 w 838"/>
                <a:gd name="T75" fmla="*/ 218 h 605"/>
                <a:gd name="T76" fmla="*/ 311 w 838"/>
                <a:gd name="T77" fmla="*/ 194 h 605"/>
                <a:gd name="T78" fmla="*/ 335 w 838"/>
                <a:gd name="T79" fmla="*/ 171 h 605"/>
                <a:gd name="T80" fmla="*/ 357 w 838"/>
                <a:gd name="T81" fmla="*/ 149 h 605"/>
                <a:gd name="T82" fmla="*/ 380 w 838"/>
                <a:gd name="T83" fmla="*/ 129 h 605"/>
                <a:gd name="T84" fmla="*/ 403 w 838"/>
                <a:gd name="T85" fmla="*/ 110 h 605"/>
                <a:gd name="T86" fmla="*/ 425 w 838"/>
                <a:gd name="T87" fmla="*/ 93 h 605"/>
                <a:gd name="T88" fmla="*/ 447 w 838"/>
                <a:gd name="T89" fmla="*/ 76 h 605"/>
                <a:gd name="T90" fmla="*/ 469 w 838"/>
                <a:gd name="T91" fmla="*/ 62 h 605"/>
                <a:gd name="T92" fmla="*/ 489 w 838"/>
                <a:gd name="T93" fmla="*/ 48 h 605"/>
                <a:gd name="T94" fmla="*/ 510 w 838"/>
                <a:gd name="T95" fmla="*/ 37 h 605"/>
                <a:gd name="T96" fmla="*/ 530 w 838"/>
                <a:gd name="T97" fmla="*/ 27 h 605"/>
                <a:gd name="T98" fmla="*/ 550 w 838"/>
                <a:gd name="T99" fmla="*/ 18 h 605"/>
                <a:gd name="T100" fmla="*/ 570 w 838"/>
                <a:gd name="T101" fmla="*/ 11 h 605"/>
                <a:gd name="T102" fmla="*/ 588 w 838"/>
                <a:gd name="T103" fmla="*/ 6 h 605"/>
                <a:gd name="T104" fmla="*/ 607 w 838"/>
                <a:gd name="T105" fmla="*/ 2 h 605"/>
                <a:gd name="T106" fmla="*/ 624 w 838"/>
                <a:gd name="T107" fmla="*/ 0 h 605"/>
                <a:gd name="T108" fmla="*/ 642 w 838"/>
                <a:gd name="T109" fmla="*/ 0 h 605"/>
                <a:gd name="T110" fmla="*/ 658 w 838"/>
                <a:gd name="T111" fmla="*/ 2 h 605"/>
                <a:gd name="T112" fmla="*/ 675 w 838"/>
                <a:gd name="T113" fmla="*/ 5 h 605"/>
                <a:gd name="T114" fmla="*/ 689 w 838"/>
                <a:gd name="T115" fmla="*/ 1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8" h="605">
                  <a:moveTo>
                    <a:pt x="689" y="10"/>
                  </a:moveTo>
                  <a:lnTo>
                    <a:pt x="700" y="17"/>
                  </a:lnTo>
                  <a:lnTo>
                    <a:pt x="711" y="25"/>
                  </a:lnTo>
                  <a:lnTo>
                    <a:pt x="720" y="34"/>
                  </a:lnTo>
                  <a:lnTo>
                    <a:pt x="730" y="43"/>
                  </a:lnTo>
                  <a:lnTo>
                    <a:pt x="740" y="53"/>
                  </a:lnTo>
                  <a:lnTo>
                    <a:pt x="748" y="65"/>
                  </a:lnTo>
                  <a:lnTo>
                    <a:pt x="756" y="77"/>
                  </a:lnTo>
                  <a:lnTo>
                    <a:pt x="764" y="91"/>
                  </a:lnTo>
                  <a:lnTo>
                    <a:pt x="773" y="104"/>
                  </a:lnTo>
                  <a:lnTo>
                    <a:pt x="780" y="118"/>
                  </a:lnTo>
                  <a:lnTo>
                    <a:pt x="786" y="134"/>
                  </a:lnTo>
                  <a:lnTo>
                    <a:pt x="793" y="149"/>
                  </a:lnTo>
                  <a:lnTo>
                    <a:pt x="798" y="167"/>
                  </a:lnTo>
                  <a:lnTo>
                    <a:pt x="804" y="184"/>
                  </a:lnTo>
                  <a:lnTo>
                    <a:pt x="810" y="202"/>
                  </a:lnTo>
                  <a:lnTo>
                    <a:pt x="815" y="222"/>
                  </a:lnTo>
                  <a:lnTo>
                    <a:pt x="823" y="261"/>
                  </a:lnTo>
                  <a:lnTo>
                    <a:pt x="829" y="303"/>
                  </a:lnTo>
                  <a:lnTo>
                    <a:pt x="834" y="348"/>
                  </a:lnTo>
                  <a:lnTo>
                    <a:pt x="837" y="395"/>
                  </a:lnTo>
                  <a:lnTo>
                    <a:pt x="838" y="444"/>
                  </a:lnTo>
                  <a:lnTo>
                    <a:pt x="838" y="496"/>
                  </a:lnTo>
                  <a:lnTo>
                    <a:pt x="836" y="549"/>
                  </a:lnTo>
                  <a:lnTo>
                    <a:pt x="832" y="605"/>
                  </a:lnTo>
                  <a:lnTo>
                    <a:pt x="0" y="605"/>
                  </a:lnTo>
                  <a:lnTo>
                    <a:pt x="24" y="567"/>
                  </a:lnTo>
                  <a:lnTo>
                    <a:pt x="47" y="530"/>
                  </a:lnTo>
                  <a:lnTo>
                    <a:pt x="72" y="494"/>
                  </a:lnTo>
                  <a:lnTo>
                    <a:pt x="96" y="459"/>
                  </a:lnTo>
                  <a:lnTo>
                    <a:pt x="119" y="425"/>
                  </a:lnTo>
                  <a:lnTo>
                    <a:pt x="144" y="392"/>
                  </a:lnTo>
                  <a:lnTo>
                    <a:pt x="168" y="360"/>
                  </a:lnTo>
                  <a:lnTo>
                    <a:pt x="193" y="329"/>
                  </a:lnTo>
                  <a:lnTo>
                    <a:pt x="216" y="300"/>
                  </a:lnTo>
                  <a:lnTo>
                    <a:pt x="240" y="271"/>
                  </a:lnTo>
                  <a:lnTo>
                    <a:pt x="264" y="244"/>
                  </a:lnTo>
                  <a:lnTo>
                    <a:pt x="287" y="218"/>
                  </a:lnTo>
                  <a:lnTo>
                    <a:pt x="311" y="194"/>
                  </a:lnTo>
                  <a:lnTo>
                    <a:pt x="335" y="171"/>
                  </a:lnTo>
                  <a:lnTo>
                    <a:pt x="357" y="149"/>
                  </a:lnTo>
                  <a:lnTo>
                    <a:pt x="380" y="129"/>
                  </a:lnTo>
                  <a:lnTo>
                    <a:pt x="403" y="110"/>
                  </a:lnTo>
                  <a:lnTo>
                    <a:pt x="425" y="93"/>
                  </a:lnTo>
                  <a:lnTo>
                    <a:pt x="447" y="76"/>
                  </a:lnTo>
                  <a:lnTo>
                    <a:pt x="469" y="62"/>
                  </a:lnTo>
                  <a:lnTo>
                    <a:pt x="489" y="48"/>
                  </a:lnTo>
                  <a:lnTo>
                    <a:pt x="510" y="37"/>
                  </a:lnTo>
                  <a:lnTo>
                    <a:pt x="530" y="27"/>
                  </a:lnTo>
                  <a:lnTo>
                    <a:pt x="550" y="18"/>
                  </a:lnTo>
                  <a:lnTo>
                    <a:pt x="570" y="11"/>
                  </a:lnTo>
                  <a:lnTo>
                    <a:pt x="588" y="6"/>
                  </a:lnTo>
                  <a:lnTo>
                    <a:pt x="607" y="2"/>
                  </a:lnTo>
                  <a:lnTo>
                    <a:pt x="624" y="0"/>
                  </a:lnTo>
                  <a:lnTo>
                    <a:pt x="642" y="0"/>
                  </a:lnTo>
                  <a:lnTo>
                    <a:pt x="658" y="2"/>
                  </a:lnTo>
                  <a:lnTo>
                    <a:pt x="675" y="5"/>
                  </a:lnTo>
                  <a:lnTo>
                    <a:pt x="689" y="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8" name="Freeform 24"/>
            <p:cNvSpPr>
              <a:spLocks noChangeArrowheads="1"/>
            </p:cNvSpPr>
            <p:nvPr/>
          </p:nvSpPr>
          <p:spPr bwMode="auto">
            <a:xfrm>
              <a:off x="7734300" y="6132505"/>
              <a:ext cx="417513" cy="247655"/>
            </a:xfrm>
            <a:custGeom>
              <a:avLst/>
              <a:gdLst>
                <a:gd name="T0" fmla="*/ 795 w 921"/>
                <a:gd name="T1" fmla="*/ 444 h 444"/>
                <a:gd name="T2" fmla="*/ 812 w 921"/>
                <a:gd name="T3" fmla="*/ 386 h 444"/>
                <a:gd name="T4" fmla="*/ 824 w 921"/>
                <a:gd name="T5" fmla="*/ 333 h 444"/>
                <a:gd name="T6" fmla="*/ 829 w 921"/>
                <a:gd name="T7" fmla="*/ 299 h 444"/>
                <a:gd name="T8" fmla="*/ 832 w 921"/>
                <a:gd name="T9" fmla="*/ 268 h 444"/>
                <a:gd name="T10" fmla="*/ 833 w 921"/>
                <a:gd name="T11" fmla="*/ 240 h 444"/>
                <a:gd name="T12" fmla="*/ 831 w 921"/>
                <a:gd name="T13" fmla="*/ 214 h 444"/>
                <a:gd name="T14" fmla="*/ 824 w 921"/>
                <a:gd name="T15" fmla="*/ 188 h 444"/>
                <a:gd name="T16" fmla="*/ 814 w 921"/>
                <a:gd name="T17" fmla="*/ 169 h 444"/>
                <a:gd name="T18" fmla="*/ 798 w 921"/>
                <a:gd name="T19" fmla="*/ 162 h 444"/>
                <a:gd name="T20" fmla="*/ 779 w 921"/>
                <a:gd name="T21" fmla="*/ 158 h 444"/>
                <a:gd name="T22" fmla="*/ 757 w 921"/>
                <a:gd name="T23" fmla="*/ 158 h 444"/>
                <a:gd name="T24" fmla="*/ 733 w 921"/>
                <a:gd name="T25" fmla="*/ 163 h 444"/>
                <a:gd name="T26" fmla="*/ 706 w 921"/>
                <a:gd name="T27" fmla="*/ 169 h 444"/>
                <a:gd name="T28" fmla="*/ 676 w 921"/>
                <a:gd name="T29" fmla="*/ 179 h 444"/>
                <a:gd name="T30" fmla="*/ 609 w 921"/>
                <a:gd name="T31" fmla="*/ 208 h 444"/>
                <a:gd name="T32" fmla="*/ 533 w 921"/>
                <a:gd name="T33" fmla="*/ 250 h 444"/>
                <a:gd name="T34" fmla="*/ 449 w 921"/>
                <a:gd name="T35" fmla="*/ 304 h 444"/>
                <a:gd name="T36" fmla="*/ 360 w 921"/>
                <a:gd name="T37" fmla="*/ 369 h 444"/>
                <a:gd name="T38" fmla="*/ 263 w 921"/>
                <a:gd name="T39" fmla="*/ 444 h 444"/>
                <a:gd name="T40" fmla="*/ 38 w 921"/>
                <a:gd name="T41" fmla="*/ 411 h 444"/>
                <a:gd name="T42" fmla="*/ 112 w 921"/>
                <a:gd name="T43" fmla="*/ 348 h 444"/>
                <a:gd name="T44" fmla="*/ 186 w 921"/>
                <a:gd name="T45" fmla="*/ 290 h 444"/>
                <a:gd name="T46" fmla="*/ 258 w 921"/>
                <a:gd name="T47" fmla="*/ 237 h 444"/>
                <a:gd name="T48" fmla="*/ 328 w 921"/>
                <a:gd name="T49" fmla="*/ 189 h 444"/>
                <a:gd name="T50" fmla="*/ 396 w 921"/>
                <a:gd name="T51" fmla="*/ 146 h 444"/>
                <a:gd name="T52" fmla="*/ 461 w 921"/>
                <a:gd name="T53" fmla="*/ 109 h 444"/>
                <a:gd name="T54" fmla="*/ 524 w 921"/>
                <a:gd name="T55" fmla="*/ 76 h 444"/>
                <a:gd name="T56" fmla="*/ 584 w 921"/>
                <a:gd name="T57" fmla="*/ 50 h 444"/>
                <a:gd name="T58" fmla="*/ 642 w 921"/>
                <a:gd name="T59" fmla="*/ 29 h 444"/>
                <a:gd name="T60" fmla="*/ 695 w 921"/>
                <a:gd name="T61" fmla="*/ 13 h 444"/>
                <a:gd name="T62" fmla="*/ 746 w 921"/>
                <a:gd name="T63" fmla="*/ 4 h 444"/>
                <a:gd name="T64" fmla="*/ 792 w 921"/>
                <a:gd name="T65" fmla="*/ 0 h 444"/>
                <a:gd name="T66" fmla="*/ 834 w 921"/>
                <a:gd name="T67" fmla="*/ 2 h 444"/>
                <a:gd name="T68" fmla="*/ 873 w 921"/>
                <a:gd name="T69" fmla="*/ 11 h 444"/>
                <a:gd name="T70" fmla="*/ 907 w 921"/>
                <a:gd name="T71" fmla="*/ 25 h 444"/>
                <a:gd name="T72" fmla="*/ 921 w 921"/>
                <a:gd name="T73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21" h="444">
                  <a:moveTo>
                    <a:pt x="921" y="444"/>
                  </a:moveTo>
                  <a:lnTo>
                    <a:pt x="795" y="444"/>
                  </a:lnTo>
                  <a:lnTo>
                    <a:pt x="805" y="415"/>
                  </a:lnTo>
                  <a:lnTo>
                    <a:pt x="812" y="386"/>
                  </a:lnTo>
                  <a:lnTo>
                    <a:pt x="819" y="359"/>
                  </a:lnTo>
                  <a:lnTo>
                    <a:pt x="824" y="333"/>
                  </a:lnTo>
                  <a:lnTo>
                    <a:pt x="827" y="315"/>
                  </a:lnTo>
                  <a:lnTo>
                    <a:pt x="829" y="299"/>
                  </a:lnTo>
                  <a:lnTo>
                    <a:pt x="831" y="283"/>
                  </a:lnTo>
                  <a:lnTo>
                    <a:pt x="832" y="268"/>
                  </a:lnTo>
                  <a:lnTo>
                    <a:pt x="833" y="253"/>
                  </a:lnTo>
                  <a:lnTo>
                    <a:pt x="833" y="240"/>
                  </a:lnTo>
                  <a:lnTo>
                    <a:pt x="832" y="226"/>
                  </a:lnTo>
                  <a:lnTo>
                    <a:pt x="831" y="214"/>
                  </a:lnTo>
                  <a:lnTo>
                    <a:pt x="828" y="201"/>
                  </a:lnTo>
                  <a:lnTo>
                    <a:pt x="824" y="188"/>
                  </a:lnTo>
                  <a:lnTo>
                    <a:pt x="820" y="178"/>
                  </a:lnTo>
                  <a:lnTo>
                    <a:pt x="814" y="169"/>
                  </a:lnTo>
                  <a:lnTo>
                    <a:pt x="807" y="165"/>
                  </a:lnTo>
                  <a:lnTo>
                    <a:pt x="798" y="162"/>
                  </a:lnTo>
                  <a:lnTo>
                    <a:pt x="789" y="159"/>
                  </a:lnTo>
                  <a:lnTo>
                    <a:pt x="779" y="158"/>
                  </a:lnTo>
                  <a:lnTo>
                    <a:pt x="769" y="158"/>
                  </a:lnTo>
                  <a:lnTo>
                    <a:pt x="757" y="158"/>
                  </a:lnTo>
                  <a:lnTo>
                    <a:pt x="745" y="161"/>
                  </a:lnTo>
                  <a:lnTo>
                    <a:pt x="733" y="163"/>
                  </a:lnTo>
                  <a:lnTo>
                    <a:pt x="719" y="165"/>
                  </a:lnTo>
                  <a:lnTo>
                    <a:pt x="706" y="169"/>
                  </a:lnTo>
                  <a:lnTo>
                    <a:pt x="690" y="174"/>
                  </a:lnTo>
                  <a:lnTo>
                    <a:pt x="676" y="179"/>
                  </a:lnTo>
                  <a:lnTo>
                    <a:pt x="643" y="192"/>
                  </a:lnTo>
                  <a:lnTo>
                    <a:pt x="609" y="208"/>
                  </a:lnTo>
                  <a:lnTo>
                    <a:pt x="572" y="228"/>
                  </a:lnTo>
                  <a:lnTo>
                    <a:pt x="533" y="250"/>
                  </a:lnTo>
                  <a:lnTo>
                    <a:pt x="493" y="275"/>
                  </a:lnTo>
                  <a:lnTo>
                    <a:pt x="449" y="304"/>
                  </a:lnTo>
                  <a:lnTo>
                    <a:pt x="405" y="335"/>
                  </a:lnTo>
                  <a:lnTo>
                    <a:pt x="360" y="369"/>
                  </a:lnTo>
                  <a:lnTo>
                    <a:pt x="311" y="405"/>
                  </a:lnTo>
                  <a:lnTo>
                    <a:pt x="263" y="444"/>
                  </a:lnTo>
                  <a:lnTo>
                    <a:pt x="0" y="444"/>
                  </a:lnTo>
                  <a:lnTo>
                    <a:pt x="38" y="411"/>
                  </a:lnTo>
                  <a:lnTo>
                    <a:pt x="75" y="379"/>
                  </a:lnTo>
                  <a:lnTo>
                    <a:pt x="112" y="348"/>
                  </a:lnTo>
                  <a:lnTo>
                    <a:pt x="150" y="318"/>
                  </a:lnTo>
                  <a:lnTo>
                    <a:pt x="186" y="290"/>
                  </a:lnTo>
                  <a:lnTo>
                    <a:pt x="222" y="263"/>
                  </a:lnTo>
                  <a:lnTo>
                    <a:pt x="258" y="237"/>
                  </a:lnTo>
                  <a:lnTo>
                    <a:pt x="293" y="212"/>
                  </a:lnTo>
                  <a:lnTo>
                    <a:pt x="328" y="189"/>
                  </a:lnTo>
                  <a:lnTo>
                    <a:pt x="362" y="167"/>
                  </a:lnTo>
                  <a:lnTo>
                    <a:pt x="396" y="146"/>
                  </a:lnTo>
                  <a:lnTo>
                    <a:pt x="429" y="127"/>
                  </a:lnTo>
                  <a:lnTo>
                    <a:pt x="461" y="109"/>
                  </a:lnTo>
                  <a:lnTo>
                    <a:pt x="493" y="91"/>
                  </a:lnTo>
                  <a:lnTo>
                    <a:pt x="524" y="76"/>
                  </a:lnTo>
                  <a:lnTo>
                    <a:pt x="555" y="63"/>
                  </a:lnTo>
                  <a:lnTo>
                    <a:pt x="584" y="50"/>
                  </a:lnTo>
                  <a:lnTo>
                    <a:pt x="614" y="39"/>
                  </a:lnTo>
                  <a:lnTo>
                    <a:pt x="642" y="29"/>
                  </a:lnTo>
                  <a:lnTo>
                    <a:pt x="670" y="20"/>
                  </a:lnTo>
                  <a:lnTo>
                    <a:pt x="695" y="13"/>
                  </a:lnTo>
                  <a:lnTo>
                    <a:pt x="721" y="8"/>
                  </a:lnTo>
                  <a:lnTo>
                    <a:pt x="746" y="4"/>
                  </a:lnTo>
                  <a:lnTo>
                    <a:pt x="770" y="1"/>
                  </a:lnTo>
                  <a:lnTo>
                    <a:pt x="792" y="0"/>
                  </a:lnTo>
                  <a:lnTo>
                    <a:pt x="814" y="1"/>
                  </a:lnTo>
                  <a:lnTo>
                    <a:pt x="834" y="2"/>
                  </a:lnTo>
                  <a:lnTo>
                    <a:pt x="854" y="6"/>
                  </a:lnTo>
                  <a:lnTo>
                    <a:pt x="873" y="11"/>
                  </a:lnTo>
                  <a:lnTo>
                    <a:pt x="890" y="17"/>
                  </a:lnTo>
                  <a:lnTo>
                    <a:pt x="907" y="25"/>
                  </a:lnTo>
                  <a:lnTo>
                    <a:pt x="921" y="35"/>
                  </a:lnTo>
                  <a:lnTo>
                    <a:pt x="921" y="4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49" name="Freeform 25"/>
            <p:cNvSpPr>
              <a:spLocks noChangeArrowheads="1"/>
            </p:cNvSpPr>
            <p:nvPr/>
          </p:nvSpPr>
          <p:spPr bwMode="auto">
            <a:xfrm>
              <a:off x="7799388" y="6176956"/>
              <a:ext cx="352425" cy="203204"/>
            </a:xfrm>
            <a:custGeom>
              <a:avLst/>
              <a:gdLst>
                <a:gd name="T0" fmla="*/ 740 w 787"/>
                <a:gd name="T1" fmla="*/ 24 h 364"/>
                <a:gd name="T2" fmla="*/ 751 w 787"/>
                <a:gd name="T3" fmla="*/ 36 h 364"/>
                <a:gd name="T4" fmla="*/ 760 w 787"/>
                <a:gd name="T5" fmla="*/ 50 h 364"/>
                <a:gd name="T6" fmla="*/ 767 w 787"/>
                <a:gd name="T7" fmla="*/ 64 h 364"/>
                <a:gd name="T8" fmla="*/ 775 w 787"/>
                <a:gd name="T9" fmla="*/ 81 h 364"/>
                <a:gd name="T10" fmla="*/ 780 w 787"/>
                <a:gd name="T11" fmla="*/ 98 h 364"/>
                <a:gd name="T12" fmla="*/ 784 w 787"/>
                <a:gd name="T13" fmla="*/ 117 h 364"/>
                <a:gd name="T14" fmla="*/ 786 w 787"/>
                <a:gd name="T15" fmla="*/ 136 h 364"/>
                <a:gd name="T16" fmla="*/ 787 w 787"/>
                <a:gd name="T17" fmla="*/ 157 h 364"/>
                <a:gd name="T18" fmla="*/ 787 w 787"/>
                <a:gd name="T19" fmla="*/ 179 h 364"/>
                <a:gd name="T20" fmla="*/ 786 w 787"/>
                <a:gd name="T21" fmla="*/ 202 h 364"/>
                <a:gd name="T22" fmla="*/ 784 w 787"/>
                <a:gd name="T23" fmla="*/ 227 h 364"/>
                <a:gd name="T24" fmla="*/ 780 w 787"/>
                <a:gd name="T25" fmla="*/ 252 h 364"/>
                <a:gd name="T26" fmla="*/ 776 w 787"/>
                <a:gd name="T27" fmla="*/ 278 h 364"/>
                <a:gd name="T28" fmla="*/ 769 w 787"/>
                <a:gd name="T29" fmla="*/ 306 h 364"/>
                <a:gd name="T30" fmla="*/ 761 w 787"/>
                <a:gd name="T31" fmla="*/ 335 h 364"/>
                <a:gd name="T32" fmla="*/ 753 w 787"/>
                <a:gd name="T33" fmla="*/ 364 h 364"/>
                <a:gd name="T34" fmla="*/ 0 w 787"/>
                <a:gd name="T35" fmla="*/ 364 h 364"/>
                <a:gd name="T36" fmla="*/ 31 w 787"/>
                <a:gd name="T37" fmla="*/ 337 h 364"/>
                <a:gd name="T38" fmla="*/ 63 w 787"/>
                <a:gd name="T39" fmla="*/ 311 h 364"/>
                <a:gd name="T40" fmla="*/ 94 w 787"/>
                <a:gd name="T41" fmla="*/ 287 h 364"/>
                <a:gd name="T42" fmla="*/ 125 w 787"/>
                <a:gd name="T43" fmla="*/ 263 h 364"/>
                <a:gd name="T44" fmla="*/ 154 w 787"/>
                <a:gd name="T45" fmla="*/ 240 h 364"/>
                <a:gd name="T46" fmla="*/ 184 w 787"/>
                <a:gd name="T47" fmla="*/ 218 h 364"/>
                <a:gd name="T48" fmla="*/ 214 w 787"/>
                <a:gd name="T49" fmla="*/ 197 h 364"/>
                <a:gd name="T50" fmla="*/ 243 w 787"/>
                <a:gd name="T51" fmla="*/ 176 h 364"/>
                <a:gd name="T52" fmla="*/ 272 w 787"/>
                <a:gd name="T53" fmla="*/ 158 h 364"/>
                <a:gd name="T54" fmla="*/ 300 w 787"/>
                <a:gd name="T55" fmla="*/ 140 h 364"/>
                <a:gd name="T56" fmla="*/ 328 w 787"/>
                <a:gd name="T57" fmla="*/ 123 h 364"/>
                <a:gd name="T58" fmla="*/ 354 w 787"/>
                <a:gd name="T59" fmla="*/ 107 h 364"/>
                <a:gd name="T60" fmla="*/ 381 w 787"/>
                <a:gd name="T61" fmla="*/ 92 h 364"/>
                <a:gd name="T62" fmla="*/ 407 w 787"/>
                <a:gd name="T63" fmla="*/ 78 h 364"/>
                <a:gd name="T64" fmla="*/ 432 w 787"/>
                <a:gd name="T65" fmla="*/ 66 h 364"/>
                <a:gd name="T66" fmla="*/ 456 w 787"/>
                <a:gd name="T67" fmla="*/ 54 h 364"/>
                <a:gd name="T68" fmla="*/ 480 w 787"/>
                <a:gd name="T69" fmla="*/ 43 h 364"/>
                <a:gd name="T70" fmla="*/ 503 w 787"/>
                <a:gd name="T71" fmla="*/ 34 h 364"/>
                <a:gd name="T72" fmla="*/ 525 w 787"/>
                <a:gd name="T73" fmla="*/ 26 h 364"/>
                <a:gd name="T74" fmla="*/ 547 w 787"/>
                <a:gd name="T75" fmla="*/ 19 h 364"/>
                <a:gd name="T76" fmla="*/ 568 w 787"/>
                <a:gd name="T77" fmla="*/ 12 h 364"/>
                <a:gd name="T78" fmla="*/ 588 w 787"/>
                <a:gd name="T79" fmla="*/ 8 h 364"/>
                <a:gd name="T80" fmla="*/ 607 w 787"/>
                <a:gd name="T81" fmla="*/ 4 h 364"/>
                <a:gd name="T82" fmla="*/ 625 w 787"/>
                <a:gd name="T83" fmla="*/ 1 h 364"/>
                <a:gd name="T84" fmla="*/ 643 w 787"/>
                <a:gd name="T85" fmla="*/ 0 h 364"/>
                <a:gd name="T86" fmla="*/ 660 w 787"/>
                <a:gd name="T87" fmla="*/ 0 h 364"/>
                <a:gd name="T88" fmla="*/ 676 w 787"/>
                <a:gd name="T89" fmla="*/ 1 h 364"/>
                <a:gd name="T90" fmla="*/ 690 w 787"/>
                <a:gd name="T91" fmla="*/ 3 h 364"/>
                <a:gd name="T92" fmla="*/ 705 w 787"/>
                <a:gd name="T93" fmla="*/ 6 h 364"/>
                <a:gd name="T94" fmla="*/ 717 w 787"/>
                <a:gd name="T95" fmla="*/ 10 h 364"/>
                <a:gd name="T96" fmla="*/ 729 w 787"/>
                <a:gd name="T97" fmla="*/ 17 h 364"/>
                <a:gd name="T98" fmla="*/ 740 w 787"/>
                <a:gd name="T99" fmla="*/ 2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87" h="364">
                  <a:moveTo>
                    <a:pt x="740" y="24"/>
                  </a:moveTo>
                  <a:lnTo>
                    <a:pt x="751" y="36"/>
                  </a:lnTo>
                  <a:lnTo>
                    <a:pt x="760" y="50"/>
                  </a:lnTo>
                  <a:lnTo>
                    <a:pt x="767" y="64"/>
                  </a:lnTo>
                  <a:lnTo>
                    <a:pt x="775" y="81"/>
                  </a:lnTo>
                  <a:lnTo>
                    <a:pt x="780" y="98"/>
                  </a:lnTo>
                  <a:lnTo>
                    <a:pt x="784" y="117"/>
                  </a:lnTo>
                  <a:lnTo>
                    <a:pt x="786" y="136"/>
                  </a:lnTo>
                  <a:lnTo>
                    <a:pt x="787" y="157"/>
                  </a:lnTo>
                  <a:lnTo>
                    <a:pt x="787" y="179"/>
                  </a:lnTo>
                  <a:lnTo>
                    <a:pt x="786" y="202"/>
                  </a:lnTo>
                  <a:lnTo>
                    <a:pt x="784" y="227"/>
                  </a:lnTo>
                  <a:lnTo>
                    <a:pt x="780" y="252"/>
                  </a:lnTo>
                  <a:lnTo>
                    <a:pt x="776" y="278"/>
                  </a:lnTo>
                  <a:lnTo>
                    <a:pt x="769" y="306"/>
                  </a:lnTo>
                  <a:lnTo>
                    <a:pt x="761" y="335"/>
                  </a:lnTo>
                  <a:lnTo>
                    <a:pt x="753" y="364"/>
                  </a:lnTo>
                  <a:lnTo>
                    <a:pt x="0" y="364"/>
                  </a:lnTo>
                  <a:lnTo>
                    <a:pt x="31" y="337"/>
                  </a:lnTo>
                  <a:lnTo>
                    <a:pt x="63" y="311"/>
                  </a:lnTo>
                  <a:lnTo>
                    <a:pt x="94" y="287"/>
                  </a:lnTo>
                  <a:lnTo>
                    <a:pt x="125" y="263"/>
                  </a:lnTo>
                  <a:lnTo>
                    <a:pt x="154" y="240"/>
                  </a:lnTo>
                  <a:lnTo>
                    <a:pt x="184" y="218"/>
                  </a:lnTo>
                  <a:lnTo>
                    <a:pt x="214" y="197"/>
                  </a:lnTo>
                  <a:lnTo>
                    <a:pt x="243" y="176"/>
                  </a:lnTo>
                  <a:lnTo>
                    <a:pt x="272" y="158"/>
                  </a:lnTo>
                  <a:lnTo>
                    <a:pt x="300" y="140"/>
                  </a:lnTo>
                  <a:lnTo>
                    <a:pt x="328" y="123"/>
                  </a:lnTo>
                  <a:lnTo>
                    <a:pt x="354" y="107"/>
                  </a:lnTo>
                  <a:lnTo>
                    <a:pt x="381" y="92"/>
                  </a:lnTo>
                  <a:lnTo>
                    <a:pt x="407" y="78"/>
                  </a:lnTo>
                  <a:lnTo>
                    <a:pt x="432" y="66"/>
                  </a:lnTo>
                  <a:lnTo>
                    <a:pt x="456" y="54"/>
                  </a:lnTo>
                  <a:lnTo>
                    <a:pt x="480" y="43"/>
                  </a:lnTo>
                  <a:lnTo>
                    <a:pt x="503" y="34"/>
                  </a:lnTo>
                  <a:lnTo>
                    <a:pt x="525" y="26"/>
                  </a:lnTo>
                  <a:lnTo>
                    <a:pt x="547" y="19"/>
                  </a:lnTo>
                  <a:lnTo>
                    <a:pt x="568" y="12"/>
                  </a:lnTo>
                  <a:lnTo>
                    <a:pt x="588" y="8"/>
                  </a:lnTo>
                  <a:lnTo>
                    <a:pt x="607" y="4"/>
                  </a:lnTo>
                  <a:lnTo>
                    <a:pt x="625" y="1"/>
                  </a:lnTo>
                  <a:lnTo>
                    <a:pt x="643" y="0"/>
                  </a:lnTo>
                  <a:lnTo>
                    <a:pt x="660" y="0"/>
                  </a:lnTo>
                  <a:lnTo>
                    <a:pt x="676" y="1"/>
                  </a:lnTo>
                  <a:lnTo>
                    <a:pt x="690" y="3"/>
                  </a:lnTo>
                  <a:lnTo>
                    <a:pt x="705" y="6"/>
                  </a:lnTo>
                  <a:lnTo>
                    <a:pt x="717" y="10"/>
                  </a:lnTo>
                  <a:lnTo>
                    <a:pt x="729" y="17"/>
                  </a:lnTo>
                  <a:lnTo>
                    <a:pt x="740" y="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0" name="Freeform 26"/>
            <p:cNvSpPr>
              <a:spLocks noChangeArrowheads="1"/>
            </p:cNvSpPr>
            <p:nvPr/>
          </p:nvSpPr>
          <p:spPr bwMode="auto">
            <a:xfrm>
              <a:off x="7151688" y="4294141"/>
              <a:ext cx="790575" cy="1339878"/>
            </a:xfrm>
            <a:custGeom>
              <a:avLst/>
              <a:gdLst>
                <a:gd name="T0" fmla="*/ 123 w 1771"/>
                <a:gd name="T1" fmla="*/ 22 h 2417"/>
                <a:gd name="T2" fmla="*/ 194 w 1771"/>
                <a:gd name="T3" fmla="*/ 1 h 2417"/>
                <a:gd name="T4" fmla="*/ 275 w 1771"/>
                <a:gd name="T5" fmla="*/ 6 h 2417"/>
                <a:gd name="T6" fmla="*/ 430 w 1771"/>
                <a:gd name="T7" fmla="*/ 62 h 2417"/>
                <a:gd name="T8" fmla="*/ 630 w 1771"/>
                <a:gd name="T9" fmla="*/ 201 h 2417"/>
                <a:gd name="T10" fmla="*/ 833 w 1771"/>
                <a:gd name="T11" fmla="*/ 393 h 2417"/>
                <a:gd name="T12" fmla="*/ 1046 w 1771"/>
                <a:gd name="T13" fmla="*/ 639 h 2417"/>
                <a:gd name="T14" fmla="*/ 1197 w 1771"/>
                <a:gd name="T15" fmla="*/ 842 h 2417"/>
                <a:gd name="T16" fmla="*/ 1297 w 1771"/>
                <a:gd name="T17" fmla="*/ 987 h 2417"/>
                <a:gd name="T18" fmla="*/ 1422 w 1771"/>
                <a:gd name="T19" fmla="*/ 1178 h 2417"/>
                <a:gd name="T20" fmla="*/ 1529 w 1771"/>
                <a:gd name="T21" fmla="*/ 1365 h 2417"/>
                <a:gd name="T22" fmla="*/ 1631 w 1771"/>
                <a:gd name="T23" fmla="*/ 1578 h 2417"/>
                <a:gd name="T24" fmla="*/ 1715 w 1771"/>
                <a:gd name="T25" fmla="*/ 1807 h 2417"/>
                <a:gd name="T26" fmla="*/ 1761 w 1771"/>
                <a:gd name="T27" fmla="*/ 2012 h 2417"/>
                <a:gd name="T28" fmla="*/ 1770 w 1771"/>
                <a:gd name="T29" fmla="*/ 2184 h 2417"/>
                <a:gd name="T30" fmla="*/ 1737 w 1771"/>
                <a:gd name="T31" fmla="*/ 2315 h 2417"/>
                <a:gd name="T32" fmla="*/ 1672 w 1771"/>
                <a:gd name="T33" fmla="*/ 2392 h 2417"/>
                <a:gd name="T34" fmla="*/ 1662 w 1771"/>
                <a:gd name="T35" fmla="*/ 2398 h 2417"/>
                <a:gd name="T36" fmla="*/ 1561 w 1771"/>
                <a:gd name="T37" fmla="*/ 2417 h 2417"/>
                <a:gd name="T38" fmla="*/ 1491 w 1771"/>
                <a:gd name="T39" fmla="*/ 2405 h 2417"/>
                <a:gd name="T40" fmla="*/ 1381 w 1771"/>
                <a:gd name="T41" fmla="*/ 2361 h 2417"/>
                <a:gd name="T42" fmla="*/ 1242 w 1771"/>
                <a:gd name="T43" fmla="*/ 2270 h 2417"/>
                <a:gd name="T44" fmla="*/ 1088 w 1771"/>
                <a:gd name="T45" fmla="*/ 2137 h 2417"/>
                <a:gd name="T46" fmla="*/ 924 w 1771"/>
                <a:gd name="T47" fmla="*/ 1966 h 2417"/>
                <a:gd name="T48" fmla="*/ 757 w 1771"/>
                <a:gd name="T49" fmla="*/ 1758 h 2417"/>
                <a:gd name="T50" fmla="*/ 591 w 1771"/>
                <a:gd name="T51" fmla="*/ 1519 h 2417"/>
                <a:gd name="T52" fmla="*/ 347 w 1771"/>
                <a:gd name="T53" fmla="*/ 1142 h 2417"/>
                <a:gd name="T54" fmla="*/ 132 w 1771"/>
                <a:gd name="T55" fmla="*/ 730 h 2417"/>
                <a:gd name="T56" fmla="*/ 60 w 1771"/>
                <a:gd name="T57" fmla="*/ 545 h 2417"/>
                <a:gd name="T58" fmla="*/ 15 w 1771"/>
                <a:gd name="T59" fmla="*/ 382 h 2417"/>
                <a:gd name="T60" fmla="*/ 0 w 1771"/>
                <a:gd name="T61" fmla="*/ 246 h 2417"/>
                <a:gd name="T62" fmla="*/ 25 w 1771"/>
                <a:gd name="T63" fmla="*/ 118 h 2417"/>
                <a:gd name="T64" fmla="*/ 83 w 1771"/>
                <a:gd name="T65" fmla="*/ 47 h 2417"/>
                <a:gd name="T66" fmla="*/ 188 w 1771"/>
                <a:gd name="T67" fmla="*/ 183 h 2417"/>
                <a:gd name="T68" fmla="*/ 181 w 1771"/>
                <a:gd name="T69" fmla="*/ 186 h 2417"/>
                <a:gd name="T70" fmla="*/ 170 w 1771"/>
                <a:gd name="T71" fmla="*/ 212 h 2417"/>
                <a:gd name="T72" fmla="*/ 176 w 1771"/>
                <a:gd name="T73" fmla="*/ 313 h 2417"/>
                <a:gd name="T74" fmla="*/ 206 w 1771"/>
                <a:gd name="T75" fmla="*/ 442 h 2417"/>
                <a:gd name="T76" fmla="*/ 290 w 1771"/>
                <a:gd name="T77" fmla="*/ 663 h 2417"/>
                <a:gd name="T78" fmla="*/ 496 w 1771"/>
                <a:gd name="T79" fmla="*/ 1055 h 2417"/>
                <a:gd name="T80" fmla="*/ 683 w 1771"/>
                <a:gd name="T81" fmla="*/ 1340 h 2417"/>
                <a:gd name="T82" fmla="*/ 835 w 1771"/>
                <a:gd name="T83" fmla="*/ 1577 h 2417"/>
                <a:gd name="T84" fmla="*/ 991 w 1771"/>
                <a:gd name="T85" fmla="*/ 1782 h 2417"/>
                <a:gd name="T86" fmla="*/ 1143 w 1771"/>
                <a:gd name="T87" fmla="*/ 1954 h 2417"/>
                <a:gd name="T88" fmla="*/ 1289 w 1771"/>
                <a:gd name="T89" fmla="*/ 2090 h 2417"/>
                <a:gd name="T90" fmla="*/ 1422 w 1771"/>
                <a:gd name="T91" fmla="*/ 2187 h 2417"/>
                <a:gd name="T92" fmla="*/ 1533 w 1771"/>
                <a:gd name="T93" fmla="*/ 2239 h 2417"/>
                <a:gd name="T94" fmla="*/ 1583 w 1771"/>
                <a:gd name="T95" fmla="*/ 2245 h 2417"/>
                <a:gd name="T96" fmla="*/ 1611 w 1771"/>
                <a:gd name="T97" fmla="*/ 2182 h 2417"/>
                <a:gd name="T98" fmla="*/ 1611 w 1771"/>
                <a:gd name="T99" fmla="*/ 2079 h 2417"/>
                <a:gd name="T100" fmla="*/ 1569 w 1771"/>
                <a:gd name="T101" fmla="*/ 1892 h 2417"/>
                <a:gd name="T102" fmla="*/ 1422 w 1771"/>
                <a:gd name="T103" fmla="*/ 1531 h 2417"/>
                <a:gd name="T104" fmla="*/ 1329 w 1771"/>
                <a:gd name="T105" fmla="*/ 1356 h 2417"/>
                <a:gd name="T106" fmla="*/ 1219 w 1771"/>
                <a:gd name="T107" fmla="*/ 1176 h 2417"/>
                <a:gd name="T108" fmla="*/ 1113 w 1771"/>
                <a:gd name="T109" fmla="*/ 1021 h 2417"/>
                <a:gd name="T110" fmla="*/ 1000 w 1771"/>
                <a:gd name="T111" fmla="*/ 861 h 2417"/>
                <a:gd name="T112" fmla="*/ 812 w 1771"/>
                <a:gd name="T113" fmla="*/ 625 h 2417"/>
                <a:gd name="T114" fmla="*/ 616 w 1771"/>
                <a:gd name="T115" fmla="*/ 418 h 2417"/>
                <a:gd name="T116" fmla="*/ 442 w 1771"/>
                <a:gd name="T117" fmla="*/ 270 h 2417"/>
                <a:gd name="T118" fmla="*/ 316 w 1771"/>
                <a:gd name="T119" fmla="*/ 194 h 2417"/>
                <a:gd name="T120" fmla="*/ 226 w 1771"/>
                <a:gd name="T121" fmla="*/ 168 h 2417"/>
                <a:gd name="T122" fmla="*/ 1134 w 1771"/>
                <a:gd name="T123" fmla="*/ 1052 h 2417"/>
                <a:gd name="T124" fmla="*/ 181 w 1771"/>
                <a:gd name="T125" fmla="*/ 186 h 2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1" h="2417">
                  <a:moveTo>
                    <a:pt x="99" y="36"/>
                  </a:moveTo>
                  <a:lnTo>
                    <a:pt x="99" y="36"/>
                  </a:lnTo>
                  <a:lnTo>
                    <a:pt x="102" y="34"/>
                  </a:lnTo>
                  <a:lnTo>
                    <a:pt x="101" y="34"/>
                  </a:lnTo>
                  <a:lnTo>
                    <a:pt x="111" y="28"/>
                  </a:lnTo>
                  <a:lnTo>
                    <a:pt x="123" y="22"/>
                  </a:lnTo>
                  <a:lnTo>
                    <a:pt x="134" y="17"/>
                  </a:lnTo>
                  <a:lnTo>
                    <a:pt x="145" y="13"/>
                  </a:lnTo>
                  <a:lnTo>
                    <a:pt x="157" y="9"/>
                  </a:lnTo>
                  <a:lnTo>
                    <a:pt x="169" y="6"/>
                  </a:lnTo>
                  <a:lnTo>
                    <a:pt x="181" y="3"/>
                  </a:lnTo>
                  <a:lnTo>
                    <a:pt x="194" y="1"/>
                  </a:lnTo>
                  <a:lnTo>
                    <a:pt x="206" y="0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47" y="1"/>
                  </a:lnTo>
                  <a:lnTo>
                    <a:pt x="261" y="3"/>
                  </a:lnTo>
                  <a:lnTo>
                    <a:pt x="275" y="6"/>
                  </a:lnTo>
                  <a:lnTo>
                    <a:pt x="290" y="9"/>
                  </a:lnTo>
                  <a:lnTo>
                    <a:pt x="304" y="12"/>
                  </a:lnTo>
                  <a:lnTo>
                    <a:pt x="335" y="21"/>
                  </a:lnTo>
                  <a:lnTo>
                    <a:pt x="366" y="32"/>
                  </a:lnTo>
                  <a:lnTo>
                    <a:pt x="398" y="47"/>
                  </a:lnTo>
                  <a:lnTo>
                    <a:pt x="430" y="62"/>
                  </a:lnTo>
                  <a:lnTo>
                    <a:pt x="464" y="82"/>
                  </a:lnTo>
                  <a:lnTo>
                    <a:pt x="498" y="102"/>
                  </a:lnTo>
                  <a:lnTo>
                    <a:pt x="533" y="126"/>
                  </a:lnTo>
                  <a:lnTo>
                    <a:pt x="568" y="152"/>
                  </a:lnTo>
                  <a:lnTo>
                    <a:pt x="599" y="176"/>
                  </a:lnTo>
                  <a:lnTo>
                    <a:pt x="630" y="201"/>
                  </a:lnTo>
                  <a:lnTo>
                    <a:pt x="663" y="229"/>
                  </a:lnTo>
                  <a:lnTo>
                    <a:pt x="696" y="259"/>
                  </a:lnTo>
                  <a:lnTo>
                    <a:pt x="730" y="290"/>
                  </a:lnTo>
                  <a:lnTo>
                    <a:pt x="764" y="323"/>
                  </a:lnTo>
                  <a:lnTo>
                    <a:pt x="798" y="357"/>
                  </a:lnTo>
                  <a:lnTo>
                    <a:pt x="833" y="393"/>
                  </a:lnTo>
                  <a:lnTo>
                    <a:pt x="868" y="431"/>
                  </a:lnTo>
                  <a:lnTo>
                    <a:pt x="903" y="469"/>
                  </a:lnTo>
                  <a:lnTo>
                    <a:pt x="938" y="511"/>
                  </a:lnTo>
                  <a:lnTo>
                    <a:pt x="974" y="552"/>
                  </a:lnTo>
                  <a:lnTo>
                    <a:pt x="1011" y="595"/>
                  </a:lnTo>
                  <a:lnTo>
                    <a:pt x="1046" y="639"/>
                  </a:lnTo>
                  <a:lnTo>
                    <a:pt x="1082" y="686"/>
                  </a:lnTo>
                  <a:lnTo>
                    <a:pt x="1118" y="733"/>
                  </a:lnTo>
                  <a:lnTo>
                    <a:pt x="1138" y="760"/>
                  </a:lnTo>
                  <a:lnTo>
                    <a:pt x="1158" y="787"/>
                  </a:lnTo>
                  <a:lnTo>
                    <a:pt x="1177" y="815"/>
                  </a:lnTo>
                  <a:lnTo>
                    <a:pt x="1197" y="842"/>
                  </a:lnTo>
                  <a:lnTo>
                    <a:pt x="1217" y="869"/>
                  </a:lnTo>
                  <a:lnTo>
                    <a:pt x="1236" y="898"/>
                  </a:lnTo>
                  <a:lnTo>
                    <a:pt x="1256" y="926"/>
                  </a:lnTo>
                  <a:lnTo>
                    <a:pt x="1274" y="955"/>
                  </a:lnTo>
                  <a:lnTo>
                    <a:pt x="1297" y="987"/>
                  </a:lnTo>
                  <a:lnTo>
                    <a:pt x="1319" y="1019"/>
                  </a:lnTo>
                  <a:lnTo>
                    <a:pt x="1340" y="1051"/>
                  </a:lnTo>
                  <a:lnTo>
                    <a:pt x="1362" y="1083"/>
                  </a:lnTo>
                  <a:lnTo>
                    <a:pt x="1381" y="1114"/>
                  </a:lnTo>
                  <a:lnTo>
                    <a:pt x="1402" y="1146"/>
                  </a:lnTo>
                  <a:lnTo>
                    <a:pt x="1422" y="1178"/>
                  </a:lnTo>
                  <a:lnTo>
                    <a:pt x="1440" y="1209"/>
                  </a:lnTo>
                  <a:lnTo>
                    <a:pt x="1459" y="1240"/>
                  </a:lnTo>
                  <a:lnTo>
                    <a:pt x="1477" y="1271"/>
                  </a:lnTo>
                  <a:lnTo>
                    <a:pt x="1495" y="1303"/>
                  </a:lnTo>
                  <a:lnTo>
                    <a:pt x="1512" y="1334"/>
                  </a:lnTo>
                  <a:lnTo>
                    <a:pt x="1529" y="1365"/>
                  </a:lnTo>
                  <a:lnTo>
                    <a:pt x="1545" y="1395"/>
                  </a:lnTo>
                  <a:lnTo>
                    <a:pt x="1561" y="1426"/>
                  </a:lnTo>
                  <a:lnTo>
                    <a:pt x="1575" y="1456"/>
                  </a:lnTo>
                  <a:lnTo>
                    <a:pt x="1595" y="1497"/>
                  </a:lnTo>
                  <a:lnTo>
                    <a:pt x="1613" y="1537"/>
                  </a:lnTo>
                  <a:lnTo>
                    <a:pt x="1631" y="1578"/>
                  </a:lnTo>
                  <a:lnTo>
                    <a:pt x="1648" y="1617"/>
                  </a:lnTo>
                  <a:lnTo>
                    <a:pt x="1664" y="1656"/>
                  </a:lnTo>
                  <a:lnTo>
                    <a:pt x="1678" y="1695"/>
                  </a:lnTo>
                  <a:lnTo>
                    <a:pt x="1691" y="1733"/>
                  </a:lnTo>
                  <a:lnTo>
                    <a:pt x="1704" y="1770"/>
                  </a:lnTo>
                  <a:lnTo>
                    <a:pt x="1715" y="1807"/>
                  </a:lnTo>
                  <a:lnTo>
                    <a:pt x="1725" y="1844"/>
                  </a:lnTo>
                  <a:lnTo>
                    <a:pt x="1735" y="1879"/>
                  </a:lnTo>
                  <a:lnTo>
                    <a:pt x="1743" y="1913"/>
                  </a:lnTo>
                  <a:lnTo>
                    <a:pt x="1750" y="1947"/>
                  </a:lnTo>
                  <a:lnTo>
                    <a:pt x="1756" y="1980"/>
                  </a:lnTo>
                  <a:lnTo>
                    <a:pt x="1761" y="2012"/>
                  </a:lnTo>
                  <a:lnTo>
                    <a:pt x="1766" y="2042"/>
                  </a:lnTo>
                  <a:lnTo>
                    <a:pt x="1769" y="2072"/>
                  </a:lnTo>
                  <a:lnTo>
                    <a:pt x="1771" y="2102"/>
                  </a:lnTo>
                  <a:lnTo>
                    <a:pt x="1771" y="2130"/>
                  </a:lnTo>
                  <a:lnTo>
                    <a:pt x="1771" y="2158"/>
                  </a:lnTo>
                  <a:lnTo>
                    <a:pt x="1770" y="2184"/>
                  </a:lnTo>
                  <a:lnTo>
                    <a:pt x="1767" y="2208"/>
                  </a:lnTo>
                  <a:lnTo>
                    <a:pt x="1762" y="2232"/>
                  </a:lnTo>
                  <a:lnTo>
                    <a:pt x="1758" y="2255"/>
                  </a:lnTo>
                  <a:lnTo>
                    <a:pt x="1752" y="2276"/>
                  </a:lnTo>
                  <a:lnTo>
                    <a:pt x="1745" y="2296"/>
                  </a:lnTo>
                  <a:lnTo>
                    <a:pt x="1737" y="2315"/>
                  </a:lnTo>
                  <a:lnTo>
                    <a:pt x="1727" y="2332"/>
                  </a:lnTo>
                  <a:lnTo>
                    <a:pt x="1716" y="2349"/>
                  </a:lnTo>
                  <a:lnTo>
                    <a:pt x="1705" y="2363"/>
                  </a:lnTo>
                  <a:lnTo>
                    <a:pt x="1692" y="2376"/>
                  </a:lnTo>
                  <a:lnTo>
                    <a:pt x="1678" y="2388"/>
                  </a:lnTo>
                  <a:lnTo>
                    <a:pt x="1672" y="2392"/>
                  </a:lnTo>
                  <a:lnTo>
                    <a:pt x="1665" y="2396"/>
                  </a:lnTo>
                  <a:lnTo>
                    <a:pt x="1664" y="2397"/>
                  </a:lnTo>
                  <a:lnTo>
                    <a:pt x="1662" y="2398"/>
                  </a:lnTo>
                  <a:lnTo>
                    <a:pt x="1646" y="2404"/>
                  </a:lnTo>
                  <a:lnTo>
                    <a:pt x="1630" y="2409"/>
                  </a:lnTo>
                  <a:lnTo>
                    <a:pt x="1613" y="2414"/>
                  </a:lnTo>
                  <a:lnTo>
                    <a:pt x="1597" y="2416"/>
                  </a:lnTo>
                  <a:lnTo>
                    <a:pt x="1579" y="2417"/>
                  </a:lnTo>
                  <a:lnTo>
                    <a:pt x="1561" y="2417"/>
                  </a:lnTo>
                  <a:lnTo>
                    <a:pt x="1542" y="2416"/>
                  </a:lnTo>
                  <a:lnTo>
                    <a:pt x="1523" y="2413"/>
                  </a:lnTo>
                  <a:lnTo>
                    <a:pt x="1507" y="2409"/>
                  </a:lnTo>
                  <a:lnTo>
                    <a:pt x="1491" y="2405"/>
                  </a:lnTo>
                  <a:lnTo>
                    <a:pt x="1473" y="2400"/>
                  </a:lnTo>
                  <a:lnTo>
                    <a:pt x="1456" y="2394"/>
                  </a:lnTo>
                  <a:lnTo>
                    <a:pt x="1438" y="2387"/>
                  </a:lnTo>
                  <a:lnTo>
                    <a:pt x="1419" y="2380"/>
                  </a:lnTo>
                  <a:lnTo>
                    <a:pt x="1401" y="2370"/>
                  </a:lnTo>
                  <a:lnTo>
                    <a:pt x="1381" y="2361"/>
                  </a:lnTo>
                  <a:lnTo>
                    <a:pt x="1360" y="2349"/>
                  </a:lnTo>
                  <a:lnTo>
                    <a:pt x="1337" y="2335"/>
                  </a:lnTo>
                  <a:lnTo>
                    <a:pt x="1314" y="2321"/>
                  </a:lnTo>
                  <a:lnTo>
                    <a:pt x="1291" y="2305"/>
                  </a:lnTo>
                  <a:lnTo>
                    <a:pt x="1267" y="2289"/>
                  </a:lnTo>
                  <a:lnTo>
                    <a:pt x="1242" y="2270"/>
                  </a:lnTo>
                  <a:lnTo>
                    <a:pt x="1218" y="2251"/>
                  </a:lnTo>
                  <a:lnTo>
                    <a:pt x="1192" y="2230"/>
                  </a:lnTo>
                  <a:lnTo>
                    <a:pt x="1166" y="2208"/>
                  </a:lnTo>
                  <a:lnTo>
                    <a:pt x="1140" y="2186"/>
                  </a:lnTo>
                  <a:lnTo>
                    <a:pt x="1115" y="2162"/>
                  </a:lnTo>
                  <a:lnTo>
                    <a:pt x="1088" y="2137"/>
                  </a:lnTo>
                  <a:lnTo>
                    <a:pt x="1061" y="2112"/>
                  </a:lnTo>
                  <a:lnTo>
                    <a:pt x="1034" y="2085"/>
                  </a:lnTo>
                  <a:lnTo>
                    <a:pt x="1006" y="2056"/>
                  </a:lnTo>
                  <a:lnTo>
                    <a:pt x="980" y="2027"/>
                  </a:lnTo>
                  <a:lnTo>
                    <a:pt x="952" y="1997"/>
                  </a:lnTo>
                  <a:lnTo>
                    <a:pt x="924" y="1966"/>
                  </a:lnTo>
                  <a:lnTo>
                    <a:pt x="896" y="1933"/>
                  </a:lnTo>
                  <a:lnTo>
                    <a:pt x="868" y="1900"/>
                  </a:lnTo>
                  <a:lnTo>
                    <a:pt x="841" y="1866"/>
                  </a:lnTo>
                  <a:lnTo>
                    <a:pt x="813" y="1831"/>
                  </a:lnTo>
                  <a:lnTo>
                    <a:pt x="784" y="1795"/>
                  </a:lnTo>
                  <a:lnTo>
                    <a:pt x="757" y="1758"/>
                  </a:lnTo>
                  <a:lnTo>
                    <a:pt x="728" y="1721"/>
                  </a:lnTo>
                  <a:lnTo>
                    <a:pt x="702" y="1682"/>
                  </a:lnTo>
                  <a:lnTo>
                    <a:pt x="674" y="1642"/>
                  </a:lnTo>
                  <a:lnTo>
                    <a:pt x="646" y="1602"/>
                  </a:lnTo>
                  <a:lnTo>
                    <a:pt x="619" y="1561"/>
                  </a:lnTo>
                  <a:lnTo>
                    <a:pt x="591" y="1519"/>
                  </a:lnTo>
                  <a:lnTo>
                    <a:pt x="565" y="1475"/>
                  </a:lnTo>
                  <a:lnTo>
                    <a:pt x="539" y="1432"/>
                  </a:lnTo>
                  <a:lnTo>
                    <a:pt x="487" y="1359"/>
                  </a:lnTo>
                  <a:lnTo>
                    <a:pt x="439" y="1286"/>
                  </a:lnTo>
                  <a:lnTo>
                    <a:pt x="392" y="1214"/>
                  </a:lnTo>
                  <a:lnTo>
                    <a:pt x="347" y="1142"/>
                  </a:lnTo>
                  <a:lnTo>
                    <a:pt x="305" y="1070"/>
                  </a:lnTo>
                  <a:lnTo>
                    <a:pt x="266" y="1000"/>
                  </a:lnTo>
                  <a:lnTo>
                    <a:pt x="229" y="931"/>
                  </a:lnTo>
                  <a:lnTo>
                    <a:pt x="195" y="864"/>
                  </a:lnTo>
                  <a:lnTo>
                    <a:pt x="162" y="796"/>
                  </a:lnTo>
                  <a:lnTo>
                    <a:pt x="132" y="730"/>
                  </a:lnTo>
                  <a:lnTo>
                    <a:pt x="118" y="698"/>
                  </a:lnTo>
                  <a:lnTo>
                    <a:pt x="105" y="666"/>
                  </a:lnTo>
                  <a:lnTo>
                    <a:pt x="93" y="634"/>
                  </a:lnTo>
                  <a:lnTo>
                    <a:pt x="80" y="603"/>
                  </a:lnTo>
                  <a:lnTo>
                    <a:pt x="70" y="574"/>
                  </a:lnTo>
                  <a:lnTo>
                    <a:pt x="60" y="545"/>
                  </a:lnTo>
                  <a:lnTo>
                    <a:pt x="50" y="516"/>
                  </a:lnTo>
                  <a:lnTo>
                    <a:pt x="41" y="487"/>
                  </a:lnTo>
                  <a:lnTo>
                    <a:pt x="33" y="460"/>
                  </a:lnTo>
                  <a:lnTo>
                    <a:pt x="27" y="433"/>
                  </a:lnTo>
                  <a:lnTo>
                    <a:pt x="21" y="408"/>
                  </a:lnTo>
                  <a:lnTo>
                    <a:pt x="15" y="382"/>
                  </a:lnTo>
                  <a:lnTo>
                    <a:pt x="15" y="381"/>
                  </a:lnTo>
                  <a:lnTo>
                    <a:pt x="9" y="352"/>
                  </a:lnTo>
                  <a:lnTo>
                    <a:pt x="5" y="324"/>
                  </a:lnTo>
                  <a:lnTo>
                    <a:pt x="2" y="296"/>
                  </a:lnTo>
                  <a:lnTo>
                    <a:pt x="1" y="270"/>
                  </a:lnTo>
                  <a:lnTo>
                    <a:pt x="0" y="246"/>
                  </a:lnTo>
                  <a:lnTo>
                    <a:pt x="1" y="221"/>
                  </a:lnTo>
                  <a:lnTo>
                    <a:pt x="3" y="198"/>
                  </a:lnTo>
                  <a:lnTo>
                    <a:pt x="6" y="177"/>
                  </a:lnTo>
                  <a:lnTo>
                    <a:pt x="11" y="156"/>
                  </a:lnTo>
                  <a:lnTo>
                    <a:pt x="18" y="136"/>
                  </a:lnTo>
                  <a:lnTo>
                    <a:pt x="25" y="118"/>
                  </a:lnTo>
                  <a:lnTo>
                    <a:pt x="34" y="101"/>
                  </a:lnTo>
                  <a:lnTo>
                    <a:pt x="43" y="86"/>
                  </a:lnTo>
                  <a:lnTo>
                    <a:pt x="56" y="71"/>
                  </a:lnTo>
                  <a:lnTo>
                    <a:pt x="68" y="58"/>
                  </a:lnTo>
                  <a:lnTo>
                    <a:pt x="83" y="47"/>
                  </a:lnTo>
                  <a:lnTo>
                    <a:pt x="90" y="42"/>
                  </a:lnTo>
                  <a:lnTo>
                    <a:pt x="99" y="36"/>
                  </a:lnTo>
                  <a:close/>
                  <a:moveTo>
                    <a:pt x="196" y="177"/>
                  </a:moveTo>
                  <a:lnTo>
                    <a:pt x="193" y="179"/>
                  </a:lnTo>
                  <a:lnTo>
                    <a:pt x="188" y="183"/>
                  </a:lnTo>
                  <a:lnTo>
                    <a:pt x="182" y="186"/>
                  </a:lnTo>
                  <a:lnTo>
                    <a:pt x="181" y="186"/>
                  </a:lnTo>
                  <a:lnTo>
                    <a:pt x="178" y="189"/>
                  </a:lnTo>
                  <a:lnTo>
                    <a:pt x="175" y="193"/>
                  </a:lnTo>
                  <a:lnTo>
                    <a:pt x="173" y="198"/>
                  </a:lnTo>
                  <a:lnTo>
                    <a:pt x="171" y="204"/>
                  </a:lnTo>
                  <a:lnTo>
                    <a:pt x="170" y="212"/>
                  </a:lnTo>
                  <a:lnTo>
                    <a:pt x="169" y="219"/>
                  </a:lnTo>
                  <a:lnTo>
                    <a:pt x="168" y="228"/>
                  </a:lnTo>
                  <a:lnTo>
                    <a:pt x="168" y="237"/>
                  </a:lnTo>
                  <a:lnTo>
                    <a:pt x="169" y="259"/>
                  </a:lnTo>
                  <a:lnTo>
                    <a:pt x="171" y="285"/>
                  </a:lnTo>
                  <a:lnTo>
                    <a:pt x="176" y="313"/>
                  </a:lnTo>
                  <a:lnTo>
                    <a:pt x="181" y="345"/>
                  </a:lnTo>
                  <a:lnTo>
                    <a:pt x="182" y="348"/>
                  </a:lnTo>
                  <a:lnTo>
                    <a:pt x="187" y="370"/>
                  </a:lnTo>
                  <a:lnTo>
                    <a:pt x="193" y="393"/>
                  </a:lnTo>
                  <a:lnTo>
                    <a:pt x="199" y="417"/>
                  </a:lnTo>
                  <a:lnTo>
                    <a:pt x="206" y="442"/>
                  </a:lnTo>
                  <a:lnTo>
                    <a:pt x="213" y="467"/>
                  </a:lnTo>
                  <a:lnTo>
                    <a:pt x="223" y="493"/>
                  </a:lnTo>
                  <a:lnTo>
                    <a:pt x="232" y="520"/>
                  </a:lnTo>
                  <a:lnTo>
                    <a:pt x="242" y="547"/>
                  </a:lnTo>
                  <a:lnTo>
                    <a:pt x="264" y="604"/>
                  </a:lnTo>
                  <a:lnTo>
                    <a:pt x="290" y="663"/>
                  </a:lnTo>
                  <a:lnTo>
                    <a:pt x="317" y="724"/>
                  </a:lnTo>
                  <a:lnTo>
                    <a:pt x="348" y="788"/>
                  </a:lnTo>
                  <a:lnTo>
                    <a:pt x="381" y="853"/>
                  </a:lnTo>
                  <a:lnTo>
                    <a:pt x="417" y="919"/>
                  </a:lnTo>
                  <a:lnTo>
                    <a:pt x="455" y="987"/>
                  </a:lnTo>
                  <a:lnTo>
                    <a:pt x="496" y="1055"/>
                  </a:lnTo>
                  <a:lnTo>
                    <a:pt x="538" y="1125"/>
                  </a:lnTo>
                  <a:lnTo>
                    <a:pt x="583" y="1194"/>
                  </a:lnTo>
                  <a:lnTo>
                    <a:pt x="630" y="1265"/>
                  </a:lnTo>
                  <a:lnTo>
                    <a:pt x="679" y="1335"/>
                  </a:lnTo>
                  <a:lnTo>
                    <a:pt x="683" y="1340"/>
                  </a:lnTo>
                  <a:lnTo>
                    <a:pt x="708" y="1382"/>
                  </a:lnTo>
                  <a:lnTo>
                    <a:pt x="732" y="1423"/>
                  </a:lnTo>
                  <a:lnTo>
                    <a:pt x="758" y="1462"/>
                  </a:lnTo>
                  <a:lnTo>
                    <a:pt x="784" y="1501"/>
                  </a:lnTo>
                  <a:lnTo>
                    <a:pt x="810" y="1539"/>
                  </a:lnTo>
                  <a:lnTo>
                    <a:pt x="835" y="1577"/>
                  </a:lnTo>
                  <a:lnTo>
                    <a:pt x="861" y="1613"/>
                  </a:lnTo>
                  <a:lnTo>
                    <a:pt x="887" y="1649"/>
                  </a:lnTo>
                  <a:lnTo>
                    <a:pt x="913" y="1683"/>
                  </a:lnTo>
                  <a:lnTo>
                    <a:pt x="939" y="1717"/>
                  </a:lnTo>
                  <a:lnTo>
                    <a:pt x="965" y="1750"/>
                  </a:lnTo>
                  <a:lnTo>
                    <a:pt x="991" y="1782"/>
                  </a:lnTo>
                  <a:lnTo>
                    <a:pt x="1017" y="1813"/>
                  </a:lnTo>
                  <a:lnTo>
                    <a:pt x="1042" y="1842"/>
                  </a:lnTo>
                  <a:lnTo>
                    <a:pt x="1068" y="1872"/>
                  </a:lnTo>
                  <a:lnTo>
                    <a:pt x="1094" y="1900"/>
                  </a:lnTo>
                  <a:lnTo>
                    <a:pt x="1119" y="1928"/>
                  </a:lnTo>
                  <a:lnTo>
                    <a:pt x="1143" y="1954"/>
                  </a:lnTo>
                  <a:lnTo>
                    <a:pt x="1169" y="1980"/>
                  </a:lnTo>
                  <a:lnTo>
                    <a:pt x="1194" y="2003"/>
                  </a:lnTo>
                  <a:lnTo>
                    <a:pt x="1218" y="2027"/>
                  </a:lnTo>
                  <a:lnTo>
                    <a:pt x="1242" y="2049"/>
                  </a:lnTo>
                  <a:lnTo>
                    <a:pt x="1266" y="2069"/>
                  </a:lnTo>
                  <a:lnTo>
                    <a:pt x="1289" y="2090"/>
                  </a:lnTo>
                  <a:lnTo>
                    <a:pt x="1312" y="2108"/>
                  </a:lnTo>
                  <a:lnTo>
                    <a:pt x="1335" y="2127"/>
                  </a:lnTo>
                  <a:lnTo>
                    <a:pt x="1357" y="2143"/>
                  </a:lnTo>
                  <a:lnTo>
                    <a:pt x="1379" y="2159"/>
                  </a:lnTo>
                  <a:lnTo>
                    <a:pt x="1400" y="2173"/>
                  </a:lnTo>
                  <a:lnTo>
                    <a:pt x="1422" y="2187"/>
                  </a:lnTo>
                  <a:lnTo>
                    <a:pt x="1441" y="2198"/>
                  </a:lnTo>
                  <a:lnTo>
                    <a:pt x="1462" y="2209"/>
                  </a:lnTo>
                  <a:lnTo>
                    <a:pt x="1486" y="2222"/>
                  </a:lnTo>
                  <a:lnTo>
                    <a:pt x="1510" y="2232"/>
                  </a:lnTo>
                  <a:lnTo>
                    <a:pt x="1521" y="2235"/>
                  </a:lnTo>
                  <a:lnTo>
                    <a:pt x="1533" y="2239"/>
                  </a:lnTo>
                  <a:lnTo>
                    <a:pt x="1543" y="2241"/>
                  </a:lnTo>
                  <a:lnTo>
                    <a:pt x="1552" y="2243"/>
                  </a:lnTo>
                  <a:lnTo>
                    <a:pt x="1562" y="2246"/>
                  </a:lnTo>
                  <a:lnTo>
                    <a:pt x="1570" y="2246"/>
                  </a:lnTo>
                  <a:lnTo>
                    <a:pt x="1577" y="2246"/>
                  </a:lnTo>
                  <a:lnTo>
                    <a:pt x="1583" y="2245"/>
                  </a:lnTo>
                  <a:lnTo>
                    <a:pt x="1589" y="2237"/>
                  </a:lnTo>
                  <a:lnTo>
                    <a:pt x="1596" y="2228"/>
                  </a:lnTo>
                  <a:lnTo>
                    <a:pt x="1601" y="2219"/>
                  </a:lnTo>
                  <a:lnTo>
                    <a:pt x="1605" y="2207"/>
                  </a:lnTo>
                  <a:lnTo>
                    <a:pt x="1608" y="2195"/>
                  </a:lnTo>
                  <a:lnTo>
                    <a:pt x="1611" y="2182"/>
                  </a:lnTo>
                  <a:lnTo>
                    <a:pt x="1613" y="2167"/>
                  </a:lnTo>
                  <a:lnTo>
                    <a:pt x="1614" y="2151"/>
                  </a:lnTo>
                  <a:lnTo>
                    <a:pt x="1614" y="2134"/>
                  </a:lnTo>
                  <a:lnTo>
                    <a:pt x="1614" y="2117"/>
                  </a:lnTo>
                  <a:lnTo>
                    <a:pt x="1613" y="2098"/>
                  </a:lnTo>
                  <a:lnTo>
                    <a:pt x="1611" y="2079"/>
                  </a:lnTo>
                  <a:lnTo>
                    <a:pt x="1608" y="2059"/>
                  </a:lnTo>
                  <a:lnTo>
                    <a:pt x="1605" y="2037"/>
                  </a:lnTo>
                  <a:lnTo>
                    <a:pt x="1601" y="2015"/>
                  </a:lnTo>
                  <a:lnTo>
                    <a:pt x="1596" y="1992"/>
                  </a:lnTo>
                  <a:lnTo>
                    <a:pt x="1584" y="1943"/>
                  </a:lnTo>
                  <a:lnTo>
                    <a:pt x="1569" y="1892"/>
                  </a:lnTo>
                  <a:lnTo>
                    <a:pt x="1551" y="1838"/>
                  </a:lnTo>
                  <a:lnTo>
                    <a:pt x="1531" y="1781"/>
                  </a:lnTo>
                  <a:lnTo>
                    <a:pt x="1507" y="1722"/>
                  </a:lnTo>
                  <a:lnTo>
                    <a:pt x="1481" y="1660"/>
                  </a:lnTo>
                  <a:lnTo>
                    <a:pt x="1453" y="1597"/>
                  </a:lnTo>
                  <a:lnTo>
                    <a:pt x="1422" y="1531"/>
                  </a:lnTo>
                  <a:lnTo>
                    <a:pt x="1407" y="1502"/>
                  </a:lnTo>
                  <a:lnTo>
                    <a:pt x="1393" y="1473"/>
                  </a:lnTo>
                  <a:lnTo>
                    <a:pt x="1377" y="1445"/>
                  </a:lnTo>
                  <a:lnTo>
                    <a:pt x="1362" y="1415"/>
                  </a:lnTo>
                  <a:lnTo>
                    <a:pt x="1345" y="1386"/>
                  </a:lnTo>
                  <a:lnTo>
                    <a:pt x="1329" y="1356"/>
                  </a:lnTo>
                  <a:lnTo>
                    <a:pt x="1311" y="1326"/>
                  </a:lnTo>
                  <a:lnTo>
                    <a:pt x="1294" y="1296"/>
                  </a:lnTo>
                  <a:lnTo>
                    <a:pt x="1275" y="1266"/>
                  </a:lnTo>
                  <a:lnTo>
                    <a:pt x="1257" y="1236"/>
                  </a:lnTo>
                  <a:lnTo>
                    <a:pt x="1238" y="1206"/>
                  </a:lnTo>
                  <a:lnTo>
                    <a:pt x="1219" y="1176"/>
                  </a:lnTo>
                  <a:lnTo>
                    <a:pt x="1198" y="1146"/>
                  </a:lnTo>
                  <a:lnTo>
                    <a:pt x="1177" y="1115"/>
                  </a:lnTo>
                  <a:lnTo>
                    <a:pt x="1157" y="1085"/>
                  </a:lnTo>
                  <a:lnTo>
                    <a:pt x="1135" y="1054"/>
                  </a:lnTo>
                  <a:lnTo>
                    <a:pt x="1132" y="1049"/>
                  </a:lnTo>
                  <a:lnTo>
                    <a:pt x="1113" y="1021"/>
                  </a:lnTo>
                  <a:lnTo>
                    <a:pt x="1094" y="993"/>
                  </a:lnTo>
                  <a:lnTo>
                    <a:pt x="1075" y="965"/>
                  </a:lnTo>
                  <a:lnTo>
                    <a:pt x="1056" y="938"/>
                  </a:lnTo>
                  <a:lnTo>
                    <a:pt x="1037" y="913"/>
                  </a:lnTo>
                  <a:lnTo>
                    <a:pt x="1019" y="886"/>
                  </a:lnTo>
                  <a:lnTo>
                    <a:pt x="1000" y="861"/>
                  </a:lnTo>
                  <a:lnTo>
                    <a:pt x="982" y="835"/>
                  </a:lnTo>
                  <a:lnTo>
                    <a:pt x="948" y="791"/>
                  </a:lnTo>
                  <a:lnTo>
                    <a:pt x="914" y="748"/>
                  </a:lnTo>
                  <a:lnTo>
                    <a:pt x="880" y="705"/>
                  </a:lnTo>
                  <a:lnTo>
                    <a:pt x="846" y="664"/>
                  </a:lnTo>
                  <a:lnTo>
                    <a:pt x="812" y="625"/>
                  </a:lnTo>
                  <a:lnTo>
                    <a:pt x="779" y="587"/>
                  </a:lnTo>
                  <a:lnTo>
                    <a:pt x="746" y="550"/>
                  </a:lnTo>
                  <a:lnTo>
                    <a:pt x="713" y="515"/>
                  </a:lnTo>
                  <a:lnTo>
                    <a:pt x="680" y="481"/>
                  </a:lnTo>
                  <a:lnTo>
                    <a:pt x="648" y="449"/>
                  </a:lnTo>
                  <a:lnTo>
                    <a:pt x="616" y="418"/>
                  </a:lnTo>
                  <a:lnTo>
                    <a:pt x="585" y="389"/>
                  </a:lnTo>
                  <a:lnTo>
                    <a:pt x="554" y="361"/>
                  </a:lnTo>
                  <a:lnTo>
                    <a:pt x="524" y="335"/>
                  </a:lnTo>
                  <a:lnTo>
                    <a:pt x="495" y="311"/>
                  </a:lnTo>
                  <a:lnTo>
                    <a:pt x="466" y="288"/>
                  </a:lnTo>
                  <a:lnTo>
                    <a:pt x="442" y="270"/>
                  </a:lnTo>
                  <a:lnTo>
                    <a:pt x="418" y="255"/>
                  </a:lnTo>
                  <a:lnTo>
                    <a:pt x="397" y="240"/>
                  </a:lnTo>
                  <a:lnTo>
                    <a:pt x="375" y="226"/>
                  </a:lnTo>
                  <a:lnTo>
                    <a:pt x="354" y="214"/>
                  </a:lnTo>
                  <a:lnTo>
                    <a:pt x="335" y="203"/>
                  </a:lnTo>
                  <a:lnTo>
                    <a:pt x="316" y="194"/>
                  </a:lnTo>
                  <a:lnTo>
                    <a:pt x="299" y="186"/>
                  </a:lnTo>
                  <a:lnTo>
                    <a:pt x="282" y="180"/>
                  </a:lnTo>
                  <a:lnTo>
                    <a:pt x="266" y="175"/>
                  </a:lnTo>
                  <a:lnTo>
                    <a:pt x="251" y="170"/>
                  </a:lnTo>
                  <a:lnTo>
                    <a:pt x="238" y="168"/>
                  </a:lnTo>
                  <a:lnTo>
                    <a:pt x="226" y="168"/>
                  </a:lnTo>
                  <a:lnTo>
                    <a:pt x="215" y="169"/>
                  </a:lnTo>
                  <a:lnTo>
                    <a:pt x="205" y="173"/>
                  </a:lnTo>
                  <a:lnTo>
                    <a:pt x="197" y="177"/>
                  </a:lnTo>
                  <a:lnTo>
                    <a:pt x="196" y="177"/>
                  </a:lnTo>
                  <a:close/>
                  <a:moveTo>
                    <a:pt x="1135" y="1054"/>
                  </a:moveTo>
                  <a:lnTo>
                    <a:pt x="1134" y="1052"/>
                  </a:lnTo>
                  <a:lnTo>
                    <a:pt x="1135" y="1054"/>
                  </a:lnTo>
                  <a:close/>
                  <a:moveTo>
                    <a:pt x="1135" y="1054"/>
                  </a:moveTo>
                  <a:lnTo>
                    <a:pt x="1135" y="1054"/>
                  </a:lnTo>
                  <a:close/>
                  <a:moveTo>
                    <a:pt x="182" y="186"/>
                  </a:moveTo>
                  <a:lnTo>
                    <a:pt x="181" y="186"/>
                  </a:lnTo>
                  <a:lnTo>
                    <a:pt x="182" y="1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1" name="Freeform 27"/>
            <p:cNvSpPr>
              <a:spLocks noChangeArrowheads="1"/>
            </p:cNvSpPr>
            <p:nvPr/>
          </p:nvSpPr>
          <p:spPr bwMode="auto">
            <a:xfrm>
              <a:off x="7188200" y="4338592"/>
              <a:ext cx="719138" cy="1241451"/>
            </a:xfrm>
            <a:custGeom>
              <a:avLst/>
              <a:gdLst>
                <a:gd name="T0" fmla="*/ 92 w 1605"/>
                <a:gd name="T1" fmla="*/ 6 h 2247"/>
                <a:gd name="T2" fmla="*/ 157 w 1605"/>
                <a:gd name="T3" fmla="*/ 1 h 2247"/>
                <a:gd name="T4" fmla="*/ 235 w 1605"/>
                <a:gd name="T5" fmla="*/ 21 h 2247"/>
                <a:gd name="T6" fmla="*/ 324 w 1605"/>
                <a:gd name="T7" fmla="*/ 64 h 2247"/>
                <a:gd name="T8" fmla="*/ 422 w 1605"/>
                <a:gd name="T9" fmla="*/ 129 h 2247"/>
                <a:gd name="T10" fmla="*/ 528 w 1605"/>
                <a:gd name="T11" fmla="*/ 215 h 2247"/>
                <a:gd name="T12" fmla="*/ 640 w 1605"/>
                <a:gd name="T13" fmla="*/ 320 h 2247"/>
                <a:gd name="T14" fmla="*/ 757 w 1605"/>
                <a:gd name="T15" fmla="*/ 445 h 2247"/>
                <a:gd name="T16" fmla="*/ 876 w 1605"/>
                <a:gd name="T17" fmla="*/ 587 h 2247"/>
                <a:gd name="T18" fmla="*/ 997 w 1605"/>
                <a:gd name="T19" fmla="*/ 745 h 2247"/>
                <a:gd name="T20" fmla="*/ 1117 w 1605"/>
                <a:gd name="T21" fmla="*/ 917 h 2247"/>
                <a:gd name="T22" fmla="*/ 1229 w 1605"/>
                <a:gd name="T23" fmla="*/ 1084 h 2247"/>
                <a:gd name="T24" fmla="*/ 1328 w 1605"/>
                <a:gd name="T25" fmla="*/ 1249 h 2247"/>
                <a:gd name="T26" fmla="*/ 1413 w 1605"/>
                <a:gd name="T27" fmla="*/ 1409 h 2247"/>
                <a:gd name="T28" fmla="*/ 1482 w 1605"/>
                <a:gd name="T29" fmla="*/ 1562 h 2247"/>
                <a:gd name="T30" fmla="*/ 1536 w 1605"/>
                <a:gd name="T31" fmla="*/ 1706 h 2247"/>
                <a:gd name="T32" fmla="*/ 1576 w 1605"/>
                <a:gd name="T33" fmla="*/ 1838 h 2247"/>
                <a:gd name="T34" fmla="*/ 1599 w 1605"/>
                <a:gd name="T35" fmla="*/ 1956 h 2247"/>
                <a:gd name="T36" fmla="*/ 1605 w 1605"/>
                <a:gd name="T37" fmla="*/ 2058 h 2247"/>
                <a:gd name="T38" fmla="*/ 1596 w 1605"/>
                <a:gd name="T39" fmla="*/ 2143 h 2247"/>
                <a:gd name="T40" fmla="*/ 1568 w 1605"/>
                <a:gd name="T41" fmla="*/ 2206 h 2247"/>
                <a:gd name="T42" fmla="*/ 1524 w 1605"/>
                <a:gd name="T43" fmla="*/ 2241 h 2247"/>
                <a:gd name="T44" fmla="*/ 1464 w 1605"/>
                <a:gd name="T45" fmla="*/ 2245 h 2247"/>
                <a:gd name="T46" fmla="*/ 1391 w 1605"/>
                <a:gd name="T47" fmla="*/ 2225 h 2247"/>
                <a:gd name="T48" fmla="*/ 1307 w 1605"/>
                <a:gd name="T49" fmla="*/ 2184 h 2247"/>
                <a:gd name="T50" fmla="*/ 1213 w 1605"/>
                <a:gd name="T51" fmla="*/ 2121 h 2247"/>
                <a:gd name="T52" fmla="*/ 1112 w 1605"/>
                <a:gd name="T53" fmla="*/ 2038 h 2247"/>
                <a:gd name="T54" fmla="*/ 1005 w 1605"/>
                <a:gd name="T55" fmla="*/ 1936 h 2247"/>
                <a:gd name="T56" fmla="*/ 895 w 1605"/>
                <a:gd name="T57" fmla="*/ 1816 h 2247"/>
                <a:gd name="T58" fmla="*/ 782 w 1605"/>
                <a:gd name="T59" fmla="*/ 1679 h 2247"/>
                <a:gd name="T60" fmla="*/ 670 w 1605"/>
                <a:gd name="T61" fmla="*/ 1527 h 2247"/>
                <a:gd name="T62" fmla="*/ 560 w 1605"/>
                <a:gd name="T63" fmla="*/ 1359 h 2247"/>
                <a:gd name="T64" fmla="*/ 447 w 1605"/>
                <a:gd name="T65" fmla="*/ 1188 h 2247"/>
                <a:gd name="T66" fmla="*/ 341 w 1605"/>
                <a:gd name="T67" fmla="*/ 1022 h 2247"/>
                <a:gd name="T68" fmla="*/ 248 w 1605"/>
                <a:gd name="T69" fmla="*/ 862 h 2247"/>
                <a:gd name="T70" fmla="*/ 169 w 1605"/>
                <a:gd name="T71" fmla="*/ 707 h 2247"/>
                <a:gd name="T72" fmla="*/ 104 w 1605"/>
                <a:gd name="T73" fmla="*/ 562 h 2247"/>
                <a:gd name="T74" fmla="*/ 53 w 1605"/>
                <a:gd name="T75" fmla="*/ 428 h 2247"/>
                <a:gd name="T76" fmla="*/ 19 w 1605"/>
                <a:gd name="T77" fmla="*/ 308 h 2247"/>
                <a:gd name="T78" fmla="*/ 2 w 1605"/>
                <a:gd name="T79" fmla="*/ 206 h 2247"/>
                <a:gd name="T80" fmla="*/ 2 w 1605"/>
                <a:gd name="T81" fmla="*/ 123 h 2247"/>
                <a:gd name="T82" fmla="*/ 20 w 1605"/>
                <a:gd name="T83" fmla="*/ 62 h 2247"/>
                <a:gd name="T84" fmla="*/ 57 w 1605"/>
                <a:gd name="T85" fmla="*/ 25 h 2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05" h="2247">
                  <a:moveTo>
                    <a:pt x="57" y="25"/>
                  </a:moveTo>
                  <a:lnTo>
                    <a:pt x="74" y="14"/>
                  </a:lnTo>
                  <a:lnTo>
                    <a:pt x="92" y="6"/>
                  </a:lnTo>
                  <a:lnTo>
                    <a:pt x="113" y="2"/>
                  </a:lnTo>
                  <a:lnTo>
                    <a:pt x="135" y="0"/>
                  </a:lnTo>
                  <a:lnTo>
                    <a:pt x="157" y="1"/>
                  </a:lnTo>
                  <a:lnTo>
                    <a:pt x="182" y="5"/>
                  </a:lnTo>
                  <a:lnTo>
                    <a:pt x="208" y="11"/>
                  </a:lnTo>
                  <a:lnTo>
                    <a:pt x="235" y="21"/>
                  </a:lnTo>
                  <a:lnTo>
                    <a:pt x="263" y="33"/>
                  </a:lnTo>
                  <a:lnTo>
                    <a:pt x="293" y="46"/>
                  </a:lnTo>
                  <a:lnTo>
                    <a:pt x="324" y="64"/>
                  </a:lnTo>
                  <a:lnTo>
                    <a:pt x="356" y="82"/>
                  </a:lnTo>
                  <a:lnTo>
                    <a:pt x="388" y="105"/>
                  </a:lnTo>
                  <a:lnTo>
                    <a:pt x="422" y="129"/>
                  </a:lnTo>
                  <a:lnTo>
                    <a:pt x="457" y="156"/>
                  </a:lnTo>
                  <a:lnTo>
                    <a:pt x="492" y="183"/>
                  </a:lnTo>
                  <a:lnTo>
                    <a:pt x="528" y="215"/>
                  </a:lnTo>
                  <a:lnTo>
                    <a:pt x="565" y="248"/>
                  </a:lnTo>
                  <a:lnTo>
                    <a:pt x="602" y="283"/>
                  </a:lnTo>
                  <a:lnTo>
                    <a:pt x="640" y="320"/>
                  </a:lnTo>
                  <a:lnTo>
                    <a:pt x="678" y="361"/>
                  </a:lnTo>
                  <a:lnTo>
                    <a:pt x="718" y="402"/>
                  </a:lnTo>
                  <a:lnTo>
                    <a:pt x="757" y="445"/>
                  </a:lnTo>
                  <a:lnTo>
                    <a:pt x="797" y="491"/>
                  </a:lnTo>
                  <a:lnTo>
                    <a:pt x="836" y="538"/>
                  </a:lnTo>
                  <a:lnTo>
                    <a:pt x="876" y="587"/>
                  </a:lnTo>
                  <a:lnTo>
                    <a:pt x="916" y="638"/>
                  </a:lnTo>
                  <a:lnTo>
                    <a:pt x="956" y="691"/>
                  </a:lnTo>
                  <a:lnTo>
                    <a:pt x="997" y="745"/>
                  </a:lnTo>
                  <a:lnTo>
                    <a:pt x="1037" y="801"/>
                  </a:lnTo>
                  <a:lnTo>
                    <a:pt x="1077" y="858"/>
                  </a:lnTo>
                  <a:lnTo>
                    <a:pt x="1117" y="917"/>
                  </a:lnTo>
                  <a:lnTo>
                    <a:pt x="1156" y="973"/>
                  </a:lnTo>
                  <a:lnTo>
                    <a:pt x="1193" y="1029"/>
                  </a:lnTo>
                  <a:lnTo>
                    <a:pt x="1229" y="1084"/>
                  </a:lnTo>
                  <a:lnTo>
                    <a:pt x="1264" y="1139"/>
                  </a:lnTo>
                  <a:lnTo>
                    <a:pt x="1296" y="1195"/>
                  </a:lnTo>
                  <a:lnTo>
                    <a:pt x="1328" y="1249"/>
                  </a:lnTo>
                  <a:lnTo>
                    <a:pt x="1358" y="1303"/>
                  </a:lnTo>
                  <a:lnTo>
                    <a:pt x="1386" y="1356"/>
                  </a:lnTo>
                  <a:lnTo>
                    <a:pt x="1413" y="1409"/>
                  </a:lnTo>
                  <a:lnTo>
                    <a:pt x="1437" y="1461"/>
                  </a:lnTo>
                  <a:lnTo>
                    <a:pt x="1460" y="1512"/>
                  </a:lnTo>
                  <a:lnTo>
                    <a:pt x="1482" y="1562"/>
                  </a:lnTo>
                  <a:lnTo>
                    <a:pt x="1502" y="1611"/>
                  </a:lnTo>
                  <a:lnTo>
                    <a:pt x="1520" y="1660"/>
                  </a:lnTo>
                  <a:lnTo>
                    <a:pt x="1536" y="1706"/>
                  </a:lnTo>
                  <a:lnTo>
                    <a:pt x="1552" y="1751"/>
                  </a:lnTo>
                  <a:lnTo>
                    <a:pt x="1564" y="1796"/>
                  </a:lnTo>
                  <a:lnTo>
                    <a:pt x="1576" y="1838"/>
                  </a:lnTo>
                  <a:lnTo>
                    <a:pt x="1585" y="1879"/>
                  </a:lnTo>
                  <a:lnTo>
                    <a:pt x="1593" y="1918"/>
                  </a:lnTo>
                  <a:lnTo>
                    <a:pt x="1599" y="1956"/>
                  </a:lnTo>
                  <a:lnTo>
                    <a:pt x="1603" y="1993"/>
                  </a:lnTo>
                  <a:lnTo>
                    <a:pt x="1605" y="2027"/>
                  </a:lnTo>
                  <a:lnTo>
                    <a:pt x="1605" y="2058"/>
                  </a:lnTo>
                  <a:lnTo>
                    <a:pt x="1604" y="2089"/>
                  </a:lnTo>
                  <a:lnTo>
                    <a:pt x="1601" y="2117"/>
                  </a:lnTo>
                  <a:lnTo>
                    <a:pt x="1596" y="2143"/>
                  </a:lnTo>
                  <a:lnTo>
                    <a:pt x="1589" y="2166"/>
                  </a:lnTo>
                  <a:lnTo>
                    <a:pt x="1580" y="2187"/>
                  </a:lnTo>
                  <a:lnTo>
                    <a:pt x="1568" y="2206"/>
                  </a:lnTo>
                  <a:lnTo>
                    <a:pt x="1556" y="2221"/>
                  </a:lnTo>
                  <a:lnTo>
                    <a:pt x="1540" y="2235"/>
                  </a:lnTo>
                  <a:lnTo>
                    <a:pt x="1524" y="2241"/>
                  </a:lnTo>
                  <a:lnTo>
                    <a:pt x="1505" y="2245"/>
                  </a:lnTo>
                  <a:lnTo>
                    <a:pt x="1486" y="2247"/>
                  </a:lnTo>
                  <a:lnTo>
                    <a:pt x="1464" y="2245"/>
                  </a:lnTo>
                  <a:lnTo>
                    <a:pt x="1441" y="2241"/>
                  </a:lnTo>
                  <a:lnTo>
                    <a:pt x="1417" y="2235"/>
                  </a:lnTo>
                  <a:lnTo>
                    <a:pt x="1391" y="2225"/>
                  </a:lnTo>
                  <a:lnTo>
                    <a:pt x="1364" y="2214"/>
                  </a:lnTo>
                  <a:lnTo>
                    <a:pt x="1336" y="2201"/>
                  </a:lnTo>
                  <a:lnTo>
                    <a:pt x="1307" y="2184"/>
                  </a:lnTo>
                  <a:lnTo>
                    <a:pt x="1276" y="2166"/>
                  </a:lnTo>
                  <a:lnTo>
                    <a:pt x="1245" y="2144"/>
                  </a:lnTo>
                  <a:lnTo>
                    <a:pt x="1213" y="2121"/>
                  </a:lnTo>
                  <a:lnTo>
                    <a:pt x="1180" y="2096"/>
                  </a:lnTo>
                  <a:lnTo>
                    <a:pt x="1146" y="2068"/>
                  </a:lnTo>
                  <a:lnTo>
                    <a:pt x="1112" y="2038"/>
                  </a:lnTo>
                  <a:lnTo>
                    <a:pt x="1077" y="2006"/>
                  </a:lnTo>
                  <a:lnTo>
                    <a:pt x="1041" y="1972"/>
                  </a:lnTo>
                  <a:lnTo>
                    <a:pt x="1005" y="1936"/>
                  </a:lnTo>
                  <a:lnTo>
                    <a:pt x="969" y="1898"/>
                  </a:lnTo>
                  <a:lnTo>
                    <a:pt x="932" y="1858"/>
                  </a:lnTo>
                  <a:lnTo>
                    <a:pt x="895" y="1816"/>
                  </a:lnTo>
                  <a:lnTo>
                    <a:pt x="857" y="1773"/>
                  </a:lnTo>
                  <a:lnTo>
                    <a:pt x="819" y="1727"/>
                  </a:lnTo>
                  <a:lnTo>
                    <a:pt x="782" y="1679"/>
                  </a:lnTo>
                  <a:lnTo>
                    <a:pt x="744" y="1630"/>
                  </a:lnTo>
                  <a:lnTo>
                    <a:pt x="707" y="1579"/>
                  </a:lnTo>
                  <a:lnTo>
                    <a:pt x="670" y="1527"/>
                  </a:lnTo>
                  <a:lnTo>
                    <a:pt x="633" y="1472"/>
                  </a:lnTo>
                  <a:lnTo>
                    <a:pt x="596" y="1416"/>
                  </a:lnTo>
                  <a:lnTo>
                    <a:pt x="560" y="1359"/>
                  </a:lnTo>
                  <a:lnTo>
                    <a:pt x="524" y="1300"/>
                  </a:lnTo>
                  <a:lnTo>
                    <a:pt x="485" y="1244"/>
                  </a:lnTo>
                  <a:lnTo>
                    <a:pt x="447" y="1188"/>
                  </a:lnTo>
                  <a:lnTo>
                    <a:pt x="410" y="1133"/>
                  </a:lnTo>
                  <a:lnTo>
                    <a:pt x="375" y="1077"/>
                  </a:lnTo>
                  <a:lnTo>
                    <a:pt x="341" y="1022"/>
                  </a:lnTo>
                  <a:lnTo>
                    <a:pt x="309" y="969"/>
                  </a:lnTo>
                  <a:lnTo>
                    <a:pt x="278" y="914"/>
                  </a:lnTo>
                  <a:lnTo>
                    <a:pt x="248" y="862"/>
                  </a:lnTo>
                  <a:lnTo>
                    <a:pt x="220" y="809"/>
                  </a:lnTo>
                  <a:lnTo>
                    <a:pt x="193" y="758"/>
                  </a:lnTo>
                  <a:lnTo>
                    <a:pt x="169" y="707"/>
                  </a:lnTo>
                  <a:lnTo>
                    <a:pt x="145" y="658"/>
                  </a:lnTo>
                  <a:lnTo>
                    <a:pt x="123" y="609"/>
                  </a:lnTo>
                  <a:lnTo>
                    <a:pt x="104" y="562"/>
                  </a:lnTo>
                  <a:lnTo>
                    <a:pt x="85" y="515"/>
                  </a:lnTo>
                  <a:lnTo>
                    <a:pt x="68" y="471"/>
                  </a:lnTo>
                  <a:lnTo>
                    <a:pt x="53" y="428"/>
                  </a:lnTo>
                  <a:lnTo>
                    <a:pt x="40" y="386"/>
                  </a:lnTo>
                  <a:lnTo>
                    <a:pt x="28" y="346"/>
                  </a:lnTo>
                  <a:lnTo>
                    <a:pt x="19" y="308"/>
                  </a:lnTo>
                  <a:lnTo>
                    <a:pt x="11" y="272"/>
                  </a:lnTo>
                  <a:lnTo>
                    <a:pt x="5" y="238"/>
                  </a:lnTo>
                  <a:lnTo>
                    <a:pt x="2" y="206"/>
                  </a:lnTo>
                  <a:lnTo>
                    <a:pt x="0" y="176"/>
                  </a:lnTo>
                  <a:lnTo>
                    <a:pt x="0" y="148"/>
                  </a:lnTo>
                  <a:lnTo>
                    <a:pt x="2" y="123"/>
                  </a:lnTo>
                  <a:lnTo>
                    <a:pt x="6" y="100"/>
                  </a:lnTo>
                  <a:lnTo>
                    <a:pt x="12" y="79"/>
                  </a:lnTo>
                  <a:lnTo>
                    <a:pt x="20" y="62"/>
                  </a:lnTo>
                  <a:lnTo>
                    <a:pt x="31" y="46"/>
                  </a:lnTo>
                  <a:lnTo>
                    <a:pt x="43" y="34"/>
                  </a:lnTo>
                  <a:lnTo>
                    <a:pt x="57" y="2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2" name="Freeform 28"/>
            <p:cNvSpPr>
              <a:spLocks noChangeArrowheads="1"/>
            </p:cNvSpPr>
            <p:nvPr/>
          </p:nvSpPr>
          <p:spPr bwMode="auto">
            <a:xfrm>
              <a:off x="7396163" y="4135387"/>
              <a:ext cx="568325" cy="1517682"/>
            </a:xfrm>
            <a:custGeom>
              <a:avLst/>
              <a:gdLst>
                <a:gd name="T0" fmla="*/ 250 w 1263"/>
                <a:gd name="T1" fmla="*/ 3 h 2727"/>
                <a:gd name="T2" fmla="*/ 351 w 1263"/>
                <a:gd name="T3" fmla="*/ 40 h 2727"/>
                <a:gd name="T4" fmla="*/ 449 w 1263"/>
                <a:gd name="T5" fmla="*/ 112 h 2727"/>
                <a:gd name="T6" fmla="*/ 566 w 1263"/>
                <a:gd name="T7" fmla="*/ 237 h 2727"/>
                <a:gd name="T8" fmla="*/ 686 w 1263"/>
                <a:gd name="T9" fmla="*/ 406 h 2727"/>
                <a:gd name="T10" fmla="*/ 924 w 1263"/>
                <a:gd name="T11" fmla="*/ 850 h 2727"/>
                <a:gd name="T12" fmla="*/ 1073 w 1263"/>
                <a:gd name="T13" fmla="*/ 1210 h 2727"/>
                <a:gd name="T14" fmla="*/ 1119 w 1263"/>
                <a:gd name="T15" fmla="*/ 1363 h 2727"/>
                <a:gd name="T16" fmla="*/ 1172 w 1263"/>
                <a:gd name="T17" fmla="*/ 1572 h 2727"/>
                <a:gd name="T18" fmla="*/ 1215 w 1263"/>
                <a:gd name="T19" fmla="*/ 1776 h 2727"/>
                <a:gd name="T20" fmla="*/ 1246 w 1263"/>
                <a:gd name="T21" fmla="*/ 1993 h 2727"/>
                <a:gd name="T22" fmla="*/ 1263 w 1263"/>
                <a:gd name="T23" fmla="*/ 2227 h 2727"/>
                <a:gd name="T24" fmla="*/ 1253 w 1263"/>
                <a:gd name="T25" fmla="*/ 2426 h 2727"/>
                <a:gd name="T26" fmla="*/ 1218 w 1263"/>
                <a:gd name="T27" fmla="*/ 2581 h 2727"/>
                <a:gd name="T28" fmla="*/ 1156 w 1263"/>
                <a:gd name="T29" fmla="*/ 2684 h 2727"/>
                <a:gd name="T30" fmla="*/ 1094 w 1263"/>
                <a:gd name="T31" fmla="*/ 2723 h 2727"/>
                <a:gd name="T32" fmla="*/ 1030 w 1263"/>
                <a:gd name="T33" fmla="*/ 2726 h 2727"/>
                <a:gd name="T34" fmla="*/ 928 w 1263"/>
                <a:gd name="T35" fmla="*/ 2695 h 2727"/>
                <a:gd name="T36" fmla="*/ 830 w 1263"/>
                <a:gd name="T37" fmla="*/ 2629 h 2727"/>
                <a:gd name="T38" fmla="*/ 718 w 1263"/>
                <a:gd name="T39" fmla="*/ 2512 h 2727"/>
                <a:gd name="T40" fmla="*/ 599 w 1263"/>
                <a:gd name="T41" fmla="*/ 2351 h 2727"/>
                <a:gd name="T42" fmla="*/ 477 w 1263"/>
                <a:gd name="T43" fmla="*/ 2151 h 2727"/>
                <a:gd name="T44" fmla="*/ 301 w 1263"/>
                <a:gd name="T45" fmla="*/ 1792 h 2727"/>
                <a:gd name="T46" fmla="*/ 188 w 1263"/>
                <a:gd name="T47" fmla="*/ 1506 h 2727"/>
                <a:gd name="T48" fmla="*/ 127 w 1263"/>
                <a:gd name="T49" fmla="*/ 1282 h 2727"/>
                <a:gd name="T50" fmla="*/ 76 w 1263"/>
                <a:gd name="T51" fmla="*/ 1066 h 2727"/>
                <a:gd name="T52" fmla="*/ 34 w 1263"/>
                <a:gd name="T53" fmla="*/ 842 h 2727"/>
                <a:gd name="T54" fmla="*/ 5 w 1263"/>
                <a:gd name="T55" fmla="*/ 595 h 2727"/>
                <a:gd name="T56" fmla="*/ 2 w 1263"/>
                <a:gd name="T57" fmla="*/ 383 h 2727"/>
                <a:gd name="T58" fmla="*/ 25 w 1263"/>
                <a:gd name="T59" fmla="*/ 210 h 2727"/>
                <a:gd name="T60" fmla="*/ 73 w 1263"/>
                <a:gd name="T61" fmla="*/ 85 h 2727"/>
                <a:gd name="T62" fmla="*/ 148 w 1263"/>
                <a:gd name="T63" fmla="*/ 11 h 2727"/>
                <a:gd name="T64" fmla="*/ 241 w 1263"/>
                <a:gd name="T65" fmla="*/ 177 h 2727"/>
                <a:gd name="T66" fmla="*/ 196 w 1263"/>
                <a:gd name="T67" fmla="*/ 193 h 2727"/>
                <a:gd name="T68" fmla="*/ 171 w 1263"/>
                <a:gd name="T69" fmla="*/ 271 h 2727"/>
                <a:gd name="T70" fmla="*/ 162 w 1263"/>
                <a:gd name="T71" fmla="*/ 389 h 2727"/>
                <a:gd name="T72" fmla="*/ 185 w 1263"/>
                <a:gd name="T73" fmla="*/ 694 h 2727"/>
                <a:gd name="T74" fmla="*/ 236 w 1263"/>
                <a:gd name="T75" fmla="*/ 998 h 2727"/>
                <a:gd name="T76" fmla="*/ 282 w 1263"/>
                <a:gd name="T77" fmla="*/ 1203 h 2727"/>
                <a:gd name="T78" fmla="*/ 340 w 1263"/>
                <a:gd name="T79" fmla="*/ 1421 h 2727"/>
                <a:gd name="T80" fmla="*/ 492 w 1263"/>
                <a:gd name="T81" fmla="*/ 1801 h 2727"/>
                <a:gd name="T82" fmla="*/ 676 w 1263"/>
                <a:gd name="T83" fmla="*/ 2157 h 2727"/>
                <a:gd name="T84" fmla="*/ 787 w 1263"/>
                <a:gd name="T85" fmla="*/ 2325 h 2727"/>
                <a:gd name="T86" fmla="*/ 893 w 1263"/>
                <a:gd name="T87" fmla="*/ 2454 h 2727"/>
                <a:gd name="T88" fmla="*/ 972 w 1263"/>
                <a:gd name="T89" fmla="*/ 2522 h 2727"/>
                <a:gd name="T90" fmla="*/ 1032 w 1263"/>
                <a:gd name="T91" fmla="*/ 2552 h 2727"/>
                <a:gd name="T92" fmla="*/ 1072 w 1263"/>
                <a:gd name="T93" fmla="*/ 2522 h 2727"/>
                <a:gd name="T94" fmla="*/ 1095 w 1263"/>
                <a:gd name="T95" fmla="*/ 2433 h 2727"/>
                <a:gd name="T96" fmla="*/ 1098 w 1263"/>
                <a:gd name="T97" fmla="*/ 2199 h 2727"/>
                <a:gd name="T98" fmla="*/ 1047 w 1263"/>
                <a:gd name="T99" fmla="*/ 1809 h 2727"/>
                <a:gd name="T100" fmla="*/ 1028 w 1263"/>
                <a:gd name="T101" fmla="*/ 1711 h 2727"/>
                <a:gd name="T102" fmla="*/ 982 w 1263"/>
                <a:gd name="T103" fmla="*/ 1511 h 2727"/>
                <a:gd name="T104" fmla="*/ 924 w 1263"/>
                <a:gd name="T105" fmla="*/ 1305 h 2727"/>
                <a:gd name="T106" fmla="*/ 807 w 1263"/>
                <a:gd name="T107" fmla="*/ 1005 h 2727"/>
                <a:gd name="T108" fmla="*/ 587 w 1263"/>
                <a:gd name="T109" fmla="*/ 570 h 2727"/>
                <a:gd name="T110" fmla="*/ 423 w 1263"/>
                <a:gd name="T111" fmla="*/ 332 h 2727"/>
                <a:gd name="T112" fmla="*/ 313 w 1263"/>
                <a:gd name="T113" fmla="*/ 221 h 2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3" h="2727">
                  <a:moveTo>
                    <a:pt x="175" y="2"/>
                  </a:moveTo>
                  <a:lnTo>
                    <a:pt x="183" y="1"/>
                  </a:lnTo>
                  <a:lnTo>
                    <a:pt x="200" y="0"/>
                  </a:lnTo>
                  <a:lnTo>
                    <a:pt x="216" y="0"/>
                  </a:lnTo>
                  <a:lnTo>
                    <a:pt x="234" y="1"/>
                  </a:lnTo>
                  <a:lnTo>
                    <a:pt x="250" y="3"/>
                  </a:lnTo>
                  <a:lnTo>
                    <a:pt x="268" y="6"/>
                  </a:lnTo>
                  <a:lnTo>
                    <a:pt x="285" y="11"/>
                  </a:lnTo>
                  <a:lnTo>
                    <a:pt x="302" y="18"/>
                  </a:lnTo>
                  <a:lnTo>
                    <a:pt x="319" y="24"/>
                  </a:lnTo>
                  <a:lnTo>
                    <a:pt x="336" y="32"/>
                  </a:lnTo>
                  <a:lnTo>
                    <a:pt x="351" y="40"/>
                  </a:lnTo>
                  <a:lnTo>
                    <a:pt x="368" y="50"/>
                  </a:lnTo>
                  <a:lnTo>
                    <a:pt x="384" y="61"/>
                  </a:lnTo>
                  <a:lnTo>
                    <a:pt x="400" y="72"/>
                  </a:lnTo>
                  <a:lnTo>
                    <a:pt x="416" y="85"/>
                  </a:lnTo>
                  <a:lnTo>
                    <a:pt x="433" y="98"/>
                  </a:lnTo>
                  <a:lnTo>
                    <a:pt x="449" y="112"/>
                  </a:lnTo>
                  <a:lnTo>
                    <a:pt x="469" y="130"/>
                  </a:lnTo>
                  <a:lnTo>
                    <a:pt x="487" y="149"/>
                  </a:lnTo>
                  <a:lnTo>
                    <a:pt x="507" y="169"/>
                  </a:lnTo>
                  <a:lnTo>
                    <a:pt x="526" y="191"/>
                  </a:lnTo>
                  <a:lnTo>
                    <a:pt x="546" y="213"/>
                  </a:lnTo>
                  <a:lnTo>
                    <a:pt x="566" y="237"/>
                  </a:lnTo>
                  <a:lnTo>
                    <a:pt x="585" y="263"/>
                  </a:lnTo>
                  <a:lnTo>
                    <a:pt x="606" y="289"/>
                  </a:lnTo>
                  <a:lnTo>
                    <a:pt x="625" y="317"/>
                  </a:lnTo>
                  <a:lnTo>
                    <a:pt x="645" y="345"/>
                  </a:lnTo>
                  <a:lnTo>
                    <a:pt x="666" y="375"/>
                  </a:lnTo>
                  <a:lnTo>
                    <a:pt x="686" y="406"/>
                  </a:lnTo>
                  <a:lnTo>
                    <a:pt x="726" y="471"/>
                  </a:lnTo>
                  <a:lnTo>
                    <a:pt x="766" y="539"/>
                  </a:lnTo>
                  <a:lnTo>
                    <a:pt x="807" y="611"/>
                  </a:lnTo>
                  <a:lnTo>
                    <a:pt x="846" y="688"/>
                  </a:lnTo>
                  <a:lnTo>
                    <a:pt x="885" y="767"/>
                  </a:lnTo>
                  <a:lnTo>
                    <a:pt x="924" y="850"/>
                  </a:lnTo>
                  <a:lnTo>
                    <a:pt x="962" y="935"/>
                  </a:lnTo>
                  <a:lnTo>
                    <a:pt x="1000" y="1023"/>
                  </a:lnTo>
                  <a:lnTo>
                    <a:pt x="1036" y="1113"/>
                  </a:lnTo>
                  <a:lnTo>
                    <a:pt x="1072" y="1205"/>
                  </a:lnTo>
                  <a:lnTo>
                    <a:pt x="1073" y="1210"/>
                  </a:lnTo>
                  <a:lnTo>
                    <a:pt x="1076" y="1218"/>
                  </a:lnTo>
                  <a:lnTo>
                    <a:pt x="1076" y="1219"/>
                  </a:lnTo>
                  <a:lnTo>
                    <a:pt x="1087" y="1255"/>
                  </a:lnTo>
                  <a:lnTo>
                    <a:pt x="1098" y="1291"/>
                  </a:lnTo>
                  <a:lnTo>
                    <a:pt x="1108" y="1327"/>
                  </a:lnTo>
                  <a:lnTo>
                    <a:pt x="1119" y="1363"/>
                  </a:lnTo>
                  <a:lnTo>
                    <a:pt x="1128" y="1398"/>
                  </a:lnTo>
                  <a:lnTo>
                    <a:pt x="1137" y="1433"/>
                  </a:lnTo>
                  <a:lnTo>
                    <a:pt x="1147" y="1469"/>
                  </a:lnTo>
                  <a:lnTo>
                    <a:pt x="1156" y="1504"/>
                  </a:lnTo>
                  <a:lnTo>
                    <a:pt x="1164" y="1538"/>
                  </a:lnTo>
                  <a:lnTo>
                    <a:pt x="1172" y="1572"/>
                  </a:lnTo>
                  <a:lnTo>
                    <a:pt x="1179" y="1607"/>
                  </a:lnTo>
                  <a:lnTo>
                    <a:pt x="1188" y="1641"/>
                  </a:lnTo>
                  <a:lnTo>
                    <a:pt x="1194" y="1675"/>
                  </a:lnTo>
                  <a:lnTo>
                    <a:pt x="1201" y="1709"/>
                  </a:lnTo>
                  <a:lnTo>
                    <a:pt x="1208" y="1743"/>
                  </a:lnTo>
                  <a:lnTo>
                    <a:pt x="1215" y="1776"/>
                  </a:lnTo>
                  <a:lnTo>
                    <a:pt x="1222" y="1821"/>
                  </a:lnTo>
                  <a:lnTo>
                    <a:pt x="1229" y="1865"/>
                  </a:lnTo>
                  <a:lnTo>
                    <a:pt x="1236" y="1908"/>
                  </a:lnTo>
                  <a:lnTo>
                    <a:pt x="1241" y="1950"/>
                  </a:lnTo>
                  <a:lnTo>
                    <a:pt x="1246" y="1993"/>
                  </a:lnTo>
                  <a:lnTo>
                    <a:pt x="1251" y="2034"/>
                  </a:lnTo>
                  <a:lnTo>
                    <a:pt x="1255" y="2074"/>
                  </a:lnTo>
                  <a:lnTo>
                    <a:pt x="1258" y="2113"/>
                  </a:lnTo>
                  <a:lnTo>
                    <a:pt x="1260" y="2152"/>
                  </a:lnTo>
                  <a:lnTo>
                    <a:pt x="1262" y="2190"/>
                  </a:lnTo>
                  <a:lnTo>
                    <a:pt x="1263" y="2227"/>
                  </a:lnTo>
                  <a:lnTo>
                    <a:pt x="1263" y="2263"/>
                  </a:lnTo>
                  <a:lnTo>
                    <a:pt x="1262" y="2297"/>
                  </a:lnTo>
                  <a:lnTo>
                    <a:pt x="1261" y="2331"/>
                  </a:lnTo>
                  <a:lnTo>
                    <a:pt x="1259" y="2364"/>
                  </a:lnTo>
                  <a:lnTo>
                    <a:pt x="1257" y="2395"/>
                  </a:lnTo>
                  <a:lnTo>
                    <a:pt x="1253" y="2426"/>
                  </a:lnTo>
                  <a:lnTo>
                    <a:pt x="1250" y="2455"/>
                  </a:lnTo>
                  <a:lnTo>
                    <a:pt x="1244" y="2482"/>
                  </a:lnTo>
                  <a:lnTo>
                    <a:pt x="1239" y="2509"/>
                  </a:lnTo>
                  <a:lnTo>
                    <a:pt x="1232" y="2535"/>
                  </a:lnTo>
                  <a:lnTo>
                    <a:pt x="1226" y="2559"/>
                  </a:lnTo>
                  <a:lnTo>
                    <a:pt x="1218" y="2581"/>
                  </a:lnTo>
                  <a:lnTo>
                    <a:pt x="1209" y="2602"/>
                  </a:lnTo>
                  <a:lnTo>
                    <a:pt x="1200" y="2622"/>
                  </a:lnTo>
                  <a:lnTo>
                    <a:pt x="1190" y="2640"/>
                  </a:lnTo>
                  <a:lnTo>
                    <a:pt x="1179" y="2657"/>
                  </a:lnTo>
                  <a:lnTo>
                    <a:pt x="1168" y="2671"/>
                  </a:lnTo>
                  <a:lnTo>
                    <a:pt x="1156" y="2684"/>
                  </a:lnTo>
                  <a:lnTo>
                    <a:pt x="1143" y="2697"/>
                  </a:lnTo>
                  <a:lnTo>
                    <a:pt x="1129" y="2706"/>
                  </a:lnTo>
                  <a:lnTo>
                    <a:pt x="1115" y="2714"/>
                  </a:lnTo>
                  <a:lnTo>
                    <a:pt x="1104" y="2719"/>
                  </a:lnTo>
                  <a:lnTo>
                    <a:pt x="1094" y="2722"/>
                  </a:lnTo>
                  <a:lnTo>
                    <a:pt x="1094" y="2723"/>
                  </a:lnTo>
                  <a:lnTo>
                    <a:pt x="1091" y="2723"/>
                  </a:lnTo>
                  <a:lnTo>
                    <a:pt x="1086" y="2724"/>
                  </a:lnTo>
                  <a:lnTo>
                    <a:pt x="1082" y="2724"/>
                  </a:lnTo>
                  <a:lnTo>
                    <a:pt x="1064" y="2726"/>
                  </a:lnTo>
                  <a:lnTo>
                    <a:pt x="1048" y="2727"/>
                  </a:lnTo>
                  <a:lnTo>
                    <a:pt x="1030" y="2726"/>
                  </a:lnTo>
                  <a:lnTo>
                    <a:pt x="1014" y="2724"/>
                  </a:lnTo>
                  <a:lnTo>
                    <a:pt x="996" y="2719"/>
                  </a:lnTo>
                  <a:lnTo>
                    <a:pt x="979" y="2715"/>
                  </a:lnTo>
                  <a:lnTo>
                    <a:pt x="961" y="2709"/>
                  </a:lnTo>
                  <a:lnTo>
                    <a:pt x="944" y="2702"/>
                  </a:lnTo>
                  <a:lnTo>
                    <a:pt x="928" y="2695"/>
                  </a:lnTo>
                  <a:lnTo>
                    <a:pt x="913" y="2686"/>
                  </a:lnTo>
                  <a:lnTo>
                    <a:pt x="896" y="2676"/>
                  </a:lnTo>
                  <a:lnTo>
                    <a:pt x="880" y="2666"/>
                  </a:lnTo>
                  <a:lnTo>
                    <a:pt x="863" y="2655"/>
                  </a:lnTo>
                  <a:lnTo>
                    <a:pt x="847" y="2642"/>
                  </a:lnTo>
                  <a:lnTo>
                    <a:pt x="830" y="2629"/>
                  </a:lnTo>
                  <a:lnTo>
                    <a:pt x="814" y="2613"/>
                  </a:lnTo>
                  <a:lnTo>
                    <a:pt x="795" y="2596"/>
                  </a:lnTo>
                  <a:lnTo>
                    <a:pt x="776" y="2577"/>
                  </a:lnTo>
                  <a:lnTo>
                    <a:pt x="757" y="2557"/>
                  </a:lnTo>
                  <a:lnTo>
                    <a:pt x="738" y="2535"/>
                  </a:lnTo>
                  <a:lnTo>
                    <a:pt x="718" y="2512"/>
                  </a:lnTo>
                  <a:lnTo>
                    <a:pt x="697" y="2489"/>
                  </a:lnTo>
                  <a:lnTo>
                    <a:pt x="678" y="2464"/>
                  </a:lnTo>
                  <a:lnTo>
                    <a:pt x="658" y="2437"/>
                  </a:lnTo>
                  <a:lnTo>
                    <a:pt x="638" y="2409"/>
                  </a:lnTo>
                  <a:lnTo>
                    <a:pt x="618" y="2380"/>
                  </a:lnTo>
                  <a:lnTo>
                    <a:pt x="599" y="2351"/>
                  </a:lnTo>
                  <a:lnTo>
                    <a:pt x="578" y="2321"/>
                  </a:lnTo>
                  <a:lnTo>
                    <a:pt x="557" y="2289"/>
                  </a:lnTo>
                  <a:lnTo>
                    <a:pt x="538" y="2256"/>
                  </a:lnTo>
                  <a:lnTo>
                    <a:pt x="517" y="2222"/>
                  </a:lnTo>
                  <a:lnTo>
                    <a:pt x="498" y="2187"/>
                  </a:lnTo>
                  <a:lnTo>
                    <a:pt x="477" y="2151"/>
                  </a:lnTo>
                  <a:lnTo>
                    <a:pt x="457" y="2114"/>
                  </a:lnTo>
                  <a:lnTo>
                    <a:pt x="438" y="2077"/>
                  </a:lnTo>
                  <a:lnTo>
                    <a:pt x="417" y="2038"/>
                  </a:lnTo>
                  <a:lnTo>
                    <a:pt x="378" y="1959"/>
                  </a:lnTo>
                  <a:lnTo>
                    <a:pt x="340" y="1876"/>
                  </a:lnTo>
                  <a:lnTo>
                    <a:pt x="301" y="1792"/>
                  </a:lnTo>
                  <a:lnTo>
                    <a:pt x="264" y="1703"/>
                  </a:lnTo>
                  <a:lnTo>
                    <a:pt x="228" y="1613"/>
                  </a:lnTo>
                  <a:lnTo>
                    <a:pt x="192" y="1521"/>
                  </a:lnTo>
                  <a:lnTo>
                    <a:pt x="190" y="1514"/>
                  </a:lnTo>
                  <a:lnTo>
                    <a:pt x="190" y="1513"/>
                  </a:lnTo>
                  <a:lnTo>
                    <a:pt x="188" y="1506"/>
                  </a:lnTo>
                  <a:lnTo>
                    <a:pt x="176" y="1469"/>
                  </a:lnTo>
                  <a:lnTo>
                    <a:pt x="166" y="1432"/>
                  </a:lnTo>
                  <a:lnTo>
                    <a:pt x="156" y="1394"/>
                  </a:lnTo>
                  <a:lnTo>
                    <a:pt x="145" y="1357"/>
                  </a:lnTo>
                  <a:lnTo>
                    <a:pt x="136" y="1320"/>
                  </a:lnTo>
                  <a:lnTo>
                    <a:pt x="127" y="1282"/>
                  </a:lnTo>
                  <a:lnTo>
                    <a:pt x="117" y="1245"/>
                  </a:lnTo>
                  <a:lnTo>
                    <a:pt x="108" y="1208"/>
                  </a:lnTo>
                  <a:lnTo>
                    <a:pt x="99" y="1172"/>
                  </a:lnTo>
                  <a:lnTo>
                    <a:pt x="92" y="1136"/>
                  </a:lnTo>
                  <a:lnTo>
                    <a:pt x="84" y="1101"/>
                  </a:lnTo>
                  <a:lnTo>
                    <a:pt x="76" y="1066"/>
                  </a:lnTo>
                  <a:lnTo>
                    <a:pt x="69" y="1032"/>
                  </a:lnTo>
                  <a:lnTo>
                    <a:pt x="62" y="998"/>
                  </a:lnTo>
                  <a:lnTo>
                    <a:pt x="56" y="964"/>
                  </a:lnTo>
                  <a:lnTo>
                    <a:pt x="50" y="931"/>
                  </a:lnTo>
                  <a:lnTo>
                    <a:pt x="41" y="886"/>
                  </a:lnTo>
                  <a:lnTo>
                    <a:pt x="34" y="842"/>
                  </a:lnTo>
                  <a:lnTo>
                    <a:pt x="28" y="799"/>
                  </a:lnTo>
                  <a:lnTo>
                    <a:pt x="22" y="756"/>
                  </a:lnTo>
                  <a:lnTo>
                    <a:pt x="17" y="714"/>
                  </a:lnTo>
                  <a:lnTo>
                    <a:pt x="12" y="673"/>
                  </a:lnTo>
                  <a:lnTo>
                    <a:pt x="8" y="634"/>
                  </a:lnTo>
                  <a:lnTo>
                    <a:pt x="5" y="595"/>
                  </a:lnTo>
                  <a:lnTo>
                    <a:pt x="3" y="557"/>
                  </a:lnTo>
                  <a:lnTo>
                    <a:pt x="1" y="520"/>
                  </a:lnTo>
                  <a:lnTo>
                    <a:pt x="0" y="484"/>
                  </a:lnTo>
                  <a:lnTo>
                    <a:pt x="0" y="449"/>
                  </a:lnTo>
                  <a:lnTo>
                    <a:pt x="1" y="414"/>
                  </a:lnTo>
                  <a:lnTo>
                    <a:pt x="2" y="383"/>
                  </a:lnTo>
                  <a:lnTo>
                    <a:pt x="4" y="351"/>
                  </a:lnTo>
                  <a:lnTo>
                    <a:pt x="6" y="320"/>
                  </a:lnTo>
                  <a:lnTo>
                    <a:pt x="10" y="291"/>
                  </a:lnTo>
                  <a:lnTo>
                    <a:pt x="15" y="262"/>
                  </a:lnTo>
                  <a:lnTo>
                    <a:pt x="19" y="235"/>
                  </a:lnTo>
                  <a:lnTo>
                    <a:pt x="25" y="210"/>
                  </a:lnTo>
                  <a:lnTo>
                    <a:pt x="31" y="186"/>
                  </a:lnTo>
                  <a:lnTo>
                    <a:pt x="37" y="163"/>
                  </a:lnTo>
                  <a:lnTo>
                    <a:pt x="45" y="141"/>
                  </a:lnTo>
                  <a:lnTo>
                    <a:pt x="54" y="121"/>
                  </a:lnTo>
                  <a:lnTo>
                    <a:pt x="63" y="102"/>
                  </a:lnTo>
                  <a:lnTo>
                    <a:pt x="73" y="85"/>
                  </a:lnTo>
                  <a:lnTo>
                    <a:pt x="84" y="68"/>
                  </a:lnTo>
                  <a:lnTo>
                    <a:pt x="95" y="54"/>
                  </a:lnTo>
                  <a:lnTo>
                    <a:pt x="107" y="40"/>
                  </a:lnTo>
                  <a:lnTo>
                    <a:pt x="121" y="29"/>
                  </a:lnTo>
                  <a:lnTo>
                    <a:pt x="134" y="20"/>
                  </a:lnTo>
                  <a:lnTo>
                    <a:pt x="148" y="11"/>
                  </a:lnTo>
                  <a:lnTo>
                    <a:pt x="156" y="8"/>
                  </a:lnTo>
                  <a:lnTo>
                    <a:pt x="162" y="5"/>
                  </a:lnTo>
                  <a:lnTo>
                    <a:pt x="169" y="4"/>
                  </a:lnTo>
                  <a:lnTo>
                    <a:pt x="175" y="2"/>
                  </a:lnTo>
                  <a:close/>
                  <a:moveTo>
                    <a:pt x="251" y="180"/>
                  </a:moveTo>
                  <a:lnTo>
                    <a:pt x="241" y="177"/>
                  </a:lnTo>
                  <a:lnTo>
                    <a:pt x="232" y="174"/>
                  </a:lnTo>
                  <a:lnTo>
                    <a:pt x="224" y="172"/>
                  </a:lnTo>
                  <a:lnTo>
                    <a:pt x="215" y="171"/>
                  </a:lnTo>
                  <a:lnTo>
                    <a:pt x="208" y="177"/>
                  </a:lnTo>
                  <a:lnTo>
                    <a:pt x="202" y="185"/>
                  </a:lnTo>
                  <a:lnTo>
                    <a:pt x="196" y="193"/>
                  </a:lnTo>
                  <a:lnTo>
                    <a:pt x="191" y="203"/>
                  </a:lnTo>
                  <a:lnTo>
                    <a:pt x="186" y="215"/>
                  </a:lnTo>
                  <a:lnTo>
                    <a:pt x="181" y="227"/>
                  </a:lnTo>
                  <a:lnTo>
                    <a:pt x="177" y="240"/>
                  </a:lnTo>
                  <a:lnTo>
                    <a:pt x="174" y="255"/>
                  </a:lnTo>
                  <a:lnTo>
                    <a:pt x="171" y="271"/>
                  </a:lnTo>
                  <a:lnTo>
                    <a:pt x="168" y="288"/>
                  </a:lnTo>
                  <a:lnTo>
                    <a:pt x="166" y="306"/>
                  </a:lnTo>
                  <a:lnTo>
                    <a:pt x="165" y="325"/>
                  </a:lnTo>
                  <a:lnTo>
                    <a:pt x="163" y="345"/>
                  </a:lnTo>
                  <a:lnTo>
                    <a:pt x="162" y="366"/>
                  </a:lnTo>
                  <a:lnTo>
                    <a:pt x="162" y="389"/>
                  </a:lnTo>
                  <a:lnTo>
                    <a:pt x="162" y="411"/>
                  </a:lnTo>
                  <a:lnTo>
                    <a:pt x="163" y="461"/>
                  </a:lnTo>
                  <a:lnTo>
                    <a:pt x="166" y="514"/>
                  </a:lnTo>
                  <a:lnTo>
                    <a:pt x="170" y="570"/>
                  </a:lnTo>
                  <a:lnTo>
                    <a:pt x="176" y="631"/>
                  </a:lnTo>
                  <a:lnTo>
                    <a:pt x="185" y="694"/>
                  </a:lnTo>
                  <a:lnTo>
                    <a:pt x="194" y="760"/>
                  </a:lnTo>
                  <a:lnTo>
                    <a:pt x="205" y="829"/>
                  </a:lnTo>
                  <a:lnTo>
                    <a:pt x="217" y="900"/>
                  </a:lnTo>
                  <a:lnTo>
                    <a:pt x="223" y="933"/>
                  </a:lnTo>
                  <a:lnTo>
                    <a:pt x="230" y="965"/>
                  </a:lnTo>
                  <a:lnTo>
                    <a:pt x="236" y="998"/>
                  </a:lnTo>
                  <a:lnTo>
                    <a:pt x="243" y="1032"/>
                  </a:lnTo>
                  <a:lnTo>
                    <a:pt x="250" y="1065"/>
                  </a:lnTo>
                  <a:lnTo>
                    <a:pt x="258" y="1099"/>
                  </a:lnTo>
                  <a:lnTo>
                    <a:pt x="266" y="1134"/>
                  </a:lnTo>
                  <a:lnTo>
                    <a:pt x="274" y="1168"/>
                  </a:lnTo>
                  <a:lnTo>
                    <a:pt x="282" y="1203"/>
                  </a:lnTo>
                  <a:lnTo>
                    <a:pt x="291" y="1238"/>
                  </a:lnTo>
                  <a:lnTo>
                    <a:pt x="300" y="1274"/>
                  </a:lnTo>
                  <a:lnTo>
                    <a:pt x="310" y="1310"/>
                  </a:lnTo>
                  <a:lnTo>
                    <a:pt x="319" y="1346"/>
                  </a:lnTo>
                  <a:lnTo>
                    <a:pt x="330" y="1383"/>
                  </a:lnTo>
                  <a:lnTo>
                    <a:pt x="340" y="1421"/>
                  </a:lnTo>
                  <a:lnTo>
                    <a:pt x="351" y="1459"/>
                  </a:lnTo>
                  <a:lnTo>
                    <a:pt x="353" y="1465"/>
                  </a:lnTo>
                  <a:lnTo>
                    <a:pt x="386" y="1553"/>
                  </a:lnTo>
                  <a:lnTo>
                    <a:pt x="421" y="1638"/>
                  </a:lnTo>
                  <a:lnTo>
                    <a:pt x="456" y="1721"/>
                  </a:lnTo>
                  <a:lnTo>
                    <a:pt x="492" y="1801"/>
                  </a:lnTo>
                  <a:lnTo>
                    <a:pt x="529" y="1878"/>
                  </a:lnTo>
                  <a:lnTo>
                    <a:pt x="565" y="1953"/>
                  </a:lnTo>
                  <a:lnTo>
                    <a:pt x="602" y="2025"/>
                  </a:lnTo>
                  <a:lnTo>
                    <a:pt x="639" y="2092"/>
                  </a:lnTo>
                  <a:lnTo>
                    <a:pt x="657" y="2125"/>
                  </a:lnTo>
                  <a:lnTo>
                    <a:pt x="676" y="2157"/>
                  </a:lnTo>
                  <a:lnTo>
                    <a:pt x="694" y="2187"/>
                  </a:lnTo>
                  <a:lnTo>
                    <a:pt x="713" y="2216"/>
                  </a:lnTo>
                  <a:lnTo>
                    <a:pt x="731" y="2245"/>
                  </a:lnTo>
                  <a:lnTo>
                    <a:pt x="750" y="2273"/>
                  </a:lnTo>
                  <a:lnTo>
                    <a:pt x="769" y="2299"/>
                  </a:lnTo>
                  <a:lnTo>
                    <a:pt x="787" y="2325"/>
                  </a:lnTo>
                  <a:lnTo>
                    <a:pt x="805" y="2349"/>
                  </a:lnTo>
                  <a:lnTo>
                    <a:pt x="823" y="2372"/>
                  </a:lnTo>
                  <a:lnTo>
                    <a:pt x="841" y="2395"/>
                  </a:lnTo>
                  <a:lnTo>
                    <a:pt x="858" y="2415"/>
                  </a:lnTo>
                  <a:lnTo>
                    <a:pt x="876" y="2435"/>
                  </a:lnTo>
                  <a:lnTo>
                    <a:pt x="893" y="2454"/>
                  </a:lnTo>
                  <a:lnTo>
                    <a:pt x="911" y="2471"/>
                  </a:lnTo>
                  <a:lnTo>
                    <a:pt x="928" y="2486"/>
                  </a:lnTo>
                  <a:lnTo>
                    <a:pt x="939" y="2497"/>
                  </a:lnTo>
                  <a:lnTo>
                    <a:pt x="950" y="2505"/>
                  </a:lnTo>
                  <a:lnTo>
                    <a:pt x="961" y="2514"/>
                  </a:lnTo>
                  <a:lnTo>
                    <a:pt x="972" y="2522"/>
                  </a:lnTo>
                  <a:lnTo>
                    <a:pt x="983" y="2529"/>
                  </a:lnTo>
                  <a:lnTo>
                    <a:pt x="993" y="2535"/>
                  </a:lnTo>
                  <a:lnTo>
                    <a:pt x="1003" y="2540"/>
                  </a:lnTo>
                  <a:lnTo>
                    <a:pt x="1013" y="2545"/>
                  </a:lnTo>
                  <a:lnTo>
                    <a:pt x="1023" y="2549"/>
                  </a:lnTo>
                  <a:lnTo>
                    <a:pt x="1032" y="2552"/>
                  </a:lnTo>
                  <a:lnTo>
                    <a:pt x="1040" y="2553"/>
                  </a:lnTo>
                  <a:lnTo>
                    <a:pt x="1049" y="2555"/>
                  </a:lnTo>
                  <a:lnTo>
                    <a:pt x="1056" y="2548"/>
                  </a:lnTo>
                  <a:lnTo>
                    <a:pt x="1062" y="2541"/>
                  </a:lnTo>
                  <a:lnTo>
                    <a:pt x="1067" y="2532"/>
                  </a:lnTo>
                  <a:lnTo>
                    <a:pt x="1072" y="2522"/>
                  </a:lnTo>
                  <a:lnTo>
                    <a:pt x="1078" y="2509"/>
                  </a:lnTo>
                  <a:lnTo>
                    <a:pt x="1082" y="2497"/>
                  </a:lnTo>
                  <a:lnTo>
                    <a:pt x="1086" y="2482"/>
                  </a:lnTo>
                  <a:lnTo>
                    <a:pt x="1090" y="2467"/>
                  </a:lnTo>
                  <a:lnTo>
                    <a:pt x="1093" y="2450"/>
                  </a:lnTo>
                  <a:lnTo>
                    <a:pt x="1095" y="2433"/>
                  </a:lnTo>
                  <a:lnTo>
                    <a:pt x="1097" y="2413"/>
                  </a:lnTo>
                  <a:lnTo>
                    <a:pt x="1099" y="2394"/>
                  </a:lnTo>
                  <a:lnTo>
                    <a:pt x="1101" y="2350"/>
                  </a:lnTo>
                  <a:lnTo>
                    <a:pt x="1102" y="2304"/>
                  </a:lnTo>
                  <a:lnTo>
                    <a:pt x="1100" y="2252"/>
                  </a:lnTo>
                  <a:lnTo>
                    <a:pt x="1098" y="2199"/>
                  </a:lnTo>
                  <a:lnTo>
                    <a:pt x="1093" y="2141"/>
                  </a:lnTo>
                  <a:lnTo>
                    <a:pt x="1087" y="2080"/>
                  </a:lnTo>
                  <a:lnTo>
                    <a:pt x="1080" y="2016"/>
                  </a:lnTo>
                  <a:lnTo>
                    <a:pt x="1070" y="1949"/>
                  </a:lnTo>
                  <a:lnTo>
                    <a:pt x="1059" y="1880"/>
                  </a:lnTo>
                  <a:lnTo>
                    <a:pt x="1047" y="1809"/>
                  </a:lnTo>
                  <a:lnTo>
                    <a:pt x="1047" y="1807"/>
                  </a:lnTo>
                  <a:lnTo>
                    <a:pt x="1040" y="1775"/>
                  </a:lnTo>
                  <a:lnTo>
                    <a:pt x="1034" y="1744"/>
                  </a:lnTo>
                  <a:lnTo>
                    <a:pt x="1028" y="1711"/>
                  </a:lnTo>
                  <a:lnTo>
                    <a:pt x="1021" y="1679"/>
                  </a:lnTo>
                  <a:lnTo>
                    <a:pt x="1014" y="1646"/>
                  </a:lnTo>
                  <a:lnTo>
                    <a:pt x="1005" y="1612"/>
                  </a:lnTo>
                  <a:lnTo>
                    <a:pt x="998" y="1578"/>
                  </a:lnTo>
                  <a:lnTo>
                    <a:pt x="990" y="1544"/>
                  </a:lnTo>
                  <a:lnTo>
                    <a:pt x="982" y="1511"/>
                  </a:lnTo>
                  <a:lnTo>
                    <a:pt x="972" y="1477"/>
                  </a:lnTo>
                  <a:lnTo>
                    <a:pt x="963" y="1443"/>
                  </a:lnTo>
                  <a:lnTo>
                    <a:pt x="954" y="1409"/>
                  </a:lnTo>
                  <a:lnTo>
                    <a:pt x="945" y="1374"/>
                  </a:lnTo>
                  <a:lnTo>
                    <a:pt x="934" y="1340"/>
                  </a:lnTo>
                  <a:lnTo>
                    <a:pt x="924" y="1305"/>
                  </a:lnTo>
                  <a:lnTo>
                    <a:pt x="914" y="1271"/>
                  </a:lnTo>
                  <a:lnTo>
                    <a:pt x="913" y="1268"/>
                  </a:lnTo>
                  <a:lnTo>
                    <a:pt x="911" y="1261"/>
                  </a:lnTo>
                  <a:lnTo>
                    <a:pt x="877" y="1173"/>
                  </a:lnTo>
                  <a:lnTo>
                    <a:pt x="843" y="1088"/>
                  </a:lnTo>
                  <a:lnTo>
                    <a:pt x="807" y="1005"/>
                  </a:lnTo>
                  <a:lnTo>
                    <a:pt x="772" y="925"/>
                  </a:lnTo>
                  <a:lnTo>
                    <a:pt x="736" y="847"/>
                  </a:lnTo>
                  <a:lnTo>
                    <a:pt x="698" y="773"/>
                  </a:lnTo>
                  <a:lnTo>
                    <a:pt x="661" y="702"/>
                  </a:lnTo>
                  <a:lnTo>
                    <a:pt x="624" y="634"/>
                  </a:lnTo>
                  <a:lnTo>
                    <a:pt x="587" y="570"/>
                  </a:lnTo>
                  <a:lnTo>
                    <a:pt x="550" y="509"/>
                  </a:lnTo>
                  <a:lnTo>
                    <a:pt x="514" y="454"/>
                  </a:lnTo>
                  <a:lnTo>
                    <a:pt x="477" y="401"/>
                  </a:lnTo>
                  <a:lnTo>
                    <a:pt x="458" y="377"/>
                  </a:lnTo>
                  <a:lnTo>
                    <a:pt x="441" y="354"/>
                  </a:lnTo>
                  <a:lnTo>
                    <a:pt x="423" y="332"/>
                  </a:lnTo>
                  <a:lnTo>
                    <a:pt x="405" y="311"/>
                  </a:lnTo>
                  <a:lnTo>
                    <a:pt x="387" y="292"/>
                  </a:lnTo>
                  <a:lnTo>
                    <a:pt x="370" y="273"/>
                  </a:lnTo>
                  <a:lnTo>
                    <a:pt x="353" y="256"/>
                  </a:lnTo>
                  <a:lnTo>
                    <a:pt x="336" y="240"/>
                  </a:lnTo>
                  <a:lnTo>
                    <a:pt x="313" y="221"/>
                  </a:lnTo>
                  <a:lnTo>
                    <a:pt x="292" y="204"/>
                  </a:lnTo>
                  <a:lnTo>
                    <a:pt x="281" y="198"/>
                  </a:lnTo>
                  <a:lnTo>
                    <a:pt x="271" y="191"/>
                  </a:lnTo>
                  <a:lnTo>
                    <a:pt x="261" y="186"/>
                  </a:lnTo>
                  <a:lnTo>
                    <a:pt x="251" y="1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3" name="Freeform 29"/>
            <p:cNvSpPr>
              <a:spLocks noChangeArrowheads="1"/>
            </p:cNvSpPr>
            <p:nvPr/>
          </p:nvSpPr>
          <p:spPr bwMode="auto">
            <a:xfrm>
              <a:off x="7432675" y="4187775"/>
              <a:ext cx="495300" cy="1419255"/>
            </a:xfrm>
            <a:custGeom>
              <a:avLst/>
              <a:gdLst>
                <a:gd name="T0" fmla="*/ 145 w 1099"/>
                <a:gd name="T1" fmla="*/ 1 h 2555"/>
                <a:gd name="T2" fmla="*/ 212 w 1099"/>
                <a:gd name="T3" fmla="*/ 21 h 2555"/>
                <a:gd name="T4" fmla="*/ 284 w 1099"/>
                <a:gd name="T5" fmla="*/ 68 h 2555"/>
                <a:gd name="T6" fmla="*/ 359 w 1099"/>
                <a:gd name="T7" fmla="*/ 139 h 2555"/>
                <a:gd name="T8" fmla="*/ 437 w 1099"/>
                <a:gd name="T9" fmla="*/ 232 h 2555"/>
                <a:gd name="T10" fmla="*/ 518 w 1099"/>
                <a:gd name="T11" fmla="*/ 345 h 2555"/>
                <a:gd name="T12" fmla="*/ 598 w 1099"/>
                <a:gd name="T13" fmla="*/ 476 h 2555"/>
                <a:gd name="T14" fmla="*/ 679 w 1099"/>
                <a:gd name="T15" fmla="*/ 624 h 2555"/>
                <a:gd name="T16" fmla="*/ 759 w 1099"/>
                <a:gd name="T17" fmla="*/ 787 h 2555"/>
                <a:gd name="T18" fmla="*/ 836 w 1099"/>
                <a:gd name="T19" fmla="*/ 963 h 2555"/>
                <a:gd name="T20" fmla="*/ 909 w 1099"/>
                <a:gd name="T21" fmla="*/ 1149 h 2555"/>
                <a:gd name="T22" fmla="*/ 964 w 1099"/>
                <a:gd name="T23" fmla="*/ 1339 h 2555"/>
                <a:gd name="T24" fmla="*/ 1010 w 1099"/>
                <a:gd name="T25" fmla="*/ 1524 h 2555"/>
                <a:gd name="T26" fmla="*/ 1047 w 1099"/>
                <a:gd name="T27" fmla="*/ 1702 h 2555"/>
                <a:gd name="T28" fmla="*/ 1074 w 1099"/>
                <a:gd name="T29" fmla="*/ 1870 h 2555"/>
                <a:gd name="T30" fmla="*/ 1091 w 1099"/>
                <a:gd name="T31" fmla="*/ 2025 h 2555"/>
                <a:gd name="T32" fmla="*/ 1099 w 1099"/>
                <a:gd name="T33" fmla="*/ 2166 h 2555"/>
                <a:gd name="T34" fmla="*/ 1095 w 1099"/>
                <a:gd name="T35" fmla="*/ 2289 h 2555"/>
                <a:gd name="T36" fmla="*/ 1082 w 1099"/>
                <a:gd name="T37" fmla="*/ 2393 h 2555"/>
                <a:gd name="T38" fmla="*/ 1058 w 1099"/>
                <a:gd name="T39" fmla="*/ 2474 h 2555"/>
                <a:gd name="T40" fmla="*/ 1023 w 1099"/>
                <a:gd name="T41" fmla="*/ 2530 h 2555"/>
                <a:gd name="T42" fmla="*/ 974 w 1099"/>
                <a:gd name="T43" fmla="*/ 2555 h 2555"/>
                <a:gd name="T44" fmla="*/ 909 w 1099"/>
                <a:gd name="T45" fmla="*/ 2543 h 2555"/>
                <a:gd name="T46" fmla="*/ 839 w 1099"/>
                <a:gd name="T47" fmla="*/ 2505 h 2555"/>
                <a:gd name="T48" fmla="*/ 765 w 1099"/>
                <a:gd name="T49" fmla="*/ 2442 h 2555"/>
                <a:gd name="T50" fmla="*/ 687 w 1099"/>
                <a:gd name="T51" fmla="*/ 2356 h 2555"/>
                <a:gd name="T52" fmla="*/ 607 w 1099"/>
                <a:gd name="T53" fmla="*/ 2249 h 2555"/>
                <a:gd name="T54" fmla="*/ 526 w 1099"/>
                <a:gd name="T55" fmla="*/ 2124 h 2555"/>
                <a:gd name="T56" fmla="*/ 446 w 1099"/>
                <a:gd name="T57" fmla="*/ 1981 h 2555"/>
                <a:gd name="T58" fmla="*/ 365 w 1099"/>
                <a:gd name="T59" fmla="*/ 1822 h 2555"/>
                <a:gd name="T60" fmla="*/ 288 w 1099"/>
                <a:gd name="T61" fmla="*/ 1651 h 2555"/>
                <a:gd name="T62" fmla="*/ 213 w 1099"/>
                <a:gd name="T63" fmla="*/ 1468 h 2555"/>
                <a:gd name="T64" fmla="*/ 151 w 1099"/>
                <a:gd name="T65" fmla="*/ 1271 h 2555"/>
                <a:gd name="T66" fmla="*/ 102 w 1099"/>
                <a:gd name="T67" fmla="*/ 1077 h 2555"/>
                <a:gd name="T68" fmla="*/ 62 w 1099"/>
                <a:gd name="T69" fmla="*/ 892 h 2555"/>
                <a:gd name="T70" fmla="*/ 31 w 1099"/>
                <a:gd name="T71" fmla="*/ 720 h 2555"/>
                <a:gd name="T72" fmla="*/ 11 w 1099"/>
                <a:gd name="T73" fmla="*/ 561 h 2555"/>
                <a:gd name="T74" fmla="*/ 1 w 1099"/>
                <a:gd name="T75" fmla="*/ 418 h 2555"/>
                <a:gd name="T76" fmla="*/ 1 w 1099"/>
                <a:gd name="T77" fmla="*/ 292 h 2555"/>
                <a:gd name="T78" fmla="*/ 10 w 1099"/>
                <a:gd name="T79" fmla="*/ 186 h 2555"/>
                <a:gd name="T80" fmla="*/ 30 w 1099"/>
                <a:gd name="T81" fmla="*/ 101 h 2555"/>
                <a:gd name="T82" fmla="*/ 61 w 1099"/>
                <a:gd name="T83" fmla="*/ 39 h 2555"/>
                <a:gd name="T84" fmla="*/ 104 w 1099"/>
                <a:gd name="T85" fmla="*/ 2 h 2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99" h="2555">
                  <a:moveTo>
                    <a:pt x="104" y="2"/>
                  </a:moveTo>
                  <a:lnTo>
                    <a:pt x="124" y="0"/>
                  </a:lnTo>
                  <a:lnTo>
                    <a:pt x="145" y="1"/>
                  </a:lnTo>
                  <a:lnTo>
                    <a:pt x="166" y="5"/>
                  </a:lnTo>
                  <a:lnTo>
                    <a:pt x="189" y="11"/>
                  </a:lnTo>
                  <a:lnTo>
                    <a:pt x="212" y="21"/>
                  </a:lnTo>
                  <a:lnTo>
                    <a:pt x="235" y="34"/>
                  </a:lnTo>
                  <a:lnTo>
                    <a:pt x="259" y="49"/>
                  </a:lnTo>
                  <a:lnTo>
                    <a:pt x="284" y="68"/>
                  </a:lnTo>
                  <a:lnTo>
                    <a:pt x="309" y="88"/>
                  </a:lnTo>
                  <a:lnTo>
                    <a:pt x="333" y="112"/>
                  </a:lnTo>
                  <a:lnTo>
                    <a:pt x="359" y="139"/>
                  </a:lnTo>
                  <a:lnTo>
                    <a:pt x="385" y="167"/>
                  </a:lnTo>
                  <a:lnTo>
                    <a:pt x="411" y="199"/>
                  </a:lnTo>
                  <a:lnTo>
                    <a:pt x="437" y="232"/>
                  </a:lnTo>
                  <a:lnTo>
                    <a:pt x="464" y="267"/>
                  </a:lnTo>
                  <a:lnTo>
                    <a:pt x="491" y="305"/>
                  </a:lnTo>
                  <a:lnTo>
                    <a:pt x="518" y="345"/>
                  </a:lnTo>
                  <a:lnTo>
                    <a:pt x="544" y="386"/>
                  </a:lnTo>
                  <a:lnTo>
                    <a:pt x="571" y="431"/>
                  </a:lnTo>
                  <a:lnTo>
                    <a:pt x="598" y="476"/>
                  </a:lnTo>
                  <a:lnTo>
                    <a:pt x="626" y="524"/>
                  </a:lnTo>
                  <a:lnTo>
                    <a:pt x="653" y="574"/>
                  </a:lnTo>
                  <a:lnTo>
                    <a:pt x="679" y="624"/>
                  </a:lnTo>
                  <a:lnTo>
                    <a:pt x="706" y="677"/>
                  </a:lnTo>
                  <a:lnTo>
                    <a:pt x="732" y="732"/>
                  </a:lnTo>
                  <a:lnTo>
                    <a:pt x="759" y="787"/>
                  </a:lnTo>
                  <a:lnTo>
                    <a:pt x="784" y="845"/>
                  </a:lnTo>
                  <a:lnTo>
                    <a:pt x="810" y="904"/>
                  </a:lnTo>
                  <a:lnTo>
                    <a:pt x="836" y="963"/>
                  </a:lnTo>
                  <a:lnTo>
                    <a:pt x="861" y="1024"/>
                  </a:lnTo>
                  <a:lnTo>
                    <a:pt x="885" y="1086"/>
                  </a:lnTo>
                  <a:lnTo>
                    <a:pt x="909" y="1149"/>
                  </a:lnTo>
                  <a:lnTo>
                    <a:pt x="929" y="1213"/>
                  </a:lnTo>
                  <a:lnTo>
                    <a:pt x="947" y="1277"/>
                  </a:lnTo>
                  <a:lnTo>
                    <a:pt x="964" y="1339"/>
                  </a:lnTo>
                  <a:lnTo>
                    <a:pt x="980" y="1402"/>
                  </a:lnTo>
                  <a:lnTo>
                    <a:pt x="996" y="1463"/>
                  </a:lnTo>
                  <a:lnTo>
                    <a:pt x="1010" y="1524"/>
                  </a:lnTo>
                  <a:lnTo>
                    <a:pt x="1023" y="1584"/>
                  </a:lnTo>
                  <a:lnTo>
                    <a:pt x="1036" y="1644"/>
                  </a:lnTo>
                  <a:lnTo>
                    <a:pt x="1047" y="1702"/>
                  </a:lnTo>
                  <a:lnTo>
                    <a:pt x="1056" y="1759"/>
                  </a:lnTo>
                  <a:lnTo>
                    <a:pt x="1066" y="1815"/>
                  </a:lnTo>
                  <a:lnTo>
                    <a:pt x="1074" y="1870"/>
                  </a:lnTo>
                  <a:lnTo>
                    <a:pt x="1080" y="1923"/>
                  </a:lnTo>
                  <a:lnTo>
                    <a:pt x="1086" y="1975"/>
                  </a:lnTo>
                  <a:lnTo>
                    <a:pt x="1091" y="2025"/>
                  </a:lnTo>
                  <a:lnTo>
                    <a:pt x="1094" y="2074"/>
                  </a:lnTo>
                  <a:lnTo>
                    <a:pt x="1096" y="2121"/>
                  </a:lnTo>
                  <a:lnTo>
                    <a:pt x="1099" y="2166"/>
                  </a:lnTo>
                  <a:lnTo>
                    <a:pt x="1099" y="2210"/>
                  </a:lnTo>
                  <a:lnTo>
                    <a:pt x="1098" y="2250"/>
                  </a:lnTo>
                  <a:lnTo>
                    <a:pt x="1095" y="2289"/>
                  </a:lnTo>
                  <a:lnTo>
                    <a:pt x="1092" y="2326"/>
                  </a:lnTo>
                  <a:lnTo>
                    <a:pt x="1087" y="2360"/>
                  </a:lnTo>
                  <a:lnTo>
                    <a:pt x="1082" y="2393"/>
                  </a:lnTo>
                  <a:lnTo>
                    <a:pt x="1075" y="2422"/>
                  </a:lnTo>
                  <a:lnTo>
                    <a:pt x="1067" y="2450"/>
                  </a:lnTo>
                  <a:lnTo>
                    <a:pt x="1058" y="2474"/>
                  </a:lnTo>
                  <a:lnTo>
                    <a:pt x="1048" y="2495"/>
                  </a:lnTo>
                  <a:lnTo>
                    <a:pt x="1036" y="2514"/>
                  </a:lnTo>
                  <a:lnTo>
                    <a:pt x="1023" y="2530"/>
                  </a:lnTo>
                  <a:lnTo>
                    <a:pt x="1009" y="2543"/>
                  </a:lnTo>
                  <a:lnTo>
                    <a:pt x="993" y="2552"/>
                  </a:lnTo>
                  <a:lnTo>
                    <a:pt x="974" y="2555"/>
                  </a:lnTo>
                  <a:lnTo>
                    <a:pt x="952" y="2554"/>
                  </a:lnTo>
                  <a:lnTo>
                    <a:pt x="931" y="2550"/>
                  </a:lnTo>
                  <a:lnTo>
                    <a:pt x="909" y="2543"/>
                  </a:lnTo>
                  <a:lnTo>
                    <a:pt x="886" y="2533"/>
                  </a:lnTo>
                  <a:lnTo>
                    <a:pt x="863" y="2520"/>
                  </a:lnTo>
                  <a:lnTo>
                    <a:pt x="839" y="2505"/>
                  </a:lnTo>
                  <a:lnTo>
                    <a:pt x="814" y="2486"/>
                  </a:lnTo>
                  <a:lnTo>
                    <a:pt x="790" y="2465"/>
                  </a:lnTo>
                  <a:lnTo>
                    <a:pt x="765" y="2442"/>
                  </a:lnTo>
                  <a:lnTo>
                    <a:pt x="739" y="2416"/>
                  </a:lnTo>
                  <a:lnTo>
                    <a:pt x="713" y="2387"/>
                  </a:lnTo>
                  <a:lnTo>
                    <a:pt x="687" y="2356"/>
                  </a:lnTo>
                  <a:lnTo>
                    <a:pt x="661" y="2323"/>
                  </a:lnTo>
                  <a:lnTo>
                    <a:pt x="634" y="2287"/>
                  </a:lnTo>
                  <a:lnTo>
                    <a:pt x="607" y="2249"/>
                  </a:lnTo>
                  <a:lnTo>
                    <a:pt x="580" y="2210"/>
                  </a:lnTo>
                  <a:lnTo>
                    <a:pt x="553" y="2168"/>
                  </a:lnTo>
                  <a:lnTo>
                    <a:pt x="526" y="2124"/>
                  </a:lnTo>
                  <a:lnTo>
                    <a:pt x="499" y="2078"/>
                  </a:lnTo>
                  <a:lnTo>
                    <a:pt x="472" y="2030"/>
                  </a:lnTo>
                  <a:lnTo>
                    <a:pt x="446" y="1981"/>
                  </a:lnTo>
                  <a:lnTo>
                    <a:pt x="419" y="1929"/>
                  </a:lnTo>
                  <a:lnTo>
                    <a:pt x="392" y="1877"/>
                  </a:lnTo>
                  <a:lnTo>
                    <a:pt x="365" y="1822"/>
                  </a:lnTo>
                  <a:lnTo>
                    <a:pt x="339" y="1767"/>
                  </a:lnTo>
                  <a:lnTo>
                    <a:pt x="313" y="1710"/>
                  </a:lnTo>
                  <a:lnTo>
                    <a:pt x="288" y="1651"/>
                  </a:lnTo>
                  <a:lnTo>
                    <a:pt x="262" y="1591"/>
                  </a:lnTo>
                  <a:lnTo>
                    <a:pt x="237" y="1530"/>
                  </a:lnTo>
                  <a:lnTo>
                    <a:pt x="213" y="1468"/>
                  </a:lnTo>
                  <a:lnTo>
                    <a:pt x="189" y="1405"/>
                  </a:lnTo>
                  <a:lnTo>
                    <a:pt x="169" y="1337"/>
                  </a:lnTo>
                  <a:lnTo>
                    <a:pt x="151" y="1271"/>
                  </a:lnTo>
                  <a:lnTo>
                    <a:pt x="133" y="1205"/>
                  </a:lnTo>
                  <a:lnTo>
                    <a:pt x="117" y="1141"/>
                  </a:lnTo>
                  <a:lnTo>
                    <a:pt x="102" y="1077"/>
                  </a:lnTo>
                  <a:lnTo>
                    <a:pt x="87" y="1014"/>
                  </a:lnTo>
                  <a:lnTo>
                    <a:pt x="75" y="953"/>
                  </a:lnTo>
                  <a:lnTo>
                    <a:pt x="62" y="892"/>
                  </a:lnTo>
                  <a:lnTo>
                    <a:pt x="51" y="834"/>
                  </a:lnTo>
                  <a:lnTo>
                    <a:pt x="41" y="776"/>
                  </a:lnTo>
                  <a:lnTo>
                    <a:pt x="31" y="720"/>
                  </a:lnTo>
                  <a:lnTo>
                    <a:pt x="24" y="666"/>
                  </a:lnTo>
                  <a:lnTo>
                    <a:pt x="17" y="613"/>
                  </a:lnTo>
                  <a:lnTo>
                    <a:pt x="11" y="561"/>
                  </a:lnTo>
                  <a:lnTo>
                    <a:pt x="7" y="512"/>
                  </a:lnTo>
                  <a:lnTo>
                    <a:pt x="4" y="465"/>
                  </a:lnTo>
                  <a:lnTo>
                    <a:pt x="1" y="418"/>
                  </a:lnTo>
                  <a:lnTo>
                    <a:pt x="0" y="374"/>
                  </a:lnTo>
                  <a:lnTo>
                    <a:pt x="0" y="333"/>
                  </a:lnTo>
                  <a:lnTo>
                    <a:pt x="1" y="292"/>
                  </a:lnTo>
                  <a:lnTo>
                    <a:pt x="3" y="255"/>
                  </a:lnTo>
                  <a:lnTo>
                    <a:pt x="6" y="219"/>
                  </a:lnTo>
                  <a:lnTo>
                    <a:pt x="10" y="186"/>
                  </a:lnTo>
                  <a:lnTo>
                    <a:pt x="16" y="155"/>
                  </a:lnTo>
                  <a:lnTo>
                    <a:pt x="22" y="127"/>
                  </a:lnTo>
                  <a:lnTo>
                    <a:pt x="30" y="101"/>
                  </a:lnTo>
                  <a:lnTo>
                    <a:pt x="40" y="78"/>
                  </a:lnTo>
                  <a:lnTo>
                    <a:pt x="50" y="57"/>
                  </a:lnTo>
                  <a:lnTo>
                    <a:pt x="61" y="39"/>
                  </a:lnTo>
                  <a:lnTo>
                    <a:pt x="75" y="23"/>
                  </a:lnTo>
                  <a:lnTo>
                    <a:pt x="88" y="11"/>
                  </a:lnTo>
                  <a:lnTo>
                    <a:pt x="104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4" name="Freeform 30"/>
            <p:cNvSpPr>
              <a:spLocks noChangeArrowheads="1"/>
            </p:cNvSpPr>
            <p:nvPr/>
          </p:nvSpPr>
          <p:spPr bwMode="auto">
            <a:xfrm>
              <a:off x="7677150" y="3859157"/>
              <a:ext cx="474663" cy="1809788"/>
            </a:xfrm>
            <a:custGeom>
              <a:avLst/>
              <a:gdLst>
                <a:gd name="T0" fmla="*/ 761 w 1052"/>
                <a:gd name="T1" fmla="*/ 33 h 3275"/>
                <a:gd name="T2" fmla="*/ 852 w 1052"/>
                <a:gd name="T3" fmla="*/ 116 h 3275"/>
                <a:gd name="T4" fmla="*/ 924 w 1052"/>
                <a:gd name="T5" fmla="*/ 236 h 3275"/>
                <a:gd name="T6" fmla="*/ 985 w 1052"/>
                <a:gd name="T7" fmla="*/ 409 h 3275"/>
                <a:gd name="T8" fmla="*/ 1030 w 1052"/>
                <a:gd name="T9" fmla="*/ 624 h 3275"/>
                <a:gd name="T10" fmla="*/ 1050 w 1052"/>
                <a:gd name="T11" fmla="*/ 1607 h 3275"/>
                <a:gd name="T12" fmla="*/ 1040 w 1052"/>
                <a:gd name="T13" fmla="*/ 1717 h 3275"/>
                <a:gd name="T14" fmla="*/ 1005 w 1052"/>
                <a:gd name="T15" fmla="*/ 1980 h 3275"/>
                <a:gd name="T16" fmla="*/ 960 w 1052"/>
                <a:gd name="T17" fmla="*/ 2229 h 3275"/>
                <a:gd name="T18" fmla="*/ 896 w 1052"/>
                <a:gd name="T19" fmla="*/ 2496 h 3275"/>
                <a:gd name="T20" fmla="*/ 807 w 1052"/>
                <a:gd name="T21" fmla="*/ 2765 h 3275"/>
                <a:gd name="T22" fmla="*/ 705 w 1052"/>
                <a:gd name="T23" fmla="*/ 2985 h 3275"/>
                <a:gd name="T24" fmla="*/ 592 w 1052"/>
                <a:gd name="T25" fmla="*/ 3149 h 3275"/>
                <a:gd name="T26" fmla="*/ 471 w 1052"/>
                <a:gd name="T27" fmla="*/ 3248 h 3275"/>
                <a:gd name="T28" fmla="*/ 358 w 1052"/>
                <a:gd name="T29" fmla="*/ 3274 h 3275"/>
                <a:gd name="T30" fmla="*/ 320 w 1052"/>
                <a:gd name="T31" fmla="*/ 3265 h 3275"/>
                <a:gd name="T32" fmla="*/ 228 w 1052"/>
                <a:gd name="T33" fmla="*/ 3201 h 3275"/>
                <a:gd name="T34" fmla="*/ 159 w 1052"/>
                <a:gd name="T35" fmla="*/ 3099 h 3275"/>
                <a:gd name="T36" fmla="*/ 99 w 1052"/>
                <a:gd name="T37" fmla="*/ 2948 h 3275"/>
                <a:gd name="T38" fmla="*/ 50 w 1052"/>
                <a:gd name="T39" fmla="*/ 2737 h 3275"/>
                <a:gd name="T40" fmla="*/ 16 w 1052"/>
                <a:gd name="T41" fmla="*/ 2483 h 3275"/>
                <a:gd name="T42" fmla="*/ 0 w 1052"/>
                <a:gd name="T43" fmla="*/ 2195 h 3275"/>
                <a:gd name="T44" fmla="*/ 6 w 1052"/>
                <a:gd name="T45" fmla="*/ 1881 h 3275"/>
                <a:gd name="T46" fmla="*/ 28 w 1052"/>
                <a:gd name="T47" fmla="*/ 1601 h 3275"/>
                <a:gd name="T48" fmla="*/ 60 w 1052"/>
                <a:gd name="T49" fmla="*/ 1337 h 3275"/>
                <a:gd name="T50" fmla="*/ 102 w 1052"/>
                <a:gd name="T51" fmla="*/ 1087 h 3275"/>
                <a:gd name="T52" fmla="*/ 160 w 1052"/>
                <a:gd name="T53" fmla="*/ 829 h 3275"/>
                <a:gd name="T54" fmla="*/ 244 w 1052"/>
                <a:gd name="T55" fmla="*/ 552 h 3275"/>
                <a:gd name="T56" fmla="*/ 340 w 1052"/>
                <a:gd name="T57" fmla="*/ 323 h 3275"/>
                <a:gd name="T58" fmla="*/ 444 w 1052"/>
                <a:gd name="T59" fmla="*/ 149 h 3275"/>
                <a:gd name="T60" fmla="*/ 552 w 1052"/>
                <a:gd name="T61" fmla="*/ 39 h 3275"/>
                <a:gd name="T62" fmla="*/ 663 w 1052"/>
                <a:gd name="T63" fmla="*/ 0 h 3275"/>
                <a:gd name="T64" fmla="*/ 668 w 1052"/>
                <a:gd name="T65" fmla="*/ 176 h 3275"/>
                <a:gd name="T66" fmla="*/ 604 w 1052"/>
                <a:gd name="T67" fmla="*/ 200 h 3275"/>
                <a:gd name="T68" fmla="*/ 536 w 1052"/>
                <a:gd name="T69" fmla="*/ 286 h 3275"/>
                <a:gd name="T70" fmla="*/ 456 w 1052"/>
                <a:gd name="T71" fmla="*/ 456 h 3275"/>
                <a:gd name="T72" fmla="*/ 323 w 1052"/>
                <a:gd name="T73" fmla="*/ 883 h 3275"/>
                <a:gd name="T74" fmla="*/ 263 w 1052"/>
                <a:gd name="T75" fmla="*/ 1160 h 3275"/>
                <a:gd name="T76" fmla="*/ 223 w 1052"/>
                <a:gd name="T77" fmla="*/ 1405 h 3275"/>
                <a:gd name="T78" fmla="*/ 197 w 1052"/>
                <a:gd name="T79" fmla="*/ 1624 h 3275"/>
                <a:gd name="T80" fmla="*/ 177 w 1052"/>
                <a:gd name="T81" fmla="*/ 1885 h 3275"/>
                <a:gd name="T82" fmla="*/ 171 w 1052"/>
                <a:gd name="T83" fmla="*/ 2183 h 3275"/>
                <a:gd name="T84" fmla="*/ 184 w 1052"/>
                <a:gd name="T85" fmla="*/ 2455 h 3275"/>
                <a:gd name="T86" fmla="*/ 215 w 1052"/>
                <a:gd name="T87" fmla="*/ 2693 h 3275"/>
                <a:gd name="T88" fmla="*/ 260 w 1052"/>
                <a:gd name="T89" fmla="*/ 2890 h 3275"/>
                <a:gd name="T90" fmla="*/ 309 w 1052"/>
                <a:gd name="T91" fmla="*/ 3017 h 3275"/>
                <a:gd name="T92" fmla="*/ 355 w 1052"/>
                <a:gd name="T93" fmla="*/ 3085 h 3275"/>
                <a:gd name="T94" fmla="*/ 414 w 1052"/>
                <a:gd name="T95" fmla="*/ 3090 h 3275"/>
                <a:gd name="T96" fmla="*/ 492 w 1052"/>
                <a:gd name="T97" fmla="*/ 3021 h 3275"/>
                <a:gd name="T98" fmla="*/ 570 w 1052"/>
                <a:gd name="T99" fmla="*/ 2898 h 3275"/>
                <a:gd name="T100" fmla="*/ 656 w 1052"/>
                <a:gd name="T101" fmla="*/ 2692 h 3275"/>
                <a:gd name="T102" fmla="*/ 777 w 1052"/>
                <a:gd name="T103" fmla="*/ 2269 h 3275"/>
                <a:gd name="T104" fmla="*/ 822 w 1052"/>
                <a:gd name="T105" fmla="*/ 2035 h 3275"/>
                <a:gd name="T106" fmla="*/ 859 w 1052"/>
                <a:gd name="T107" fmla="*/ 1784 h 3275"/>
                <a:gd name="T108" fmla="*/ 880 w 1052"/>
                <a:gd name="T109" fmla="*/ 1598 h 3275"/>
                <a:gd name="T110" fmla="*/ 899 w 1052"/>
                <a:gd name="T111" fmla="*/ 1288 h 3275"/>
                <a:gd name="T112" fmla="*/ 896 w 1052"/>
                <a:gd name="T113" fmla="*/ 1000 h 3275"/>
                <a:gd name="T114" fmla="*/ 876 w 1052"/>
                <a:gd name="T115" fmla="*/ 738 h 3275"/>
                <a:gd name="T116" fmla="*/ 837 w 1052"/>
                <a:gd name="T117" fmla="*/ 513 h 3275"/>
                <a:gd name="T118" fmla="*/ 780 w 1052"/>
                <a:gd name="T119" fmla="*/ 333 h 3275"/>
                <a:gd name="T120" fmla="*/ 711 w 1052"/>
                <a:gd name="T121" fmla="*/ 213 h 3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2" h="3275">
                  <a:moveTo>
                    <a:pt x="685" y="3"/>
                  </a:moveTo>
                  <a:lnTo>
                    <a:pt x="687" y="3"/>
                  </a:lnTo>
                  <a:lnTo>
                    <a:pt x="707" y="8"/>
                  </a:lnTo>
                  <a:lnTo>
                    <a:pt x="724" y="14"/>
                  </a:lnTo>
                  <a:lnTo>
                    <a:pt x="743" y="23"/>
                  </a:lnTo>
                  <a:lnTo>
                    <a:pt x="761" y="33"/>
                  </a:lnTo>
                  <a:lnTo>
                    <a:pt x="777" y="43"/>
                  </a:lnTo>
                  <a:lnTo>
                    <a:pt x="795" y="56"/>
                  </a:lnTo>
                  <a:lnTo>
                    <a:pt x="810" y="70"/>
                  </a:lnTo>
                  <a:lnTo>
                    <a:pt x="825" y="84"/>
                  </a:lnTo>
                  <a:lnTo>
                    <a:pt x="840" y="100"/>
                  </a:lnTo>
                  <a:lnTo>
                    <a:pt x="852" y="116"/>
                  </a:lnTo>
                  <a:lnTo>
                    <a:pt x="866" y="134"/>
                  </a:lnTo>
                  <a:lnTo>
                    <a:pt x="878" y="152"/>
                  </a:lnTo>
                  <a:lnTo>
                    <a:pt x="890" y="172"/>
                  </a:lnTo>
                  <a:lnTo>
                    <a:pt x="902" y="192"/>
                  </a:lnTo>
                  <a:lnTo>
                    <a:pt x="913" y="213"/>
                  </a:lnTo>
                  <a:lnTo>
                    <a:pt x="924" y="236"/>
                  </a:lnTo>
                  <a:lnTo>
                    <a:pt x="936" y="262"/>
                  </a:lnTo>
                  <a:lnTo>
                    <a:pt x="946" y="289"/>
                  </a:lnTo>
                  <a:lnTo>
                    <a:pt x="956" y="317"/>
                  </a:lnTo>
                  <a:lnTo>
                    <a:pt x="967" y="346"/>
                  </a:lnTo>
                  <a:lnTo>
                    <a:pt x="976" y="377"/>
                  </a:lnTo>
                  <a:lnTo>
                    <a:pt x="985" y="409"/>
                  </a:lnTo>
                  <a:lnTo>
                    <a:pt x="994" y="442"/>
                  </a:lnTo>
                  <a:lnTo>
                    <a:pt x="1003" y="476"/>
                  </a:lnTo>
                  <a:lnTo>
                    <a:pt x="1010" y="511"/>
                  </a:lnTo>
                  <a:lnTo>
                    <a:pt x="1017" y="547"/>
                  </a:lnTo>
                  <a:lnTo>
                    <a:pt x="1024" y="585"/>
                  </a:lnTo>
                  <a:lnTo>
                    <a:pt x="1030" y="624"/>
                  </a:lnTo>
                  <a:lnTo>
                    <a:pt x="1037" y="663"/>
                  </a:lnTo>
                  <a:lnTo>
                    <a:pt x="1043" y="703"/>
                  </a:lnTo>
                  <a:lnTo>
                    <a:pt x="1048" y="744"/>
                  </a:lnTo>
                  <a:lnTo>
                    <a:pt x="1052" y="785"/>
                  </a:lnTo>
                  <a:lnTo>
                    <a:pt x="1052" y="1587"/>
                  </a:lnTo>
                  <a:lnTo>
                    <a:pt x="1050" y="1607"/>
                  </a:lnTo>
                  <a:lnTo>
                    <a:pt x="1048" y="1628"/>
                  </a:lnTo>
                  <a:lnTo>
                    <a:pt x="1047" y="1647"/>
                  </a:lnTo>
                  <a:lnTo>
                    <a:pt x="1045" y="1667"/>
                  </a:lnTo>
                  <a:lnTo>
                    <a:pt x="1045" y="1668"/>
                  </a:lnTo>
                  <a:lnTo>
                    <a:pt x="1044" y="1672"/>
                  </a:lnTo>
                  <a:lnTo>
                    <a:pt x="1040" y="1717"/>
                  </a:lnTo>
                  <a:lnTo>
                    <a:pt x="1034" y="1762"/>
                  </a:lnTo>
                  <a:lnTo>
                    <a:pt x="1029" y="1807"/>
                  </a:lnTo>
                  <a:lnTo>
                    <a:pt x="1023" y="1850"/>
                  </a:lnTo>
                  <a:lnTo>
                    <a:pt x="1017" y="1895"/>
                  </a:lnTo>
                  <a:lnTo>
                    <a:pt x="1011" y="1938"/>
                  </a:lnTo>
                  <a:lnTo>
                    <a:pt x="1005" y="1980"/>
                  </a:lnTo>
                  <a:lnTo>
                    <a:pt x="998" y="2022"/>
                  </a:lnTo>
                  <a:lnTo>
                    <a:pt x="991" y="2065"/>
                  </a:lnTo>
                  <a:lnTo>
                    <a:pt x="984" y="2107"/>
                  </a:lnTo>
                  <a:lnTo>
                    <a:pt x="976" y="2148"/>
                  </a:lnTo>
                  <a:lnTo>
                    <a:pt x="969" y="2188"/>
                  </a:lnTo>
                  <a:lnTo>
                    <a:pt x="960" y="2229"/>
                  </a:lnTo>
                  <a:lnTo>
                    <a:pt x="952" y="2268"/>
                  </a:lnTo>
                  <a:lnTo>
                    <a:pt x="943" y="2307"/>
                  </a:lnTo>
                  <a:lnTo>
                    <a:pt x="935" y="2344"/>
                  </a:lnTo>
                  <a:lnTo>
                    <a:pt x="922" y="2396"/>
                  </a:lnTo>
                  <a:lnTo>
                    <a:pt x="910" y="2446"/>
                  </a:lnTo>
                  <a:lnTo>
                    <a:pt x="896" y="2496"/>
                  </a:lnTo>
                  <a:lnTo>
                    <a:pt x="882" y="2543"/>
                  </a:lnTo>
                  <a:lnTo>
                    <a:pt x="868" y="2590"/>
                  </a:lnTo>
                  <a:lnTo>
                    <a:pt x="853" y="2636"/>
                  </a:lnTo>
                  <a:lnTo>
                    <a:pt x="839" y="2680"/>
                  </a:lnTo>
                  <a:lnTo>
                    <a:pt x="823" y="2722"/>
                  </a:lnTo>
                  <a:lnTo>
                    <a:pt x="807" y="2765"/>
                  </a:lnTo>
                  <a:lnTo>
                    <a:pt x="791" y="2805"/>
                  </a:lnTo>
                  <a:lnTo>
                    <a:pt x="775" y="2844"/>
                  </a:lnTo>
                  <a:lnTo>
                    <a:pt x="757" y="2881"/>
                  </a:lnTo>
                  <a:lnTo>
                    <a:pt x="740" y="2918"/>
                  </a:lnTo>
                  <a:lnTo>
                    <a:pt x="722" y="2952"/>
                  </a:lnTo>
                  <a:lnTo>
                    <a:pt x="705" y="2985"/>
                  </a:lnTo>
                  <a:lnTo>
                    <a:pt x="686" y="3016"/>
                  </a:lnTo>
                  <a:lnTo>
                    <a:pt x="668" y="3047"/>
                  </a:lnTo>
                  <a:lnTo>
                    <a:pt x="649" y="3075"/>
                  </a:lnTo>
                  <a:lnTo>
                    <a:pt x="631" y="3102"/>
                  </a:lnTo>
                  <a:lnTo>
                    <a:pt x="611" y="3126"/>
                  </a:lnTo>
                  <a:lnTo>
                    <a:pt x="592" y="3149"/>
                  </a:lnTo>
                  <a:lnTo>
                    <a:pt x="572" y="3170"/>
                  </a:lnTo>
                  <a:lnTo>
                    <a:pt x="552" y="3189"/>
                  </a:lnTo>
                  <a:lnTo>
                    <a:pt x="532" y="3207"/>
                  </a:lnTo>
                  <a:lnTo>
                    <a:pt x="512" y="3222"/>
                  </a:lnTo>
                  <a:lnTo>
                    <a:pt x="492" y="3236"/>
                  </a:lnTo>
                  <a:lnTo>
                    <a:pt x="471" y="3248"/>
                  </a:lnTo>
                  <a:lnTo>
                    <a:pt x="450" y="3257"/>
                  </a:lnTo>
                  <a:lnTo>
                    <a:pt x="429" y="3265"/>
                  </a:lnTo>
                  <a:lnTo>
                    <a:pt x="408" y="3270"/>
                  </a:lnTo>
                  <a:lnTo>
                    <a:pt x="387" y="3274"/>
                  </a:lnTo>
                  <a:lnTo>
                    <a:pt x="366" y="3275"/>
                  </a:lnTo>
                  <a:lnTo>
                    <a:pt x="358" y="3274"/>
                  </a:lnTo>
                  <a:lnTo>
                    <a:pt x="350" y="3273"/>
                  </a:lnTo>
                  <a:lnTo>
                    <a:pt x="347" y="3273"/>
                  </a:lnTo>
                  <a:lnTo>
                    <a:pt x="342" y="3271"/>
                  </a:lnTo>
                  <a:lnTo>
                    <a:pt x="337" y="3270"/>
                  </a:lnTo>
                  <a:lnTo>
                    <a:pt x="320" y="3265"/>
                  </a:lnTo>
                  <a:lnTo>
                    <a:pt x="303" y="3257"/>
                  </a:lnTo>
                  <a:lnTo>
                    <a:pt x="288" y="3249"/>
                  </a:lnTo>
                  <a:lnTo>
                    <a:pt x="272" y="3239"/>
                  </a:lnTo>
                  <a:lnTo>
                    <a:pt x="257" y="3227"/>
                  </a:lnTo>
                  <a:lnTo>
                    <a:pt x="242" y="3215"/>
                  </a:lnTo>
                  <a:lnTo>
                    <a:pt x="228" y="3201"/>
                  </a:lnTo>
                  <a:lnTo>
                    <a:pt x="215" y="3184"/>
                  </a:lnTo>
                  <a:lnTo>
                    <a:pt x="203" y="3170"/>
                  </a:lnTo>
                  <a:lnTo>
                    <a:pt x="191" y="3153"/>
                  </a:lnTo>
                  <a:lnTo>
                    <a:pt x="181" y="3136"/>
                  </a:lnTo>
                  <a:lnTo>
                    <a:pt x="169" y="3118"/>
                  </a:lnTo>
                  <a:lnTo>
                    <a:pt x="159" y="3099"/>
                  </a:lnTo>
                  <a:lnTo>
                    <a:pt x="149" y="3078"/>
                  </a:lnTo>
                  <a:lnTo>
                    <a:pt x="139" y="3057"/>
                  </a:lnTo>
                  <a:lnTo>
                    <a:pt x="130" y="3035"/>
                  </a:lnTo>
                  <a:lnTo>
                    <a:pt x="120" y="3007"/>
                  </a:lnTo>
                  <a:lnTo>
                    <a:pt x="110" y="2978"/>
                  </a:lnTo>
                  <a:lnTo>
                    <a:pt x="99" y="2948"/>
                  </a:lnTo>
                  <a:lnTo>
                    <a:pt x="90" y="2916"/>
                  </a:lnTo>
                  <a:lnTo>
                    <a:pt x="81" y="2883"/>
                  </a:lnTo>
                  <a:lnTo>
                    <a:pt x="72" y="2848"/>
                  </a:lnTo>
                  <a:lnTo>
                    <a:pt x="64" y="2813"/>
                  </a:lnTo>
                  <a:lnTo>
                    <a:pt x="57" y="2775"/>
                  </a:lnTo>
                  <a:lnTo>
                    <a:pt x="50" y="2737"/>
                  </a:lnTo>
                  <a:lnTo>
                    <a:pt x="43" y="2698"/>
                  </a:lnTo>
                  <a:lnTo>
                    <a:pt x="36" y="2656"/>
                  </a:lnTo>
                  <a:lnTo>
                    <a:pt x="30" y="2615"/>
                  </a:lnTo>
                  <a:lnTo>
                    <a:pt x="25" y="2572"/>
                  </a:lnTo>
                  <a:lnTo>
                    <a:pt x="20" y="2528"/>
                  </a:lnTo>
                  <a:lnTo>
                    <a:pt x="16" y="2483"/>
                  </a:lnTo>
                  <a:lnTo>
                    <a:pt x="12" y="2437"/>
                  </a:lnTo>
                  <a:lnTo>
                    <a:pt x="9" y="2390"/>
                  </a:lnTo>
                  <a:lnTo>
                    <a:pt x="6" y="2342"/>
                  </a:lnTo>
                  <a:lnTo>
                    <a:pt x="3" y="2294"/>
                  </a:lnTo>
                  <a:lnTo>
                    <a:pt x="2" y="2245"/>
                  </a:lnTo>
                  <a:lnTo>
                    <a:pt x="0" y="2195"/>
                  </a:lnTo>
                  <a:lnTo>
                    <a:pt x="0" y="2144"/>
                  </a:lnTo>
                  <a:lnTo>
                    <a:pt x="0" y="2092"/>
                  </a:lnTo>
                  <a:lnTo>
                    <a:pt x="0" y="2040"/>
                  </a:lnTo>
                  <a:lnTo>
                    <a:pt x="1" y="1988"/>
                  </a:lnTo>
                  <a:lnTo>
                    <a:pt x="3" y="1935"/>
                  </a:lnTo>
                  <a:lnTo>
                    <a:pt x="6" y="1881"/>
                  </a:lnTo>
                  <a:lnTo>
                    <a:pt x="9" y="1828"/>
                  </a:lnTo>
                  <a:lnTo>
                    <a:pt x="13" y="1773"/>
                  </a:lnTo>
                  <a:lnTo>
                    <a:pt x="17" y="1718"/>
                  </a:lnTo>
                  <a:lnTo>
                    <a:pt x="22" y="1663"/>
                  </a:lnTo>
                  <a:lnTo>
                    <a:pt x="27" y="1607"/>
                  </a:lnTo>
                  <a:lnTo>
                    <a:pt x="28" y="1601"/>
                  </a:lnTo>
                  <a:lnTo>
                    <a:pt x="32" y="1556"/>
                  </a:lnTo>
                  <a:lnTo>
                    <a:pt x="37" y="1511"/>
                  </a:lnTo>
                  <a:lnTo>
                    <a:pt x="43" y="1467"/>
                  </a:lnTo>
                  <a:lnTo>
                    <a:pt x="49" y="1423"/>
                  </a:lnTo>
                  <a:lnTo>
                    <a:pt x="54" y="1380"/>
                  </a:lnTo>
                  <a:lnTo>
                    <a:pt x="60" y="1337"/>
                  </a:lnTo>
                  <a:lnTo>
                    <a:pt x="66" y="1295"/>
                  </a:lnTo>
                  <a:lnTo>
                    <a:pt x="74" y="1252"/>
                  </a:lnTo>
                  <a:lnTo>
                    <a:pt x="81" y="1210"/>
                  </a:lnTo>
                  <a:lnTo>
                    <a:pt x="88" y="1169"/>
                  </a:lnTo>
                  <a:lnTo>
                    <a:pt x="95" y="1128"/>
                  </a:lnTo>
                  <a:lnTo>
                    <a:pt x="102" y="1087"/>
                  </a:lnTo>
                  <a:lnTo>
                    <a:pt x="111" y="1047"/>
                  </a:lnTo>
                  <a:lnTo>
                    <a:pt x="119" y="1007"/>
                  </a:lnTo>
                  <a:lnTo>
                    <a:pt x="127" y="969"/>
                  </a:lnTo>
                  <a:lnTo>
                    <a:pt x="136" y="931"/>
                  </a:lnTo>
                  <a:lnTo>
                    <a:pt x="148" y="879"/>
                  </a:lnTo>
                  <a:lnTo>
                    <a:pt x="160" y="829"/>
                  </a:lnTo>
                  <a:lnTo>
                    <a:pt x="173" y="780"/>
                  </a:lnTo>
                  <a:lnTo>
                    <a:pt x="187" y="732"/>
                  </a:lnTo>
                  <a:lnTo>
                    <a:pt x="200" y="685"/>
                  </a:lnTo>
                  <a:lnTo>
                    <a:pt x="215" y="640"/>
                  </a:lnTo>
                  <a:lnTo>
                    <a:pt x="229" y="596"/>
                  </a:lnTo>
                  <a:lnTo>
                    <a:pt x="244" y="552"/>
                  </a:lnTo>
                  <a:lnTo>
                    <a:pt x="259" y="510"/>
                  </a:lnTo>
                  <a:lnTo>
                    <a:pt x="274" y="470"/>
                  </a:lnTo>
                  <a:lnTo>
                    <a:pt x="291" y="431"/>
                  </a:lnTo>
                  <a:lnTo>
                    <a:pt x="307" y="394"/>
                  </a:lnTo>
                  <a:lnTo>
                    <a:pt x="323" y="358"/>
                  </a:lnTo>
                  <a:lnTo>
                    <a:pt x="340" y="323"/>
                  </a:lnTo>
                  <a:lnTo>
                    <a:pt x="357" y="290"/>
                  </a:lnTo>
                  <a:lnTo>
                    <a:pt x="374" y="258"/>
                  </a:lnTo>
                  <a:lnTo>
                    <a:pt x="391" y="229"/>
                  </a:lnTo>
                  <a:lnTo>
                    <a:pt x="408" y="200"/>
                  </a:lnTo>
                  <a:lnTo>
                    <a:pt x="426" y="174"/>
                  </a:lnTo>
                  <a:lnTo>
                    <a:pt x="444" y="149"/>
                  </a:lnTo>
                  <a:lnTo>
                    <a:pt x="462" y="126"/>
                  </a:lnTo>
                  <a:lnTo>
                    <a:pt x="480" y="105"/>
                  </a:lnTo>
                  <a:lnTo>
                    <a:pt x="498" y="85"/>
                  </a:lnTo>
                  <a:lnTo>
                    <a:pt x="516" y="68"/>
                  </a:lnTo>
                  <a:lnTo>
                    <a:pt x="535" y="52"/>
                  </a:lnTo>
                  <a:lnTo>
                    <a:pt x="552" y="39"/>
                  </a:lnTo>
                  <a:lnTo>
                    <a:pt x="571" y="27"/>
                  </a:lnTo>
                  <a:lnTo>
                    <a:pt x="590" y="17"/>
                  </a:lnTo>
                  <a:lnTo>
                    <a:pt x="608" y="10"/>
                  </a:lnTo>
                  <a:lnTo>
                    <a:pt x="627" y="4"/>
                  </a:lnTo>
                  <a:lnTo>
                    <a:pt x="644" y="1"/>
                  </a:lnTo>
                  <a:lnTo>
                    <a:pt x="663" y="0"/>
                  </a:lnTo>
                  <a:lnTo>
                    <a:pt x="674" y="1"/>
                  </a:lnTo>
                  <a:lnTo>
                    <a:pt x="685" y="3"/>
                  </a:lnTo>
                  <a:close/>
                  <a:moveTo>
                    <a:pt x="703" y="204"/>
                  </a:moveTo>
                  <a:lnTo>
                    <a:pt x="692" y="193"/>
                  </a:lnTo>
                  <a:lnTo>
                    <a:pt x="679" y="183"/>
                  </a:lnTo>
                  <a:lnTo>
                    <a:pt x="668" y="176"/>
                  </a:lnTo>
                  <a:lnTo>
                    <a:pt x="656" y="172"/>
                  </a:lnTo>
                  <a:lnTo>
                    <a:pt x="646" y="174"/>
                  </a:lnTo>
                  <a:lnTo>
                    <a:pt x="636" y="177"/>
                  </a:lnTo>
                  <a:lnTo>
                    <a:pt x="626" y="183"/>
                  </a:lnTo>
                  <a:lnTo>
                    <a:pt x="614" y="191"/>
                  </a:lnTo>
                  <a:lnTo>
                    <a:pt x="604" y="200"/>
                  </a:lnTo>
                  <a:lnTo>
                    <a:pt x="593" y="210"/>
                  </a:lnTo>
                  <a:lnTo>
                    <a:pt x="581" y="223"/>
                  </a:lnTo>
                  <a:lnTo>
                    <a:pt x="570" y="236"/>
                  </a:lnTo>
                  <a:lnTo>
                    <a:pt x="559" y="251"/>
                  </a:lnTo>
                  <a:lnTo>
                    <a:pt x="547" y="268"/>
                  </a:lnTo>
                  <a:lnTo>
                    <a:pt x="536" y="286"/>
                  </a:lnTo>
                  <a:lnTo>
                    <a:pt x="525" y="306"/>
                  </a:lnTo>
                  <a:lnTo>
                    <a:pt x="513" y="328"/>
                  </a:lnTo>
                  <a:lnTo>
                    <a:pt x="502" y="350"/>
                  </a:lnTo>
                  <a:lnTo>
                    <a:pt x="490" y="375"/>
                  </a:lnTo>
                  <a:lnTo>
                    <a:pt x="478" y="400"/>
                  </a:lnTo>
                  <a:lnTo>
                    <a:pt x="456" y="456"/>
                  </a:lnTo>
                  <a:lnTo>
                    <a:pt x="432" y="515"/>
                  </a:lnTo>
                  <a:lnTo>
                    <a:pt x="409" y="580"/>
                  </a:lnTo>
                  <a:lnTo>
                    <a:pt x="388" y="649"/>
                  </a:lnTo>
                  <a:lnTo>
                    <a:pt x="365" y="724"/>
                  </a:lnTo>
                  <a:lnTo>
                    <a:pt x="343" y="802"/>
                  </a:lnTo>
                  <a:lnTo>
                    <a:pt x="323" y="883"/>
                  </a:lnTo>
                  <a:lnTo>
                    <a:pt x="302" y="969"/>
                  </a:lnTo>
                  <a:lnTo>
                    <a:pt x="294" y="1006"/>
                  </a:lnTo>
                  <a:lnTo>
                    <a:pt x="286" y="1044"/>
                  </a:lnTo>
                  <a:lnTo>
                    <a:pt x="277" y="1082"/>
                  </a:lnTo>
                  <a:lnTo>
                    <a:pt x="270" y="1120"/>
                  </a:lnTo>
                  <a:lnTo>
                    <a:pt x="263" y="1160"/>
                  </a:lnTo>
                  <a:lnTo>
                    <a:pt x="256" y="1200"/>
                  </a:lnTo>
                  <a:lnTo>
                    <a:pt x="249" y="1240"/>
                  </a:lnTo>
                  <a:lnTo>
                    <a:pt x="242" y="1280"/>
                  </a:lnTo>
                  <a:lnTo>
                    <a:pt x="235" y="1321"/>
                  </a:lnTo>
                  <a:lnTo>
                    <a:pt x="229" y="1363"/>
                  </a:lnTo>
                  <a:lnTo>
                    <a:pt x="223" y="1405"/>
                  </a:lnTo>
                  <a:lnTo>
                    <a:pt x="218" y="1447"/>
                  </a:lnTo>
                  <a:lnTo>
                    <a:pt x="212" y="1490"/>
                  </a:lnTo>
                  <a:lnTo>
                    <a:pt x="206" y="1533"/>
                  </a:lnTo>
                  <a:lnTo>
                    <a:pt x="201" y="1576"/>
                  </a:lnTo>
                  <a:lnTo>
                    <a:pt x="197" y="1619"/>
                  </a:lnTo>
                  <a:lnTo>
                    <a:pt x="197" y="1624"/>
                  </a:lnTo>
                  <a:lnTo>
                    <a:pt x="192" y="1678"/>
                  </a:lnTo>
                  <a:lnTo>
                    <a:pt x="187" y="1731"/>
                  </a:lnTo>
                  <a:lnTo>
                    <a:pt x="183" y="1782"/>
                  </a:lnTo>
                  <a:lnTo>
                    <a:pt x="180" y="1834"/>
                  </a:lnTo>
                  <a:lnTo>
                    <a:pt x="177" y="1885"/>
                  </a:lnTo>
                  <a:lnTo>
                    <a:pt x="174" y="1937"/>
                  </a:lnTo>
                  <a:lnTo>
                    <a:pt x="172" y="1987"/>
                  </a:lnTo>
                  <a:lnTo>
                    <a:pt x="171" y="2037"/>
                  </a:lnTo>
                  <a:lnTo>
                    <a:pt x="170" y="2086"/>
                  </a:lnTo>
                  <a:lnTo>
                    <a:pt x="170" y="2135"/>
                  </a:lnTo>
                  <a:lnTo>
                    <a:pt x="171" y="2183"/>
                  </a:lnTo>
                  <a:lnTo>
                    <a:pt x="171" y="2230"/>
                  </a:lnTo>
                  <a:lnTo>
                    <a:pt x="173" y="2277"/>
                  </a:lnTo>
                  <a:lnTo>
                    <a:pt x="175" y="2322"/>
                  </a:lnTo>
                  <a:lnTo>
                    <a:pt x="178" y="2368"/>
                  </a:lnTo>
                  <a:lnTo>
                    <a:pt x="181" y="2411"/>
                  </a:lnTo>
                  <a:lnTo>
                    <a:pt x="184" y="2455"/>
                  </a:lnTo>
                  <a:lnTo>
                    <a:pt x="188" y="2498"/>
                  </a:lnTo>
                  <a:lnTo>
                    <a:pt x="193" y="2539"/>
                  </a:lnTo>
                  <a:lnTo>
                    <a:pt x="197" y="2579"/>
                  </a:lnTo>
                  <a:lnTo>
                    <a:pt x="202" y="2618"/>
                  </a:lnTo>
                  <a:lnTo>
                    <a:pt x="208" y="2656"/>
                  </a:lnTo>
                  <a:lnTo>
                    <a:pt x="215" y="2693"/>
                  </a:lnTo>
                  <a:lnTo>
                    <a:pt x="221" y="2730"/>
                  </a:lnTo>
                  <a:lnTo>
                    <a:pt x="228" y="2765"/>
                  </a:lnTo>
                  <a:lnTo>
                    <a:pt x="235" y="2798"/>
                  </a:lnTo>
                  <a:lnTo>
                    <a:pt x="243" y="2830"/>
                  </a:lnTo>
                  <a:lnTo>
                    <a:pt x="252" y="2860"/>
                  </a:lnTo>
                  <a:lnTo>
                    <a:pt x="260" y="2890"/>
                  </a:lnTo>
                  <a:lnTo>
                    <a:pt x="269" y="2918"/>
                  </a:lnTo>
                  <a:lnTo>
                    <a:pt x="278" y="2945"/>
                  </a:lnTo>
                  <a:lnTo>
                    <a:pt x="289" y="2970"/>
                  </a:lnTo>
                  <a:lnTo>
                    <a:pt x="295" y="2987"/>
                  </a:lnTo>
                  <a:lnTo>
                    <a:pt x="302" y="3003"/>
                  </a:lnTo>
                  <a:lnTo>
                    <a:pt x="309" y="3017"/>
                  </a:lnTo>
                  <a:lnTo>
                    <a:pt x="317" y="3031"/>
                  </a:lnTo>
                  <a:lnTo>
                    <a:pt x="324" y="3044"/>
                  </a:lnTo>
                  <a:lnTo>
                    <a:pt x="331" y="3055"/>
                  </a:lnTo>
                  <a:lnTo>
                    <a:pt x="339" y="3067"/>
                  </a:lnTo>
                  <a:lnTo>
                    <a:pt x="346" y="3076"/>
                  </a:lnTo>
                  <a:lnTo>
                    <a:pt x="355" y="3085"/>
                  </a:lnTo>
                  <a:lnTo>
                    <a:pt x="362" y="3092"/>
                  </a:lnTo>
                  <a:lnTo>
                    <a:pt x="369" y="3099"/>
                  </a:lnTo>
                  <a:lnTo>
                    <a:pt x="375" y="3103"/>
                  </a:lnTo>
                  <a:lnTo>
                    <a:pt x="388" y="3100"/>
                  </a:lnTo>
                  <a:lnTo>
                    <a:pt x="401" y="3097"/>
                  </a:lnTo>
                  <a:lnTo>
                    <a:pt x="414" y="3090"/>
                  </a:lnTo>
                  <a:lnTo>
                    <a:pt x="427" y="3083"/>
                  </a:lnTo>
                  <a:lnTo>
                    <a:pt x="440" y="3074"/>
                  </a:lnTo>
                  <a:lnTo>
                    <a:pt x="453" y="3064"/>
                  </a:lnTo>
                  <a:lnTo>
                    <a:pt x="466" y="3051"/>
                  </a:lnTo>
                  <a:lnTo>
                    <a:pt x="479" y="3037"/>
                  </a:lnTo>
                  <a:lnTo>
                    <a:pt x="492" y="3021"/>
                  </a:lnTo>
                  <a:lnTo>
                    <a:pt x="505" y="3005"/>
                  </a:lnTo>
                  <a:lnTo>
                    <a:pt x="517" y="2986"/>
                  </a:lnTo>
                  <a:lnTo>
                    <a:pt x="531" y="2966"/>
                  </a:lnTo>
                  <a:lnTo>
                    <a:pt x="544" y="2945"/>
                  </a:lnTo>
                  <a:lnTo>
                    <a:pt x="557" y="2922"/>
                  </a:lnTo>
                  <a:lnTo>
                    <a:pt x="570" y="2898"/>
                  </a:lnTo>
                  <a:lnTo>
                    <a:pt x="582" y="2872"/>
                  </a:lnTo>
                  <a:lnTo>
                    <a:pt x="595" y="2845"/>
                  </a:lnTo>
                  <a:lnTo>
                    <a:pt x="607" y="2817"/>
                  </a:lnTo>
                  <a:lnTo>
                    <a:pt x="619" y="2788"/>
                  </a:lnTo>
                  <a:lnTo>
                    <a:pt x="632" y="2757"/>
                  </a:lnTo>
                  <a:lnTo>
                    <a:pt x="656" y="2692"/>
                  </a:lnTo>
                  <a:lnTo>
                    <a:pt x="680" y="2623"/>
                  </a:lnTo>
                  <a:lnTo>
                    <a:pt x="703" y="2550"/>
                  </a:lnTo>
                  <a:lnTo>
                    <a:pt x="725" y="2472"/>
                  </a:lnTo>
                  <a:lnTo>
                    <a:pt x="747" y="2390"/>
                  </a:lnTo>
                  <a:lnTo>
                    <a:pt x="768" y="2306"/>
                  </a:lnTo>
                  <a:lnTo>
                    <a:pt x="777" y="2269"/>
                  </a:lnTo>
                  <a:lnTo>
                    <a:pt x="785" y="2231"/>
                  </a:lnTo>
                  <a:lnTo>
                    <a:pt x="792" y="2192"/>
                  </a:lnTo>
                  <a:lnTo>
                    <a:pt x="801" y="2153"/>
                  </a:lnTo>
                  <a:lnTo>
                    <a:pt x="808" y="2114"/>
                  </a:lnTo>
                  <a:lnTo>
                    <a:pt x="816" y="2075"/>
                  </a:lnTo>
                  <a:lnTo>
                    <a:pt x="822" y="2035"/>
                  </a:lnTo>
                  <a:lnTo>
                    <a:pt x="830" y="1995"/>
                  </a:lnTo>
                  <a:lnTo>
                    <a:pt x="836" y="1953"/>
                  </a:lnTo>
                  <a:lnTo>
                    <a:pt x="842" y="1911"/>
                  </a:lnTo>
                  <a:lnTo>
                    <a:pt x="848" y="1870"/>
                  </a:lnTo>
                  <a:lnTo>
                    <a:pt x="854" y="1828"/>
                  </a:lnTo>
                  <a:lnTo>
                    <a:pt x="859" y="1784"/>
                  </a:lnTo>
                  <a:lnTo>
                    <a:pt x="865" y="1741"/>
                  </a:lnTo>
                  <a:lnTo>
                    <a:pt x="870" y="1699"/>
                  </a:lnTo>
                  <a:lnTo>
                    <a:pt x="874" y="1654"/>
                  </a:lnTo>
                  <a:lnTo>
                    <a:pt x="875" y="1653"/>
                  </a:lnTo>
                  <a:lnTo>
                    <a:pt x="875" y="1650"/>
                  </a:lnTo>
                  <a:lnTo>
                    <a:pt x="880" y="1598"/>
                  </a:lnTo>
                  <a:lnTo>
                    <a:pt x="884" y="1545"/>
                  </a:lnTo>
                  <a:lnTo>
                    <a:pt x="888" y="1493"/>
                  </a:lnTo>
                  <a:lnTo>
                    <a:pt x="892" y="1441"/>
                  </a:lnTo>
                  <a:lnTo>
                    <a:pt x="894" y="1389"/>
                  </a:lnTo>
                  <a:lnTo>
                    <a:pt x="898" y="1339"/>
                  </a:lnTo>
                  <a:lnTo>
                    <a:pt x="899" y="1288"/>
                  </a:lnTo>
                  <a:lnTo>
                    <a:pt x="900" y="1239"/>
                  </a:lnTo>
                  <a:lnTo>
                    <a:pt x="901" y="1189"/>
                  </a:lnTo>
                  <a:lnTo>
                    <a:pt x="901" y="1141"/>
                  </a:lnTo>
                  <a:lnTo>
                    <a:pt x="900" y="1094"/>
                  </a:lnTo>
                  <a:lnTo>
                    <a:pt x="899" y="1046"/>
                  </a:lnTo>
                  <a:lnTo>
                    <a:pt x="896" y="1000"/>
                  </a:lnTo>
                  <a:lnTo>
                    <a:pt x="894" y="953"/>
                  </a:lnTo>
                  <a:lnTo>
                    <a:pt x="892" y="909"/>
                  </a:lnTo>
                  <a:lnTo>
                    <a:pt x="889" y="865"/>
                  </a:lnTo>
                  <a:lnTo>
                    <a:pt x="885" y="821"/>
                  </a:lnTo>
                  <a:lnTo>
                    <a:pt x="881" y="779"/>
                  </a:lnTo>
                  <a:lnTo>
                    <a:pt x="876" y="738"/>
                  </a:lnTo>
                  <a:lnTo>
                    <a:pt x="871" y="698"/>
                  </a:lnTo>
                  <a:lnTo>
                    <a:pt x="865" y="659"/>
                  </a:lnTo>
                  <a:lnTo>
                    <a:pt x="858" y="620"/>
                  </a:lnTo>
                  <a:lnTo>
                    <a:pt x="851" y="583"/>
                  </a:lnTo>
                  <a:lnTo>
                    <a:pt x="844" y="548"/>
                  </a:lnTo>
                  <a:lnTo>
                    <a:pt x="837" y="513"/>
                  </a:lnTo>
                  <a:lnTo>
                    <a:pt x="828" y="480"/>
                  </a:lnTo>
                  <a:lnTo>
                    <a:pt x="819" y="448"/>
                  </a:lnTo>
                  <a:lnTo>
                    <a:pt x="810" y="417"/>
                  </a:lnTo>
                  <a:lnTo>
                    <a:pt x="801" y="387"/>
                  </a:lnTo>
                  <a:lnTo>
                    <a:pt x="790" y="360"/>
                  </a:lnTo>
                  <a:lnTo>
                    <a:pt x="780" y="333"/>
                  </a:lnTo>
                  <a:lnTo>
                    <a:pt x="769" y="308"/>
                  </a:lnTo>
                  <a:lnTo>
                    <a:pt x="753" y="276"/>
                  </a:lnTo>
                  <a:lnTo>
                    <a:pt x="737" y="248"/>
                  </a:lnTo>
                  <a:lnTo>
                    <a:pt x="729" y="236"/>
                  </a:lnTo>
                  <a:lnTo>
                    <a:pt x="720" y="224"/>
                  </a:lnTo>
                  <a:lnTo>
                    <a:pt x="711" y="213"/>
                  </a:lnTo>
                  <a:lnTo>
                    <a:pt x="703" y="2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5" name="Freeform 31"/>
            <p:cNvSpPr>
              <a:spLocks noChangeArrowheads="1"/>
            </p:cNvSpPr>
            <p:nvPr/>
          </p:nvSpPr>
          <p:spPr bwMode="auto">
            <a:xfrm>
              <a:off x="7720013" y="3903607"/>
              <a:ext cx="403225" cy="1720886"/>
            </a:xfrm>
            <a:custGeom>
              <a:avLst/>
              <a:gdLst>
                <a:gd name="T0" fmla="*/ 624 w 900"/>
                <a:gd name="T1" fmla="*/ 17 h 3103"/>
                <a:gd name="T2" fmla="*/ 687 w 900"/>
                <a:gd name="T3" fmla="*/ 68 h 3103"/>
                <a:gd name="T4" fmla="*/ 743 w 900"/>
                <a:gd name="T5" fmla="*/ 151 h 3103"/>
                <a:gd name="T6" fmla="*/ 791 w 900"/>
                <a:gd name="T7" fmla="*/ 261 h 3103"/>
                <a:gd name="T8" fmla="*/ 831 w 900"/>
                <a:gd name="T9" fmla="*/ 397 h 3103"/>
                <a:gd name="T10" fmla="*/ 863 w 900"/>
                <a:gd name="T11" fmla="*/ 555 h 3103"/>
                <a:gd name="T12" fmla="*/ 885 w 900"/>
                <a:gd name="T13" fmla="*/ 732 h 3103"/>
                <a:gd name="T14" fmla="*/ 898 w 900"/>
                <a:gd name="T15" fmla="*/ 926 h 3103"/>
                <a:gd name="T16" fmla="*/ 900 w 900"/>
                <a:gd name="T17" fmla="*/ 1132 h 3103"/>
                <a:gd name="T18" fmla="*/ 893 w 900"/>
                <a:gd name="T19" fmla="*/ 1349 h 3103"/>
                <a:gd name="T20" fmla="*/ 874 w 900"/>
                <a:gd name="T21" fmla="*/ 1574 h 3103"/>
                <a:gd name="T22" fmla="*/ 846 w 900"/>
                <a:gd name="T23" fmla="*/ 1808 h 3103"/>
                <a:gd name="T24" fmla="*/ 810 w 900"/>
                <a:gd name="T25" fmla="*/ 2030 h 3103"/>
                <a:gd name="T26" fmla="*/ 766 w 900"/>
                <a:gd name="T27" fmla="*/ 2239 h 3103"/>
                <a:gd name="T28" fmla="*/ 717 w 900"/>
                <a:gd name="T29" fmla="*/ 2431 h 3103"/>
                <a:gd name="T30" fmla="*/ 661 w 900"/>
                <a:gd name="T31" fmla="*/ 2604 h 3103"/>
                <a:gd name="T32" fmla="*/ 600 w 900"/>
                <a:gd name="T33" fmla="*/ 2756 h 3103"/>
                <a:gd name="T34" fmla="*/ 536 w 900"/>
                <a:gd name="T35" fmla="*/ 2884 h 3103"/>
                <a:gd name="T36" fmla="*/ 470 w 900"/>
                <a:gd name="T37" fmla="*/ 2985 h 3103"/>
                <a:gd name="T38" fmla="*/ 399 w 900"/>
                <a:gd name="T39" fmla="*/ 3056 h 3103"/>
                <a:gd name="T40" fmla="*/ 328 w 900"/>
                <a:gd name="T41" fmla="*/ 3096 h 3103"/>
                <a:gd name="T42" fmla="*/ 261 w 900"/>
                <a:gd name="T43" fmla="*/ 3098 h 3103"/>
                <a:gd name="T44" fmla="*/ 206 w 900"/>
                <a:gd name="T45" fmla="*/ 3057 h 3103"/>
                <a:gd name="T46" fmla="*/ 155 w 900"/>
                <a:gd name="T47" fmla="*/ 2985 h 3103"/>
                <a:gd name="T48" fmla="*/ 111 w 900"/>
                <a:gd name="T49" fmla="*/ 2883 h 3103"/>
                <a:gd name="T50" fmla="*/ 73 w 900"/>
                <a:gd name="T51" fmla="*/ 2755 h 3103"/>
                <a:gd name="T52" fmla="*/ 43 w 900"/>
                <a:gd name="T53" fmla="*/ 2604 h 3103"/>
                <a:gd name="T54" fmla="*/ 19 w 900"/>
                <a:gd name="T55" fmla="*/ 2433 h 3103"/>
                <a:gd name="T56" fmla="*/ 5 w 900"/>
                <a:gd name="T57" fmla="*/ 2246 h 3103"/>
                <a:gd name="T58" fmla="*/ 0 w 900"/>
                <a:gd name="T59" fmla="*/ 2043 h 3103"/>
                <a:gd name="T60" fmla="*/ 5 w 900"/>
                <a:gd name="T61" fmla="*/ 1829 h 3103"/>
                <a:gd name="T62" fmla="*/ 19 w 900"/>
                <a:gd name="T63" fmla="*/ 1607 h 3103"/>
                <a:gd name="T64" fmla="*/ 45 w 900"/>
                <a:gd name="T65" fmla="*/ 1374 h 3103"/>
                <a:gd name="T66" fmla="*/ 78 w 900"/>
                <a:gd name="T67" fmla="*/ 1147 h 3103"/>
                <a:gd name="T68" fmla="*/ 119 w 900"/>
                <a:gd name="T69" fmla="*/ 933 h 3103"/>
                <a:gd name="T70" fmla="*/ 166 w 900"/>
                <a:gd name="T71" fmla="*/ 735 h 3103"/>
                <a:gd name="T72" fmla="*/ 217 w 900"/>
                <a:gd name="T73" fmla="*/ 556 h 3103"/>
                <a:gd name="T74" fmla="*/ 274 w 900"/>
                <a:gd name="T75" fmla="*/ 396 h 3103"/>
                <a:gd name="T76" fmla="*/ 333 w 900"/>
                <a:gd name="T77" fmla="*/ 261 h 3103"/>
                <a:gd name="T78" fmla="*/ 393 w 900"/>
                <a:gd name="T79" fmla="*/ 151 h 3103"/>
                <a:gd name="T80" fmla="*/ 455 w 900"/>
                <a:gd name="T81" fmla="*/ 70 h 3103"/>
                <a:gd name="T82" fmla="*/ 517 w 900"/>
                <a:gd name="T83" fmla="*/ 18 h 3103"/>
                <a:gd name="T84" fmla="*/ 578 w 900"/>
                <a:gd name="T85" fmla="*/ 0 h 3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0" h="3103">
                  <a:moveTo>
                    <a:pt x="578" y="0"/>
                  </a:moveTo>
                  <a:lnTo>
                    <a:pt x="601" y="7"/>
                  </a:lnTo>
                  <a:lnTo>
                    <a:pt x="624" y="17"/>
                  </a:lnTo>
                  <a:lnTo>
                    <a:pt x="646" y="30"/>
                  </a:lnTo>
                  <a:lnTo>
                    <a:pt x="667" y="48"/>
                  </a:lnTo>
                  <a:lnTo>
                    <a:pt x="687" y="68"/>
                  </a:lnTo>
                  <a:lnTo>
                    <a:pt x="706" y="92"/>
                  </a:lnTo>
                  <a:lnTo>
                    <a:pt x="725" y="120"/>
                  </a:lnTo>
                  <a:lnTo>
                    <a:pt x="743" y="151"/>
                  </a:lnTo>
                  <a:lnTo>
                    <a:pt x="760" y="185"/>
                  </a:lnTo>
                  <a:lnTo>
                    <a:pt x="776" y="222"/>
                  </a:lnTo>
                  <a:lnTo>
                    <a:pt x="791" y="261"/>
                  </a:lnTo>
                  <a:lnTo>
                    <a:pt x="805" y="305"/>
                  </a:lnTo>
                  <a:lnTo>
                    <a:pt x="819" y="350"/>
                  </a:lnTo>
                  <a:lnTo>
                    <a:pt x="831" y="397"/>
                  </a:lnTo>
                  <a:lnTo>
                    <a:pt x="842" y="448"/>
                  </a:lnTo>
                  <a:lnTo>
                    <a:pt x="854" y="500"/>
                  </a:lnTo>
                  <a:lnTo>
                    <a:pt x="863" y="555"/>
                  </a:lnTo>
                  <a:lnTo>
                    <a:pt x="871" y="613"/>
                  </a:lnTo>
                  <a:lnTo>
                    <a:pt x="878" y="672"/>
                  </a:lnTo>
                  <a:lnTo>
                    <a:pt x="885" y="732"/>
                  </a:lnTo>
                  <a:lnTo>
                    <a:pt x="890" y="795"/>
                  </a:lnTo>
                  <a:lnTo>
                    <a:pt x="894" y="859"/>
                  </a:lnTo>
                  <a:lnTo>
                    <a:pt x="898" y="926"/>
                  </a:lnTo>
                  <a:lnTo>
                    <a:pt x="900" y="993"/>
                  </a:lnTo>
                  <a:lnTo>
                    <a:pt x="900" y="1062"/>
                  </a:lnTo>
                  <a:lnTo>
                    <a:pt x="900" y="1132"/>
                  </a:lnTo>
                  <a:lnTo>
                    <a:pt x="899" y="1203"/>
                  </a:lnTo>
                  <a:lnTo>
                    <a:pt x="897" y="1276"/>
                  </a:lnTo>
                  <a:lnTo>
                    <a:pt x="893" y="1349"/>
                  </a:lnTo>
                  <a:lnTo>
                    <a:pt x="888" y="1423"/>
                  </a:lnTo>
                  <a:lnTo>
                    <a:pt x="882" y="1498"/>
                  </a:lnTo>
                  <a:lnTo>
                    <a:pt x="874" y="1574"/>
                  </a:lnTo>
                  <a:lnTo>
                    <a:pt x="866" y="1653"/>
                  </a:lnTo>
                  <a:lnTo>
                    <a:pt x="857" y="1731"/>
                  </a:lnTo>
                  <a:lnTo>
                    <a:pt x="846" y="1808"/>
                  </a:lnTo>
                  <a:lnTo>
                    <a:pt x="835" y="1884"/>
                  </a:lnTo>
                  <a:lnTo>
                    <a:pt x="823" y="1958"/>
                  </a:lnTo>
                  <a:lnTo>
                    <a:pt x="810" y="2030"/>
                  </a:lnTo>
                  <a:lnTo>
                    <a:pt x="796" y="2102"/>
                  </a:lnTo>
                  <a:lnTo>
                    <a:pt x="782" y="2171"/>
                  </a:lnTo>
                  <a:lnTo>
                    <a:pt x="766" y="2239"/>
                  </a:lnTo>
                  <a:lnTo>
                    <a:pt x="751" y="2305"/>
                  </a:lnTo>
                  <a:lnTo>
                    <a:pt x="733" y="2369"/>
                  </a:lnTo>
                  <a:lnTo>
                    <a:pt x="717" y="2431"/>
                  </a:lnTo>
                  <a:lnTo>
                    <a:pt x="698" y="2491"/>
                  </a:lnTo>
                  <a:lnTo>
                    <a:pt x="680" y="2549"/>
                  </a:lnTo>
                  <a:lnTo>
                    <a:pt x="661" y="2604"/>
                  </a:lnTo>
                  <a:lnTo>
                    <a:pt x="642" y="2658"/>
                  </a:lnTo>
                  <a:lnTo>
                    <a:pt x="621" y="2708"/>
                  </a:lnTo>
                  <a:lnTo>
                    <a:pt x="600" y="2756"/>
                  </a:lnTo>
                  <a:lnTo>
                    <a:pt x="580" y="2801"/>
                  </a:lnTo>
                  <a:lnTo>
                    <a:pt x="558" y="2844"/>
                  </a:lnTo>
                  <a:lnTo>
                    <a:pt x="536" y="2884"/>
                  </a:lnTo>
                  <a:lnTo>
                    <a:pt x="514" y="2920"/>
                  </a:lnTo>
                  <a:lnTo>
                    <a:pt x="492" y="2954"/>
                  </a:lnTo>
                  <a:lnTo>
                    <a:pt x="470" y="2985"/>
                  </a:lnTo>
                  <a:lnTo>
                    <a:pt x="446" y="3012"/>
                  </a:lnTo>
                  <a:lnTo>
                    <a:pt x="423" y="3035"/>
                  </a:lnTo>
                  <a:lnTo>
                    <a:pt x="399" y="3056"/>
                  </a:lnTo>
                  <a:lnTo>
                    <a:pt x="376" y="3073"/>
                  </a:lnTo>
                  <a:lnTo>
                    <a:pt x="352" y="3087"/>
                  </a:lnTo>
                  <a:lnTo>
                    <a:pt x="328" y="3096"/>
                  </a:lnTo>
                  <a:lnTo>
                    <a:pt x="305" y="3102"/>
                  </a:lnTo>
                  <a:lnTo>
                    <a:pt x="281" y="3103"/>
                  </a:lnTo>
                  <a:lnTo>
                    <a:pt x="261" y="3098"/>
                  </a:lnTo>
                  <a:lnTo>
                    <a:pt x="242" y="3088"/>
                  </a:lnTo>
                  <a:lnTo>
                    <a:pt x="223" y="3074"/>
                  </a:lnTo>
                  <a:lnTo>
                    <a:pt x="206" y="3057"/>
                  </a:lnTo>
                  <a:lnTo>
                    <a:pt x="188" y="3036"/>
                  </a:lnTo>
                  <a:lnTo>
                    <a:pt x="172" y="3013"/>
                  </a:lnTo>
                  <a:lnTo>
                    <a:pt x="155" y="2985"/>
                  </a:lnTo>
                  <a:lnTo>
                    <a:pt x="140" y="2954"/>
                  </a:lnTo>
                  <a:lnTo>
                    <a:pt x="125" y="2920"/>
                  </a:lnTo>
                  <a:lnTo>
                    <a:pt x="111" y="2883"/>
                  </a:lnTo>
                  <a:lnTo>
                    <a:pt x="98" y="2844"/>
                  </a:lnTo>
                  <a:lnTo>
                    <a:pt x="85" y="2800"/>
                  </a:lnTo>
                  <a:lnTo>
                    <a:pt x="73" y="2755"/>
                  </a:lnTo>
                  <a:lnTo>
                    <a:pt x="63" y="2707"/>
                  </a:lnTo>
                  <a:lnTo>
                    <a:pt x="52" y="2657"/>
                  </a:lnTo>
                  <a:lnTo>
                    <a:pt x="43" y="2604"/>
                  </a:lnTo>
                  <a:lnTo>
                    <a:pt x="34" y="2550"/>
                  </a:lnTo>
                  <a:lnTo>
                    <a:pt x="27" y="2492"/>
                  </a:lnTo>
                  <a:lnTo>
                    <a:pt x="19" y="2433"/>
                  </a:lnTo>
                  <a:lnTo>
                    <a:pt x="14" y="2372"/>
                  </a:lnTo>
                  <a:lnTo>
                    <a:pt x="9" y="2310"/>
                  </a:lnTo>
                  <a:lnTo>
                    <a:pt x="5" y="2246"/>
                  </a:lnTo>
                  <a:lnTo>
                    <a:pt x="3" y="2180"/>
                  </a:lnTo>
                  <a:lnTo>
                    <a:pt x="1" y="2112"/>
                  </a:lnTo>
                  <a:lnTo>
                    <a:pt x="0" y="2043"/>
                  </a:lnTo>
                  <a:lnTo>
                    <a:pt x="1" y="1972"/>
                  </a:lnTo>
                  <a:lnTo>
                    <a:pt x="2" y="1901"/>
                  </a:lnTo>
                  <a:lnTo>
                    <a:pt x="5" y="1829"/>
                  </a:lnTo>
                  <a:lnTo>
                    <a:pt x="8" y="1756"/>
                  </a:lnTo>
                  <a:lnTo>
                    <a:pt x="13" y="1682"/>
                  </a:lnTo>
                  <a:lnTo>
                    <a:pt x="19" y="1607"/>
                  </a:lnTo>
                  <a:lnTo>
                    <a:pt x="27" y="1531"/>
                  </a:lnTo>
                  <a:lnTo>
                    <a:pt x="35" y="1452"/>
                  </a:lnTo>
                  <a:lnTo>
                    <a:pt x="45" y="1374"/>
                  </a:lnTo>
                  <a:lnTo>
                    <a:pt x="54" y="1297"/>
                  </a:lnTo>
                  <a:lnTo>
                    <a:pt x="66" y="1221"/>
                  </a:lnTo>
                  <a:lnTo>
                    <a:pt x="78" y="1147"/>
                  </a:lnTo>
                  <a:lnTo>
                    <a:pt x="90" y="1075"/>
                  </a:lnTo>
                  <a:lnTo>
                    <a:pt x="105" y="1003"/>
                  </a:lnTo>
                  <a:lnTo>
                    <a:pt x="119" y="933"/>
                  </a:lnTo>
                  <a:lnTo>
                    <a:pt x="134" y="865"/>
                  </a:lnTo>
                  <a:lnTo>
                    <a:pt x="149" y="799"/>
                  </a:lnTo>
                  <a:lnTo>
                    <a:pt x="166" y="735"/>
                  </a:lnTo>
                  <a:lnTo>
                    <a:pt x="182" y="674"/>
                  </a:lnTo>
                  <a:lnTo>
                    <a:pt x="200" y="614"/>
                  </a:lnTo>
                  <a:lnTo>
                    <a:pt x="217" y="556"/>
                  </a:lnTo>
                  <a:lnTo>
                    <a:pt x="236" y="500"/>
                  </a:lnTo>
                  <a:lnTo>
                    <a:pt x="254" y="447"/>
                  </a:lnTo>
                  <a:lnTo>
                    <a:pt x="274" y="396"/>
                  </a:lnTo>
                  <a:lnTo>
                    <a:pt x="293" y="349"/>
                  </a:lnTo>
                  <a:lnTo>
                    <a:pt x="313" y="304"/>
                  </a:lnTo>
                  <a:lnTo>
                    <a:pt x="333" y="261"/>
                  </a:lnTo>
                  <a:lnTo>
                    <a:pt x="353" y="221"/>
                  </a:lnTo>
                  <a:lnTo>
                    <a:pt x="373" y="185"/>
                  </a:lnTo>
                  <a:lnTo>
                    <a:pt x="393" y="151"/>
                  </a:lnTo>
                  <a:lnTo>
                    <a:pt x="414" y="120"/>
                  </a:lnTo>
                  <a:lnTo>
                    <a:pt x="434" y="93"/>
                  </a:lnTo>
                  <a:lnTo>
                    <a:pt x="455" y="70"/>
                  </a:lnTo>
                  <a:lnTo>
                    <a:pt x="476" y="49"/>
                  </a:lnTo>
                  <a:lnTo>
                    <a:pt x="496" y="31"/>
                  </a:lnTo>
                  <a:lnTo>
                    <a:pt x="517" y="18"/>
                  </a:lnTo>
                  <a:lnTo>
                    <a:pt x="537" y="9"/>
                  </a:lnTo>
                  <a:lnTo>
                    <a:pt x="558" y="3"/>
                  </a:lnTo>
                  <a:lnTo>
                    <a:pt x="57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6" name="Freeform 32"/>
            <p:cNvSpPr>
              <a:spLocks noChangeArrowheads="1"/>
            </p:cNvSpPr>
            <p:nvPr/>
          </p:nvSpPr>
          <p:spPr bwMode="auto">
            <a:xfrm>
              <a:off x="7742238" y="4241752"/>
              <a:ext cx="409575" cy="1438305"/>
            </a:xfrm>
            <a:custGeom>
              <a:avLst/>
              <a:gdLst>
                <a:gd name="T0" fmla="*/ 747 w 916"/>
                <a:gd name="T1" fmla="*/ 2250 h 2598"/>
                <a:gd name="T2" fmla="*/ 604 w 916"/>
                <a:gd name="T3" fmla="*/ 2409 h 2598"/>
                <a:gd name="T4" fmla="*/ 470 w 916"/>
                <a:gd name="T5" fmla="*/ 2519 h 2598"/>
                <a:gd name="T6" fmla="*/ 348 w 916"/>
                <a:gd name="T7" fmla="*/ 2582 h 2598"/>
                <a:gd name="T8" fmla="*/ 285 w 916"/>
                <a:gd name="T9" fmla="*/ 2596 h 2598"/>
                <a:gd name="T10" fmla="*/ 224 w 916"/>
                <a:gd name="T11" fmla="*/ 2596 h 2598"/>
                <a:gd name="T12" fmla="*/ 168 w 916"/>
                <a:gd name="T13" fmla="*/ 2580 h 2598"/>
                <a:gd name="T14" fmla="*/ 141 w 916"/>
                <a:gd name="T15" fmla="*/ 2567 h 2598"/>
                <a:gd name="T16" fmla="*/ 89 w 916"/>
                <a:gd name="T17" fmla="*/ 2527 h 2598"/>
                <a:gd name="T18" fmla="*/ 48 w 916"/>
                <a:gd name="T19" fmla="*/ 2469 h 2598"/>
                <a:gd name="T20" fmla="*/ 20 w 916"/>
                <a:gd name="T21" fmla="*/ 2392 h 2598"/>
                <a:gd name="T22" fmla="*/ 4 w 916"/>
                <a:gd name="T23" fmla="*/ 2300 h 2598"/>
                <a:gd name="T24" fmla="*/ 8 w 916"/>
                <a:gd name="T25" fmla="*/ 2073 h 2598"/>
                <a:gd name="T26" fmla="*/ 50 w 916"/>
                <a:gd name="T27" fmla="*/ 1817 h 2598"/>
                <a:gd name="T28" fmla="*/ 124 w 916"/>
                <a:gd name="T29" fmla="*/ 1531 h 2598"/>
                <a:gd name="T30" fmla="*/ 229 w 916"/>
                <a:gd name="T31" fmla="*/ 1219 h 2598"/>
                <a:gd name="T32" fmla="*/ 309 w 916"/>
                <a:gd name="T33" fmla="*/ 1015 h 2598"/>
                <a:gd name="T34" fmla="*/ 364 w 916"/>
                <a:gd name="T35" fmla="*/ 887 h 2598"/>
                <a:gd name="T36" fmla="*/ 451 w 916"/>
                <a:gd name="T37" fmla="*/ 717 h 2598"/>
                <a:gd name="T38" fmla="*/ 538 w 916"/>
                <a:gd name="T39" fmla="*/ 561 h 2598"/>
                <a:gd name="T40" fmla="*/ 643 w 916"/>
                <a:gd name="T41" fmla="*/ 387 h 2598"/>
                <a:gd name="T42" fmla="*/ 758 w 916"/>
                <a:gd name="T43" fmla="*/ 211 h 2598"/>
                <a:gd name="T44" fmla="*/ 890 w 916"/>
                <a:gd name="T45" fmla="*/ 33 h 2598"/>
                <a:gd name="T46" fmla="*/ 916 w 916"/>
                <a:gd name="T47" fmla="*/ 1782 h 2598"/>
                <a:gd name="T48" fmla="*/ 866 w 916"/>
                <a:gd name="T49" fmla="*/ 357 h 2598"/>
                <a:gd name="T50" fmla="*/ 767 w 916"/>
                <a:gd name="T51" fmla="*/ 511 h 2598"/>
                <a:gd name="T52" fmla="*/ 682 w 916"/>
                <a:gd name="T53" fmla="*/ 653 h 2598"/>
                <a:gd name="T54" fmla="*/ 579 w 916"/>
                <a:gd name="T55" fmla="*/ 842 h 2598"/>
                <a:gd name="T56" fmla="*/ 519 w 916"/>
                <a:gd name="T57" fmla="*/ 957 h 2598"/>
                <a:gd name="T58" fmla="*/ 467 w 916"/>
                <a:gd name="T59" fmla="*/ 1080 h 2598"/>
                <a:gd name="T60" fmla="*/ 389 w 916"/>
                <a:gd name="T61" fmla="*/ 1278 h 2598"/>
                <a:gd name="T62" fmla="*/ 288 w 916"/>
                <a:gd name="T63" fmla="*/ 1577 h 2598"/>
                <a:gd name="T64" fmla="*/ 217 w 916"/>
                <a:gd name="T65" fmla="*/ 1850 h 2598"/>
                <a:gd name="T66" fmla="*/ 177 w 916"/>
                <a:gd name="T67" fmla="*/ 2081 h 2598"/>
                <a:gd name="T68" fmla="*/ 167 w 916"/>
                <a:gd name="T69" fmla="*/ 2243 h 2598"/>
                <a:gd name="T70" fmla="*/ 180 w 916"/>
                <a:gd name="T71" fmla="*/ 2356 h 2598"/>
                <a:gd name="T72" fmla="*/ 198 w 916"/>
                <a:gd name="T73" fmla="*/ 2397 h 2598"/>
                <a:gd name="T74" fmla="*/ 217 w 916"/>
                <a:gd name="T75" fmla="*/ 2414 h 2598"/>
                <a:gd name="T76" fmla="*/ 903 w 916"/>
                <a:gd name="T77" fmla="*/ 1714 h 2598"/>
                <a:gd name="T78" fmla="*/ 514 w 916"/>
                <a:gd name="T79" fmla="*/ 2255 h 2598"/>
                <a:gd name="T80" fmla="*/ 636 w 916"/>
                <a:gd name="T81" fmla="*/ 2115 h 2598"/>
                <a:gd name="T82" fmla="*/ 762 w 916"/>
                <a:gd name="T83" fmla="*/ 1942 h 2598"/>
                <a:gd name="T84" fmla="*/ 468 w 916"/>
                <a:gd name="T85" fmla="*/ 2302 h 2598"/>
                <a:gd name="T86" fmla="*/ 277 w 916"/>
                <a:gd name="T87" fmla="*/ 2427 h 2598"/>
                <a:gd name="T88" fmla="*/ 346 w 916"/>
                <a:gd name="T89" fmla="*/ 2398 h 2598"/>
                <a:gd name="T90" fmla="*/ 431 w 916"/>
                <a:gd name="T91" fmla="*/ 2336 h 2598"/>
                <a:gd name="T92" fmla="*/ 160 w 916"/>
                <a:gd name="T93" fmla="*/ 2577 h 2598"/>
                <a:gd name="T94" fmla="*/ 236 w 916"/>
                <a:gd name="T95" fmla="*/ 2423 h 2598"/>
                <a:gd name="T96" fmla="*/ 151 w 916"/>
                <a:gd name="T97" fmla="*/ 2572 h 2598"/>
                <a:gd name="T98" fmla="*/ 123 w 916"/>
                <a:gd name="T99" fmla="*/ 2553 h 2598"/>
                <a:gd name="T100" fmla="*/ 103 w 916"/>
                <a:gd name="T101" fmla="*/ 2521 h 2598"/>
                <a:gd name="T102" fmla="*/ 99 w 916"/>
                <a:gd name="T103" fmla="*/ 2484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6" h="2598">
                  <a:moveTo>
                    <a:pt x="916" y="2018"/>
                  </a:moveTo>
                  <a:lnTo>
                    <a:pt x="874" y="2081"/>
                  </a:lnTo>
                  <a:lnTo>
                    <a:pt x="832" y="2141"/>
                  </a:lnTo>
                  <a:lnTo>
                    <a:pt x="789" y="2196"/>
                  </a:lnTo>
                  <a:lnTo>
                    <a:pt x="747" y="2250"/>
                  </a:lnTo>
                  <a:lnTo>
                    <a:pt x="706" y="2299"/>
                  </a:lnTo>
                  <a:lnTo>
                    <a:pt x="665" y="2346"/>
                  </a:lnTo>
                  <a:lnTo>
                    <a:pt x="644" y="2367"/>
                  </a:lnTo>
                  <a:lnTo>
                    <a:pt x="625" y="2388"/>
                  </a:lnTo>
                  <a:lnTo>
                    <a:pt x="604" y="2409"/>
                  </a:lnTo>
                  <a:lnTo>
                    <a:pt x="584" y="2427"/>
                  </a:lnTo>
                  <a:lnTo>
                    <a:pt x="556" y="2453"/>
                  </a:lnTo>
                  <a:lnTo>
                    <a:pt x="527" y="2478"/>
                  </a:lnTo>
                  <a:lnTo>
                    <a:pt x="499" y="2499"/>
                  </a:lnTo>
                  <a:lnTo>
                    <a:pt x="470" y="2519"/>
                  </a:lnTo>
                  <a:lnTo>
                    <a:pt x="442" y="2538"/>
                  </a:lnTo>
                  <a:lnTo>
                    <a:pt x="415" y="2553"/>
                  </a:lnTo>
                  <a:lnTo>
                    <a:pt x="389" y="2566"/>
                  </a:lnTo>
                  <a:lnTo>
                    <a:pt x="362" y="2577"/>
                  </a:lnTo>
                  <a:lnTo>
                    <a:pt x="348" y="2582"/>
                  </a:lnTo>
                  <a:lnTo>
                    <a:pt x="335" y="2586"/>
                  </a:lnTo>
                  <a:lnTo>
                    <a:pt x="323" y="2590"/>
                  </a:lnTo>
                  <a:lnTo>
                    <a:pt x="310" y="2592"/>
                  </a:lnTo>
                  <a:lnTo>
                    <a:pt x="297" y="2595"/>
                  </a:lnTo>
                  <a:lnTo>
                    <a:pt x="285" y="2596"/>
                  </a:lnTo>
                  <a:lnTo>
                    <a:pt x="272" y="2598"/>
                  </a:lnTo>
                  <a:lnTo>
                    <a:pt x="260" y="2598"/>
                  </a:lnTo>
                  <a:lnTo>
                    <a:pt x="248" y="2598"/>
                  </a:lnTo>
                  <a:lnTo>
                    <a:pt x="236" y="2597"/>
                  </a:lnTo>
                  <a:lnTo>
                    <a:pt x="224" y="2596"/>
                  </a:lnTo>
                  <a:lnTo>
                    <a:pt x="213" y="2594"/>
                  </a:lnTo>
                  <a:lnTo>
                    <a:pt x="201" y="2592"/>
                  </a:lnTo>
                  <a:lnTo>
                    <a:pt x="190" y="2589"/>
                  </a:lnTo>
                  <a:lnTo>
                    <a:pt x="179" y="2585"/>
                  </a:lnTo>
                  <a:lnTo>
                    <a:pt x="168" y="2580"/>
                  </a:lnTo>
                  <a:lnTo>
                    <a:pt x="167" y="2580"/>
                  </a:lnTo>
                  <a:lnTo>
                    <a:pt x="165" y="2579"/>
                  </a:lnTo>
                  <a:lnTo>
                    <a:pt x="151" y="2572"/>
                  </a:lnTo>
                  <a:lnTo>
                    <a:pt x="141" y="2567"/>
                  </a:lnTo>
                  <a:lnTo>
                    <a:pt x="130" y="2561"/>
                  </a:lnTo>
                  <a:lnTo>
                    <a:pt x="119" y="2554"/>
                  </a:lnTo>
                  <a:lnTo>
                    <a:pt x="108" y="2546"/>
                  </a:lnTo>
                  <a:lnTo>
                    <a:pt x="98" y="2538"/>
                  </a:lnTo>
                  <a:lnTo>
                    <a:pt x="89" y="2527"/>
                  </a:lnTo>
                  <a:lnTo>
                    <a:pt x="80" y="2517"/>
                  </a:lnTo>
                  <a:lnTo>
                    <a:pt x="70" y="2507"/>
                  </a:lnTo>
                  <a:lnTo>
                    <a:pt x="63" y="2494"/>
                  </a:lnTo>
                  <a:lnTo>
                    <a:pt x="55" y="2482"/>
                  </a:lnTo>
                  <a:lnTo>
                    <a:pt x="48" y="2469"/>
                  </a:lnTo>
                  <a:lnTo>
                    <a:pt x="42" y="2455"/>
                  </a:lnTo>
                  <a:lnTo>
                    <a:pt x="35" y="2441"/>
                  </a:lnTo>
                  <a:lnTo>
                    <a:pt x="30" y="2425"/>
                  </a:lnTo>
                  <a:lnTo>
                    <a:pt x="25" y="2409"/>
                  </a:lnTo>
                  <a:lnTo>
                    <a:pt x="20" y="2392"/>
                  </a:lnTo>
                  <a:lnTo>
                    <a:pt x="16" y="2376"/>
                  </a:lnTo>
                  <a:lnTo>
                    <a:pt x="13" y="2357"/>
                  </a:lnTo>
                  <a:lnTo>
                    <a:pt x="9" y="2339"/>
                  </a:lnTo>
                  <a:lnTo>
                    <a:pt x="7" y="2320"/>
                  </a:lnTo>
                  <a:lnTo>
                    <a:pt x="4" y="2300"/>
                  </a:lnTo>
                  <a:lnTo>
                    <a:pt x="1" y="2259"/>
                  </a:lnTo>
                  <a:lnTo>
                    <a:pt x="0" y="2216"/>
                  </a:lnTo>
                  <a:lnTo>
                    <a:pt x="0" y="2170"/>
                  </a:lnTo>
                  <a:lnTo>
                    <a:pt x="3" y="2122"/>
                  </a:lnTo>
                  <a:lnTo>
                    <a:pt x="8" y="2073"/>
                  </a:lnTo>
                  <a:lnTo>
                    <a:pt x="14" y="2021"/>
                  </a:lnTo>
                  <a:lnTo>
                    <a:pt x="21" y="1973"/>
                  </a:lnTo>
                  <a:lnTo>
                    <a:pt x="29" y="1922"/>
                  </a:lnTo>
                  <a:lnTo>
                    <a:pt x="38" y="1871"/>
                  </a:lnTo>
                  <a:lnTo>
                    <a:pt x="50" y="1817"/>
                  </a:lnTo>
                  <a:lnTo>
                    <a:pt x="62" y="1762"/>
                  </a:lnTo>
                  <a:lnTo>
                    <a:pt x="76" y="1707"/>
                  </a:lnTo>
                  <a:lnTo>
                    <a:pt x="90" y="1649"/>
                  </a:lnTo>
                  <a:lnTo>
                    <a:pt x="106" y="1590"/>
                  </a:lnTo>
                  <a:lnTo>
                    <a:pt x="124" y="1531"/>
                  </a:lnTo>
                  <a:lnTo>
                    <a:pt x="142" y="1471"/>
                  </a:lnTo>
                  <a:lnTo>
                    <a:pt x="162" y="1409"/>
                  </a:lnTo>
                  <a:lnTo>
                    <a:pt x="184" y="1347"/>
                  </a:lnTo>
                  <a:lnTo>
                    <a:pt x="205" y="1283"/>
                  </a:lnTo>
                  <a:lnTo>
                    <a:pt x="229" y="1219"/>
                  </a:lnTo>
                  <a:lnTo>
                    <a:pt x="253" y="1155"/>
                  </a:lnTo>
                  <a:lnTo>
                    <a:pt x="278" y="1090"/>
                  </a:lnTo>
                  <a:lnTo>
                    <a:pt x="289" y="1065"/>
                  </a:lnTo>
                  <a:lnTo>
                    <a:pt x="299" y="1040"/>
                  </a:lnTo>
                  <a:lnTo>
                    <a:pt x="309" y="1015"/>
                  </a:lnTo>
                  <a:lnTo>
                    <a:pt x="320" y="989"/>
                  </a:lnTo>
                  <a:lnTo>
                    <a:pt x="331" y="963"/>
                  </a:lnTo>
                  <a:lnTo>
                    <a:pt x="341" y="938"/>
                  </a:lnTo>
                  <a:lnTo>
                    <a:pt x="353" y="913"/>
                  </a:lnTo>
                  <a:lnTo>
                    <a:pt x="364" y="887"/>
                  </a:lnTo>
                  <a:lnTo>
                    <a:pt x="369" y="878"/>
                  </a:lnTo>
                  <a:lnTo>
                    <a:pt x="390" y="837"/>
                  </a:lnTo>
                  <a:lnTo>
                    <a:pt x="410" y="796"/>
                  </a:lnTo>
                  <a:lnTo>
                    <a:pt x="431" y="756"/>
                  </a:lnTo>
                  <a:lnTo>
                    <a:pt x="451" y="717"/>
                  </a:lnTo>
                  <a:lnTo>
                    <a:pt x="472" y="679"/>
                  </a:lnTo>
                  <a:lnTo>
                    <a:pt x="493" y="641"/>
                  </a:lnTo>
                  <a:lnTo>
                    <a:pt x="513" y="604"/>
                  </a:lnTo>
                  <a:lnTo>
                    <a:pt x="534" y="568"/>
                  </a:lnTo>
                  <a:lnTo>
                    <a:pt x="538" y="561"/>
                  </a:lnTo>
                  <a:lnTo>
                    <a:pt x="559" y="525"/>
                  </a:lnTo>
                  <a:lnTo>
                    <a:pt x="579" y="490"/>
                  </a:lnTo>
                  <a:lnTo>
                    <a:pt x="601" y="455"/>
                  </a:lnTo>
                  <a:lnTo>
                    <a:pt x="621" y="421"/>
                  </a:lnTo>
                  <a:lnTo>
                    <a:pt x="643" y="387"/>
                  </a:lnTo>
                  <a:lnTo>
                    <a:pt x="664" y="354"/>
                  </a:lnTo>
                  <a:lnTo>
                    <a:pt x="684" y="321"/>
                  </a:lnTo>
                  <a:lnTo>
                    <a:pt x="706" y="288"/>
                  </a:lnTo>
                  <a:lnTo>
                    <a:pt x="732" y="249"/>
                  </a:lnTo>
                  <a:lnTo>
                    <a:pt x="758" y="211"/>
                  </a:lnTo>
                  <a:lnTo>
                    <a:pt x="785" y="173"/>
                  </a:lnTo>
                  <a:lnTo>
                    <a:pt x="811" y="137"/>
                  </a:lnTo>
                  <a:lnTo>
                    <a:pt x="838" y="101"/>
                  </a:lnTo>
                  <a:lnTo>
                    <a:pt x="863" y="67"/>
                  </a:lnTo>
                  <a:lnTo>
                    <a:pt x="890" y="33"/>
                  </a:lnTo>
                  <a:lnTo>
                    <a:pt x="916" y="0"/>
                  </a:lnTo>
                  <a:lnTo>
                    <a:pt x="916" y="282"/>
                  </a:lnTo>
                  <a:lnTo>
                    <a:pt x="916" y="1067"/>
                  </a:lnTo>
                  <a:lnTo>
                    <a:pt x="916" y="1691"/>
                  </a:lnTo>
                  <a:lnTo>
                    <a:pt x="916" y="1782"/>
                  </a:lnTo>
                  <a:lnTo>
                    <a:pt x="916" y="2018"/>
                  </a:lnTo>
                  <a:close/>
                  <a:moveTo>
                    <a:pt x="916" y="282"/>
                  </a:moveTo>
                  <a:lnTo>
                    <a:pt x="900" y="307"/>
                  </a:lnTo>
                  <a:lnTo>
                    <a:pt x="882" y="332"/>
                  </a:lnTo>
                  <a:lnTo>
                    <a:pt x="866" y="357"/>
                  </a:lnTo>
                  <a:lnTo>
                    <a:pt x="848" y="382"/>
                  </a:lnTo>
                  <a:lnTo>
                    <a:pt x="827" y="414"/>
                  </a:lnTo>
                  <a:lnTo>
                    <a:pt x="808" y="446"/>
                  </a:lnTo>
                  <a:lnTo>
                    <a:pt x="787" y="478"/>
                  </a:lnTo>
                  <a:lnTo>
                    <a:pt x="767" y="511"/>
                  </a:lnTo>
                  <a:lnTo>
                    <a:pt x="746" y="545"/>
                  </a:lnTo>
                  <a:lnTo>
                    <a:pt x="725" y="579"/>
                  </a:lnTo>
                  <a:lnTo>
                    <a:pt x="705" y="613"/>
                  </a:lnTo>
                  <a:lnTo>
                    <a:pt x="685" y="648"/>
                  </a:lnTo>
                  <a:lnTo>
                    <a:pt x="682" y="653"/>
                  </a:lnTo>
                  <a:lnTo>
                    <a:pt x="662" y="690"/>
                  </a:lnTo>
                  <a:lnTo>
                    <a:pt x="640" y="728"/>
                  </a:lnTo>
                  <a:lnTo>
                    <a:pt x="619" y="766"/>
                  </a:lnTo>
                  <a:lnTo>
                    <a:pt x="599" y="804"/>
                  </a:lnTo>
                  <a:lnTo>
                    <a:pt x="579" y="842"/>
                  </a:lnTo>
                  <a:lnTo>
                    <a:pt x="559" y="880"/>
                  </a:lnTo>
                  <a:lnTo>
                    <a:pt x="539" y="918"/>
                  </a:lnTo>
                  <a:lnTo>
                    <a:pt x="520" y="956"/>
                  </a:lnTo>
                  <a:lnTo>
                    <a:pt x="519" y="956"/>
                  </a:lnTo>
                  <a:lnTo>
                    <a:pt x="519" y="957"/>
                  </a:lnTo>
                  <a:lnTo>
                    <a:pt x="509" y="982"/>
                  </a:lnTo>
                  <a:lnTo>
                    <a:pt x="498" y="1007"/>
                  </a:lnTo>
                  <a:lnTo>
                    <a:pt x="488" y="1032"/>
                  </a:lnTo>
                  <a:lnTo>
                    <a:pt x="477" y="1055"/>
                  </a:lnTo>
                  <a:lnTo>
                    <a:pt x="467" y="1080"/>
                  </a:lnTo>
                  <a:lnTo>
                    <a:pt x="457" y="1105"/>
                  </a:lnTo>
                  <a:lnTo>
                    <a:pt x="446" y="1129"/>
                  </a:lnTo>
                  <a:lnTo>
                    <a:pt x="437" y="1153"/>
                  </a:lnTo>
                  <a:lnTo>
                    <a:pt x="412" y="1216"/>
                  </a:lnTo>
                  <a:lnTo>
                    <a:pt x="389" y="1278"/>
                  </a:lnTo>
                  <a:lnTo>
                    <a:pt x="366" y="1340"/>
                  </a:lnTo>
                  <a:lnTo>
                    <a:pt x="345" y="1401"/>
                  </a:lnTo>
                  <a:lnTo>
                    <a:pt x="325" y="1460"/>
                  </a:lnTo>
                  <a:lnTo>
                    <a:pt x="306" y="1519"/>
                  </a:lnTo>
                  <a:lnTo>
                    <a:pt x="288" y="1577"/>
                  </a:lnTo>
                  <a:lnTo>
                    <a:pt x="271" y="1634"/>
                  </a:lnTo>
                  <a:lnTo>
                    <a:pt x="256" y="1690"/>
                  </a:lnTo>
                  <a:lnTo>
                    <a:pt x="241" y="1745"/>
                  </a:lnTo>
                  <a:lnTo>
                    <a:pt x="229" y="1797"/>
                  </a:lnTo>
                  <a:lnTo>
                    <a:pt x="217" y="1850"/>
                  </a:lnTo>
                  <a:lnTo>
                    <a:pt x="206" y="1901"/>
                  </a:lnTo>
                  <a:lnTo>
                    <a:pt x="197" y="1950"/>
                  </a:lnTo>
                  <a:lnTo>
                    <a:pt x="189" y="1997"/>
                  </a:lnTo>
                  <a:lnTo>
                    <a:pt x="183" y="2043"/>
                  </a:lnTo>
                  <a:lnTo>
                    <a:pt x="177" y="2081"/>
                  </a:lnTo>
                  <a:lnTo>
                    <a:pt x="174" y="2116"/>
                  </a:lnTo>
                  <a:lnTo>
                    <a:pt x="171" y="2151"/>
                  </a:lnTo>
                  <a:lnTo>
                    <a:pt x="169" y="2183"/>
                  </a:lnTo>
                  <a:lnTo>
                    <a:pt x="167" y="2214"/>
                  </a:lnTo>
                  <a:lnTo>
                    <a:pt x="167" y="2243"/>
                  </a:lnTo>
                  <a:lnTo>
                    <a:pt x="168" y="2270"/>
                  </a:lnTo>
                  <a:lnTo>
                    <a:pt x="169" y="2294"/>
                  </a:lnTo>
                  <a:lnTo>
                    <a:pt x="171" y="2317"/>
                  </a:lnTo>
                  <a:lnTo>
                    <a:pt x="175" y="2338"/>
                  </a:lnTo>
                  <a:lnTo>
                    <a:pt x="180" y="2356"/>
                  </a:lnTo>
                  <a:lnTo>
                    <a:pt x="185" y="2373"/>
                  </a:lnTo>
                  <a:lnTo>
                    <a:pt x="188" y="2380"/>
                  </a:lnTo>
                  <a:lnTo>
                    <a:pt x="191" y="2386"/>
                  </a:lnTo>
                  <a:lnTo>
                    <a:pt x="194" y="2392"/>
                  </a:lnTo>
                  <a:lnTo>
                    <a:pt x="198" y="2397"/>
                  </a:lnTo>
                  <a:lnTo>
                    <a:pt x="202" y="2403"/>
                  </a:lnTo>
                  <a:lnTo>
                    <a:pt x="206" y="2407"/>
                  </a:lnTo>
                  <a:lnTo>
                    <a:pt x="210" y="2411"/>
                  </a:lnTo>
                  <a:lnTo>
                    <a:pt x="216" y="2414"/>
                  </a:lnTo>
                  <a:lnTo>
                    <a:pt x="217" y="2414"/>
                  </a:lnTo>
                  <a:lnTo>
                    <a:pt x="916" y="282"/>
                  </a:lnTo>
                  <a:close/>
                  <a:moveTo>
                    <a:pt x="863" y="1782"/>
                  </a:moveTo>
                  <a:lnTo>
                    <a:pt x="876" y="1759"/>
                  </a:lnTo>
                  <a:lnTo>
                    <a:pt x="889" y="1737"/>
                  </a:lnTo>
                  <a:lnTo>
                    <a:pt x="903" y="1714"/>
                  </a:lnTo>
                  <a:lnTo>
                    <a:pt x="916" y="1691"/>
                  </a:lnTo>
                  <a:lnTo>
                    <a:pt x="863" y="1782"/>
                  </a:lnTo>
                  <a:close/>
                  <a:moveTo>
                    <a:pt x="468" y="2302"/>
                  </a:moveTo>
                  <a:lnTo>
                    <a:pt x="492" y="2279"/>
                  </a:lnTo>
                  <a:lnTo>
                    <a:pt x="514" y="2255"/>
                  </a:lnTo>
                  <a:lnTo>
                    <a:pt x="539" y="2230"/>
                  </a:lnTo>
                  <a:lnTo>
                    <a:pt x="563" y="2204"/>
                  </a:lnTo>
                  <a:lnTo>
                    <a:pt x="587" y="2176"/>
                  </a:lnTo>
                  <a:lnTo>
                    <a:pt x="612" y="2146"/>
                  </a:lnTo>
                  <a:lnTo>
                    <a:pt x="636" y="2115"/>
                  </a:lnTo>
                  <a:lnTo>
                    <a:pt x="662" y="2083"/>
                  </a:lnTo>
                  <a:lnTo>
                    <a:pt x="686" y="2049"/>
                  </a:lnTo>
                  <a:lnTo>
                    <a:pt x="711" y="2014"/>
                  </a:lnTo>
                  <a:lnTo>
                    <a:pt x="737" y="1979"/>
                  </a:lnTo>
                  <a:lnTo>
                    <a:pt x="762" y="1942"/>
                  </a:lnTo>
                  <a:lnTo>
                    <a:pt x="787" y="1903"/>
                  </a:lnTo>
                  <a:lnTo>
                    <a:pt x="813" y="1863"/>
                  </a:lnTo>
                  <a:lnTo>
                    <a:pt x="838" y="1823"/>
                  </a:lnTo>
                  <a:lnTo>
                    <a:pt x="863" y="1782"/>
                  </a:lnTo>
                  <a:lnTo>
                    <a:pt x="468" y="2302"/>
                  </a:lnTo>
                  <a:close/>
                  <a:moveTo>
                    <a:pt x="236" y="2424"/>
                  </a:moveTo>
                  <a:lnTo>
                    <a:pt x="245" y="2427"/>
                  </a:lnTo>
                  <a:lnTo>
                    <a:pt x="256" y="2428"/>
                  </a:lnTo>
                  <a:lnTo>
                    <a:pt x="266" y="2428"/>
                  </a:lnTo>
                  <a:lnTo>
                    <a:pt x="277" y="2427"/>
                  </a:lnTo>
                  <a:lnTo>
                    <a:pt x="290" y="2424"/>
                  </a:lnTo>
                  <a:lnTo>
                    <a:pt x="303" y="2420"/>
                  </a:lnTo>
                  <a:lnTo>
                    <a:pt x="317" y="2414"/>
                  </a:lnTo>
                  <a:lnTo>
                    <a:pt x="331" y="2407"/>
                  </a:lnTo>
                  <a:lnTo>
                    <a:pt x="346" y="2398"/>
                  </a:lnTo>
                  <a:lnTo>
                    <a:pt x="362" y="2388"/>
                  </a:lnTo>
                  <a:lnTo>
                    <a:pt x="378" y="2377"/>
                  </a:lnTo>
                  <a:lnTo>
                    <a:pt x="395" y="2364"/>
                  </a:lnTo>
                  <a:lnTo>
                    <a:pt x="412" y="2351"/>
                  </a:lnTo>
                  <a:lnTo>
                    <a:pt x="431" y="2336"/>
                  </a:lnTo>
                  <a:lnTo>
                    <a:pt x="449" y="2319"/>
                  </a:lnTo>
                  <a:lnTo>
                    <a:pt x="468" y="2302"/>
                  </a:lnTo>
                  <a:lnTo>
                    <a:pt x="236" y="2424"/>
                  </a:lnTo>
                  <a:close/>
                  <a:moveTo>
                    <a:pt x="165" y="2579"/>
                  </a:moveTo>
                  <a:lnTo>
                    <a:pt x="160" y="2577"/>
                  </a:lnTo>
                  <a:lnTo>
                    <a:pt x="155" y="2574"/>
                  </a:lnTo>
                  <a:lnTo>
                    <a:pt x="165" y="2579"/>
                  </a:lnTo>
                  <a:close/>
                  <a:moveTo>
                    <a:pt x="236" y="2423"/>
                  </a:moveTo>
                  <a:lnTo>
                    <a:pt x="236" y="2424"/>
                  </a:lnTo>
                  <a:lnTo>
                    <a:pt x="236" y="2423"/>
                  </a:lnTo>
                  <a:close/>
                  <a:moveTo>
                    <a:pt x="232" y="2421"/>
                  </a:moveTo>
                  <a:lnTo>
                    <a:pt x="236" y="2423"/>
                  </a:lnTo>
                  <a:lnTo>
                    <a:pt x="232" y="2421"/>
                  </a:lnTo>
                  <a:close/>
                  <a:moveTo>
                    <a:pt x="152" y="2573"/>
                  </a:moveTo>
                  <a:lnTo>
                    <a:pt x="151" y="2572"/>
                  </a:lnTo>
                  <a:lnTo>
                    <a:pt x="152" y="2573"/>
                  </a:lnTo>
                  <a:close/>
                  <a:moveTo>
                    <a:pt x="141" y="2567"/>
                  </a:moveTo>
                  <a:lnTo>
                    <a:pt x="135" y="2563"/>
                  </a:lnTo>
                  <a:lnTo>
                    <a:pt x="129" y="2558"/>
                  </a:lnTo>
                  <a:lnTo>
                    <a:pt x="123" y="2553"/>
                  </a:lnTo>
                  <a:lnTo>
                    <a:pt x="118" y="2548"/>
                  </a:lnTo>
                  <a:lnTo>
                    <a:pt x="114" y="2542"/>
                  </a:lnTo>
                  <a:lnTo>
                    <a:pt x="110" y="2536"/>
                  </a:lnTo>
                  <a:lnTo>
                    <a:pt x="106" y="2528"/>
                  </a:lnTo>
                  <a:lnTo>
                    <a:pt x="103" y="2521"/>
                  </a:lnTo>
                  <a:lnTo>
                    <a:pt x="101" y="2514"/>
                  </a:lnTo>
                  <a:lnTo>
                    <a:pt x="100" y="2507"/>
                  </a:lnTo>
                  <a:lnTo>
                    <a:pt x="99" y="2499"/>
                  </a:lnTo>
                  <a:lnTo>
                    <a:pt x="99" y="2491"/>
                  </a:lnTo>
                  <a:lnTo>
                    <a:pt x="99" y="2484"/>
                  </a:lnTo>
                  <a:lnTo>
                    <a:pt x="100" y="2476"/>
                  </a:lnTo>
                  <a:lnTo>
                    <a:pt x="102" y="2469"/>
                  </a:lnTo>
                  <a:lnTo>
                    <a:pt x="105" y="2460"/>
                  </a:lnTo>
                  <a:lnTo>
                    <a:pt x="141" y="25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7" name="Freeform 33"/>
            <p:cNvSpPr>
              <a:spLocks noChangeArrowheads="1"/>
            </p:cNvSpPr>
            <p:nvPr/>
          </p:nvSpPr>
          <p:spPr bwMode="auto">
            <a:xfrm>
              <a:off x="7778750" y="4321128"/>
              <a:ext cx="374650" cy="1312891"/>
            </a:xfrm>
            <a:custGeom>
              <a:avLst/>
              <a:gdLst>
                <a:gd name="T0" fmla="*/ 805 w 832"/>
                <a:gd name="T1" fmla="*/ 1765 h 2376"/>
                <a:gd name="T2" fmla="*/ 753 w 832"/>
                <a:gd name="T3" fmla="*/ 1845 h 2376"/>
                <a:gd name="T4" fmla="*/ 700 w 832"/>
                <a:gd name="T5" fmla="*/ 1921 h 2376"/>
                <a:gd name="T6" fmla="*/ 649 w 832"/>
                <a:gd name="T7" fmla="*/ 1993 h 2376"/>
                <a:gd name="T8" fmla="*/ 596 w 832"/>
                <a:gd name="T9" fmla="*/ 2059 h 2376"/>
                <a:gd name="T10" fmla="*/ 545 w 832"/>
                <a:gd name="T11" fmla="*/ 2120 h 2376"/>
                <a:gd name="T12" fmla="*/ 495 w 832"/>
                <a:gd name="T13" fmla="*/ 2175 h 2376"/>
                <a:gd name="T14" fmla="*/ 446 w 832"/>
                <a:gd name="T15" fmla="*/ 2224 h 2376"/>
                <a:gd name="T16" fmla="*/ 397 w 832"/>
                <a:gd name="T17" fmla="*/ 2267 h 2376"/>
                <a:gd name="T18" fmla="*/ 351 w 832"/>
                <a:gd name="T19" fmla="*/ 2303 h 2376"/>
                <a:gd name="T20" fmla="*/ 307 w 832"/>
                <a:gd name="T21" fmla="*/ 2332 h 2376"/>
                <a:gd name="T22" fmla="*/ 264 w 832"/>
                <a:gd name="T23" fmla="*/ 2354 h 2376"/>
                <a:gd name="T24" fmla="*/ 224 w 832"/>
                <a:gd name="T25" fmla="*/ 2369 h 2376"/>
                <a:gd name="T26" fmla="*/ 186 w 832"/>
                <a:gd name="T27" fmla="*/ 2376 h 2376"/>
                <a:gd name="T28" fmla="*/ 151 w 832"/>
                <a:gd name="T29" fmla="*/ 2375 h 2376"/>
                <a:gd name="T30" fmla="*/ 119 w 832"/>
                <a:gd name="T31" fmla="*/ 2366 h 2376"/>
                <a:gd name="T32" fmla="*/ 85 w 832"/>
                <a:gd name="T33" fmla="*/ 2348 h 2376"/>
                <a:gd name="T34" fmla="*/ 53 w 832"/>
                <a:gd name="T35" fmla="*/ 2317 h 2376"/>
                <a:gd name="T36" fmla="*/ 29 w 832"/>
                <a:gd name="T37" fmla="*/ 2274 h 2376"/>
                <a:gd name="T38" fmla="*/ 12 w 832"/>
                <a:gd name="T39" fmla="*/ 2217 h 2376"/>
                <a:gd name="T40" fmla="*/ 3 w 832"/>
                <a:gd name="T41" fmla="*/ 2148 h 2376"/>
                <a:gd name="T42" fmla="*/ 0 w 832"/>
                <a:gd name="T43" fmla="*/ 2069 h 2376"/>
                <a:gd name="T44" fmla="*/ 5 w 832"/>
                <a:gd name="T45" fmla="*/ 1979 h 2376"/>
                <a:gd name="T46" fmla="*/ 16 w 832"/>
                <a:gd name="T47" fmla="*/ 1879 h 2376"/>
                <a:gd name="T48" fmla="*/ 34 w 832"/>
                <a:gd name="T49" fmla="*/ 1772 h 2376"/>
                <a:gd name="T50" fmla="*/ 58 w 832"/>
                <a:gd name="T51" fmla="*/ 1656 h 2376"/>
                <a:gd name="T52" fmla="*/ 88 w 832"/>
                <a:gd name="T53" fmla="*/ 1535 h 2376"/>
                <a:gd name="T54" fmla="*/ 125 w 832"/>
                <a:gd name="T55" fmla="*/ 1408 h 2376"/>
                <a:gd name="T56" fmla="*/ 168 w 832"/>
                <a:gd name="T57" fmla="*/ 1275 h 2376"/>
                <a:gd name="T58" fmla="*/ 215 w 832"/>
                <a:gd name="T59" fmla="*/ 1139 h 2376"/>
                <a:gd name="T60" fmla="*/ 269 w 832"/>
                <a:gd name="T61" fmla="*/ 999 h 2376"/>
                <a:gd name="T62" fmla="*/ 326 w 832"/>
                <a:gd name="T63" fmla="*/ 856 h 2376"/>
                <a:gd name="T64" fmla="*/ 386 w 832"/>
                <a:gd name="T65" fmla="*/ 729 h 2376"/>
                <a:gd name="T66" fmla="*/ 445 w 832"/>
                <a:gd name="T67" fmla="*/ 618 h 2376"/>
                <a:gd name="T68" fmla="*/ 503 w 832"/>
                <a:gd name="T69" fmla="*/ 511 h 2376"/>
                <a:gd name="T70" fmla="*/ 563 w 832"/>
                <a:gd name="T71" fmla="*/ 408 h 2376"/>
                <a:gd name="T72" fmla="*/ 623 w 832"/>
                <a:gd name="T73" fmla="*/ 309 h 2376"/>
                <a:gd name="T74" fmla="*/ 683 w 832"/>
                <a:gd name="T75" fmla="*/ 214 h 2376"/>
                <a:gd name="T76" fmla="*/ 742 w 832"/>
                <a:gd name="T77" fmla="*/ 124 h 2376"/>
                <a:gd name="T78" fmla="*/ 802 w 832"/>
                <a:gd name="T79" fmla="*/ 40 h 2376"/>
                <a:gd name="T80" fmla="*/ 832 w 832"/>
                <a:gd name="T81" fmla="*/ 1722 h 2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2" h="2376">
                  <a:moveTo>
                    <a:pt x="832" y="1722"/>
                  </a:moveTo>
                  <a:lnTo>
                    <a:pt x="805" y="1765"/>
                  </a:lnTo>
                  <a:lnTo>
                    <a:pt x="779" y="1806"/>
                  </a:lnTo>
                  <a:lnTo>
                    <a:pt x="753" y="1845"/>
                  </a:lnTo>
                  <a:lnTo>
                    <a:pt x="727" y="1884"/>
                  </a:lnTo>
                  <a:lnTo>
                    <a:pt x="700" y="1921"/>
                  </a:lnTo>
                  <a:lnTo>
                    <a:pt x="674" y="1958"/>
                  </a:lnTo>
                  <a:lnTo>
                    <a:pt x="649" y="1993"/>
                  </a:lnTo>
                  <a:lnTo>
                    <a:pt x="622" y="2026"/>
                  </a:lnTo>
                  <a:lnTo>
                    <a:pt x="596" y="2059"/>
                  </a:lnTo>
                  <a:lnTo>
                    <a:pt x="570" y="2090"/>
                  </a:lnTo>
                  <a:lnTo>
                    <a:pt x="545" y="2120"/>
                  </a:lnTo>
                  <a:lnTo>
                    <a:pt x="520" y="2148"/>
                  </a:lnTo>
                  <a:lnTo>
                    <a:pt x="495" y="2175"/>
                  </a:lnTo>
                  <a:lnTo>
                    <a:pt x="470" y="2201"/>
                  </a:lnTo>
                  <a:lnTo>
                    <a:pt x="446" y="2224"/>
                  </a:lnTo>
                  <a:lnTo>
                    <a:pt x="422" y="2246"/>
                  </a:lnTo>
                  <a:lnTo>
                    <a:pt x="397" y="2267"/>
                  </a:lnTo>
                  <a:lnTo>
                    <a:pt x="375" y="2285"/>
                  </a:lnTo>
                  <a:lnTo>
                    <a:pt x="351" y="2303"/>
                  </a:lnTo>
                  <a:lnTo>
                    <a:pt x="329" y="2318"/>
                  </a:lnTo>
                  <a:lnTo>
                    <a:pt x="307" y="2332"/>
                  </a:lnTo>
                  <a:lnTo>
                    <a:pt x="285" y="2344"/>
                  </a:lnTo>
                  <a:lnTo>
                    <a:pt x="264" y="2354"/>
                  </a:lnTo>
                  <a:lnTo>
                    <a:pt x="244" y="2362"/>
                  </a:lnTo>
                  <a:lnTo>
                    <a:pt x="224" y="2369"/>
                  </a:lnTo>
                  <a:lnTo>
                    <a:pt x="205" y="2373"/>
                  </a:lnTo>
                  <a:lnTo>
                    <a:pt x="186" y="2376"/>
                  </a:lnTo>
                  <a:lnTo>
                    <a:pt x="169" y="2376"/>
                  </a:lnTo>
                  <a:lnTo>
                    <a:pt x="151" y="2375"/>
                  </a:lnTo>
                  <a:lnTo>
                    <a:pt x="135" y="2372"/>
                  </a:lnTo>
                  <a:lnTo>
                    <a:pt x="119" y="2366"/>
                  </a:lnTo>
                  <a:lnTo>
                    <a:pt x="104" y="2357"/>
                  </a:lnTo>
                  <a:lnTo>
                    <a:pt x="85" y="2348"/>
                  </a:lnTo>
                  <a:lnTo>
                    <a:pt x="68" y="2335"/>
                  </a:lnTo>
                  <a:lnTo>
                    <a:pt x="53" y="2317"/>
                  </a:lnTo>
                  <a:lnTo>
                    <a:pt x="40" y="2297"/>
                  </a:lnTo>
                  <a:lnTo>
                    <a:pt x="29" y="2274"/>
                  </a:lnTo>
                  <a:lnTo>
                    <a:pt x="19" y="2247"/>
                  </a:lnTo>
                  <a:lnTo>
                    <a:pt x="12" y="2217"/>
                  </a:lnTo>
                  <a:lnTo>
                    <a:pt x="7" y="2184"/>
                  </a:lnTo>
                  <a:lnTo>
                    <a:pt x="3" y="2148"/>
                  </a:lnTo>
                  <a:lnTo>
                    <a:pt x="1" y="2110"/>
                  </a:lnTo>
                  <a:lnTo>
                    <a:pt x="0" y="2069"/>
                  </a:lnTo>
                  <a:lnTo>
                    <a:pt x="2" y="2024"/>
                  </a:lnTo>
                  <a:lnTo>
                    <a:pt x="5" y="1979"/>
                  </a:lnTo>
                  <a:lnTo>
                    <a:pt x="10" y="1929"/>
                  </a:lnTo>
                  <a:lnTo>
                    <a:pt x="16" y="1879"/>
                  </a:lnTo>
                  <a:lnTo>
                    <a:pt x="24" y="1826"/>
                  </a:lnTo>
                  <a:lnTo>
                    <a:pt x="34" y="1772"/>
                  </a:lnTo>
                  <a:lnTo>
                    <a:pt x="45" y="1715"/>
                  </a:lnTo>
                  <a:lnTo>
                    <a:pt x="58" y="1656"/>
                  </a:lnTo>
                  <a:lnTo>
                    <a:pt x="73" y="1597"/>
                  </a:lnTo>
                  <a:lnTo>
                    <a:pt x="88" y="1535"/>
                  </a:lnTo>
                  <a:lnTo>
                    <a:pt x="106" y="1472"/>
                  </a:lnTo>
                  <a:lnTo>
                    <a:pt x="125" y="1408"/>
                  </a:lnTo>
                  <a:lnTo>
                    <a:pt x="145" y="1342"/>
                  </a:lnTo>
                  <a:lnTo>
                    <a:pt x="168" y="1275"/>
                  </a:lnTo>
                  <a:lnTo>
                    <a:pt x="190" y="1207"/>
                  </a:lnTo>
                  <a:lnTo>
                    <a:pt x="215" y="1139"/>
                  </a:lnTo>
                  <a:lnTo>
                    <a:pt x="241" y="1069"/>
                  </a:lnTo>
                  <a:lnTo>
                    <a:pt x="269" y="999"/>
                  </a:lnTo>
                  <a:lnTo>
                    <a:pt x="296" y="928"/>
                  </a:lnTo>
                  <a:lnTo>
                    <a:pt x="326" y="856"/>
                  </a:lnTo>
                  <a:lnTo>
                    <a:pt x="358" y="785"/>
                  </a:lnTo>
                  <a:lnTo>
                    <a:pt x="386" y="729"/>
                  </a:lnTo>
                  <a:lnTo>
                    <a:pt x="415" y="673"/>
                  </a:lnTo>
                  <a:lnTo>
                    <a:pt x="445" y="618"/>
                  </a:lnTo>
                  <a:lnTo>
                    <a:pt x="474" y="564"/>
                  </a:lnTo>
                  <a:lnTo>
                    <a:pt x="503" y="511"/>
                  </a:lnTo>
                  <a:lnTo>
                    <a:pt x="533" y="458"/>
                  </a:lnTo>
                  <a:lnTo>
                    <a:pt x="563" y="408"/>
                  </a:lnTo>
                  <a:lnTo>
                    <a:pt x="593" y="357"/>
                  </a:lnTo>
                  <a:lnTo>
                    <a:pt x="623" y="309"/>
                  </a:lnTo>
                  <a:lnTo>
                    <a:pt x="653" y="261"/>
                  </a:lnTo>
                  <a:lnTo>
                    <a:pt x="683" y="214"/>
                  </a:lnTo>
                  <a:lnTo>
                    <a:pt x="713" y="169"/>
                  </a:lnTo>
                  <a:lnTo>
                    <a:pt x="742" y="124"/>
                  </a:lnTo>
                  <a:lnTo>
                    <a:pt x="772" y="82"/>
                  </a:lnTo>
                  <a:lnTo>
                    <a:pt x="802" y="40"/>
                  </a:lnTo>
                  <a:lnTo>
                    <a:pt x="832" y="0"/>
                  </a:lnTo>
                  <a:lnTo>
                    <a:pt x="832" y="172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8" name="Freeform 34"/>
            <p:cNvSpPr>
              <a:spLocks noChangeArrowheads="1"/>
            </p:cNvSpPr>
            <p:nvPr/>
          </p:nvSpPr>
          <p:spPr bwMode="auto">
            <a:xfrm>
              <a:off x="6538913" y="2911398"/>
              <a:ext cx="1209675" cy="912832"/>
            </a:xfrm>
            <a:custGeom>
              <a:avLst/>
              <a:gdLst>
                <a:gd name="T0" fmla="*/ 45 w 2688"/>
                <a:gd name="T1" fmla="*/ 102 h 1656"/>
                <a:gd name="T2" fmla="*/ 144 w 2688"/>
                <a:gd name="T3" fmla="*/ 33 h 1656"/>
                <a:gd name="T4" fmla="*/ 262 w 2688"/>
                <a:gd name="T5" fmla="*/ 4 h 1656"/>
                <a:gd name="T6" fmla="*/ 424 w 2688"/>
                <a:gd name="T7" fmla="*/ 5 h 1656"/>
                <a:gd name="T8" fmla="*/ 627 w 2688"/>
                <a:gd name="T9" fmla="*/ 38 h 1656"/>
                <a:gd name="T10" fmla="*/ 860 w 2688"/>
                <a:gd name="T11" fmla="*/ 103 h 1656"/>
                <a:gd name="T12" fmla="*/ 1387 w 2688"/>
                <a:gd name="T13" fmla="*/ 311 h 1656"/>
                <a:gd name="T14" fmla="*/ 1616 w 2688"/>
                <a:gd name="T15" fmla="*/ 424 h 1656"/>
                <a:gd name="T16" fmla="*/ 1823 w 2688"/>
                <a:gd name="T17" fmla="*/ 548 h 1656"/>
                <a:gd name="T18" fmla="*/ 2011 w 2688"/>
                <a:gd name="T19" fmla="*/ 673 h 1656"/>
                <a:gd name="T20" fmla="*/ 2211 w 2688"/>
                <a:gd name="T21" fmla="*/ 819 h 1656"/>
                <a:gd name="T22" fmla="*/ 2404 w 2688"/>
                <a:gd name="T23" fmla="*/ 986 h 1656"/>
                <a:gd name="T24" fmla="*/ 2551 w 2688"/>
                <a:gd name="T25" fmla="*/ 1146 h 1656"/>
                <a:gd name="T26" fmla="*/ 2647 w 2688"/>
                <a:gd name="T27" fmla="*/ 1296 h 1656"/>
                <a:gd name="T28" fmla="*/ 2687 w 2688"/>
                <a:gd name="T29" fmla="*/ 1431 h 1656"/>
                <a:gd name="T30" fmla="*/ 2669 w 2688"/>
                <a:gd name="T31" fmla="*/ 1539 h 1656"/>
                <a:gd name="T32" fmla="*/ 2651 w 2688"/>
                <a:gd name="T33" fmla="*/ 1564 h 1656"/>
                <a:gd name="T34" fmla="*/ 2557 w 2688"/>
                <a:gd name="T35" fmla="*/ 1625 h 1656"/>
                <a:gd name="T36" fmla="*/ 2444 w 2688"/>
                <a:gd name="T37" fmla="*/ 1652 h 1656"/>
                <a:gd name="T38" fmla="*/ 2294 w 2688"/>
                <a:gd name="T39" fmla="*/ 1654 h 1656"/>
                <a:gd name="T40" fmla="*/ 2096 w 2688"/>
                <a:gd name="T41" fmla="*/ 1624 h 1656"/>
                <a:gd name="T42" fmla="*/ 1867 w 2688"/>
                <a:gd name="T43" fmla="*/ 1565 h 1656"/>
                <a:gd name="T44" fmla="*/ 1614 w 2688"/>
                <a:gd name="T45" fmla="*/ 1474 h 1656"/>
                <a:gd name="T46" fmla="*/ 1344 w 2688"/>
                <a:gd name="T47" fmla="*/ 1354 h 1656"/>
                <a:gd name="T48" fmla="*/ 1111 w 2688"/>
                <a:gd name="T49" fmla="*/ 1232 h 1656"/>
                <a:gd name="T50" fmla="*/ 748 w 2688"/>
                <a:gd name="T51" fmla="*/ 1025 h 1656"/>
                <a:gd name="T52" fmla="*/ 443 w 2688"/>
                <a:gd name="T53" fmla="*/ 809 h 1656"/>
                <a:gd name="T54" fmla="*/ 203 w 2688"/>
                <a:gd name="T55" fmla="*/ 590 h 1656"/>
                <a:gd name="T56" fmla="*/ 109 w 2688"/>
                <a:gd name="T57" fmla="*/ 478 h 1656"/>
                <a:gd name="T58" fmla="*/ 44 w 2688"/>
                <a:gd name="T59" fmla="*/ 373 h 1656"/>
                <a:gd name="T60" fmla="*/ 7 w 2688"/>
                <a:gd name="T61" fmla="*/ 277 h 1656"/>
                <a:gd name="T62" fmla="*/ 2 w 2688"/>
                <a:gd name="T63" fmla="*/ 191 h 1656"/>
                <a:gd name="T64" fmla="*/ 20 w 2688"/>
                <a:gd name="T65" fmla="*/ 135 h 1656"/>
                <a:gd name="T66" fmla="*/ 173 w 2688"/>
                <a:gd name="T67" fmla="*/ 216 h 1656"/>
                <a:gd name="T68" fmla="*/ 170 w 2688"/>
                <a:gd name="T69" fmla="*/ 256 h 1656"/>
                <a:gd name="T70" fmla="*/ 232 w 2688"/>
                <a:gd name="T71" fmla="*/ 366 h 1656"/>
                <a:gd name="T72" fmla="*/ 368 w 2688"/>
                <a:gd name="T73" fmla="*/ 514 h 1656"/>
                <a:gd name="T74" fmla="*/ 594 w 2688"/>
                <a:gd name="T75" fmla="*/ 710 h 1656"/>
                <a:gd name="T76" fmla="*/ 893 w 2688"/>
                <a:gd name="T77" fmla="*/ 915 h 1656"/>
                <a:gd name="T78" fmla="*/ 1189 w 2688"/>
                <a:gd name="T79" fmla="*/ 1079 h 1656"/>
                <a:gd name="T80" fmla="*/ 1415 w 2688"/>
                <a:gd name="T81" fmla="*/ 1199 h 1656"/>
                <a:gd name="T82" fmla="*/ 1668 w 2688"/>
                <a:gd name="T83" fmla="*/ 1312 h 1656"/>
                <a:gd name="T84" fmla="*/ 1904 w 2688"/>
                <a:gd name="T85" fmla="*/ 1399 h 1656"/>
                <a:gd name="T86" fmla="*/ 2116 w 2688"/>
                <a:gd name="T87" fmla="*/ 1455 h 1656"/>
                <a:gd name="T88" fmla="*/ 2299 w 2688"/>
                <a:gd name="T89" fmla="*/ 1483 h 1656"/>
                <a:gd name="T90" fmla="*/ 2449 w 2688"/>
                <a:gd name="T91" fmla="*/ 1479 h 1656"/>
                <a:gd name="T92" fmla="*/ 2512 w 2688"/>
                <a:gd name="T93" fmla="*/ 1457 h 1656"/>
                <a:gd name="T94" fmla="*/ 2514 w 2688"/>
                <a:gd name="T95" fmla="*/ 1391 h 1656"/>
                <a:gd name="T96" fmla="*/ 2467 w 2688"/>
                <a:gd name="T97" fmla="*/ 1301 h 1656"/>
                <a:gd name="T98" fmla="*/ 2359 w 2688"/>
                <a:gd name="T99" fmla="*/ 1174 h 1656"/>
                <a:gd name="T100" fmla="*/ 2061 w 2688"/>
                <a:gd name="T101" fmla="*/ 919 h 1656"/>
                <a:gd name="T102" fmla="*/ 1856 w 2688"/>
                <a:gd name="T103" fmla="*/ 774 h 1656"/>
                <a:gd name="T104" fmla="*/ 1666 w 2688"/>
                <a:gd name="T105" fmla="*/ 653 h 1656"/>
                <a:gd name="T106" fmla="*/ 1493 w 2688"/>
                <a:gd name="T107" fmla="*/ 551 h 1656"/>
                <a:gd name="T108" fmla="*/ 1061 w 2688"/>
                <a:gd name="T109" fmla="*/ 356 h 1656"/>
                <a:gd name="T110" fmla="*/ 639 w 2688"/>
                <a:gd name="T111" fmla="*/ 216 h 1656"/>
                <a:gd name="T112" fmla="*/ 448 w 2688"/>
                <a:gd name="T113" fmla="*/ 179 h 1656"/>
                <a:gd name="T114" fmla="*/ 299 w 2688"/>
                <a:gd name="T115" fmla="*/ 173 h 1656"/>
                <a:gd name="T116" fmla="*/ 220 w 2688"/>
                <a:gd name="T117" fmla="*/ 186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88" h="1656">
                  <a:moveTo>
                    <a:pt x="20" y="135"/>
                  </a:moveTo>
                  <a:lnTo>
                    <a:pt x="21" y="135"/>
                  </a:lnTo>
                  <a:lnTo>
                    <a:pt x="21" y="134"/>
                  </a:lnTo>
                  <a:lnTo>
                    <a:pt x="33" y="117"/>
                  </a:lnTo>
                  <a:lnTo>
                    <a:pt x="45" y="102"/>
                  </a:lnTo>
                  <a:lnTo>
                    <a:pt x="59" y="87"/>
                  </a:lnTo>
                  <a:lnTo>
                    <a:pt x="73" y="74"/>
                  </a:lnTo>
                  <a:lnTo>
                    <a:pt x="89" y="63"/>
                  </a:lnTo>
                  <a:lnTo>
                    <a:pt x="106" y="51"/>
                  </a:lnTo>
                  <a:lnTo>
                    <a:pt x="124" y="41"/>
                  </a:lnTo>
                  <a:lnTo>
                    <a:pt x="144" y="33"/>
                  </a:lnTo>
                  <a:lnTo>
                    <a:pt x="162" y="26"/>
                  </a:lnTo>
                  <a:lnTo>
                    <a:pt x="180" y="19"/>
                  </a:lnTo>
                  <a:lnTo>
                    <a:pt x="200" y="14"/>
                  </a:lnTo>
                  <a:lnTo>
                    <a:pt x="220" y="10"/>
                  </a:lnTo>
                  <a:lnTo>
                    <a:pt x="241" y="7"/>
                  </a:lnTo>
                  <a:lnTo>
                    <a:pt x="262" y="4"/>
                  </a:lnTo>
                  <a:lnTo>
                    <a:pt x="285" y="2"/>
                  </a:lnTo>
                  <a:lnTo>
                    <a:pt x="309" y="1"/>
                  </a:lnTo>
                  <a:lnTo>
                    <a:pt x="336" y="0"/>
                  </a:lnTo>
                  <a:lnTo>
                    <a:pt x="363" y="1"/>
                  </a:lnTo>
                  <a:lnTo>
                    <a:pt x="393" y="2"/>
                  </a:lnTo>
                  <a:lnTo>
                    <a:pt x="424" y="5"/>
                  </a:lnTo>
                  <a:lnTo>
                    <a:pt x="455" y="8"/>
                  </a:lnTo>
                  <a:lnTo>
                    <a:pt x="488" y="12"/>
                  </a:lnTo>
                  <a:lnTo>
                    <a:pt x="521" y="17"/>
                  </a:lnTo>
                  <a:lnTo>
                    <a:pt x="556" y="23"/>
                  </a:lnTo>
                  <a:lnTo>
                    <a:pt x="591" y="31"/>
                  </a:lnTo>
                  <a:lnTo>
                    <a:pt x="627" y="38"/>
                  </a:lnTo>
                  <a:lnTo>
                    <a:pt x="664" y="47"/>
                  </a:lnTo>
                  <a:lnTo>
                    <a:pt x="701" y="56"/>
                  </a:lnTo>
                  <a:lnTo>
                    <a:pt x="740" y="67"/>
                  </a:lnTo>
                  <a:lnTo>
                    <a:pt x="780" y="78"/>
                  </a:lnTo>
                  <a:lnTo>
                    <a:pt x="820" y="90"/>
                  </a:lnTo>
                  <a:lnTo>
                    <a:pt x="860" y="103"/>
                  </a:lnTo>
                  <a:lnTo>
                    <a:pt x="943" y="131"/>
                  </a:lnTo>
                  <a:lnTo>
                    <a:pt x="1028" y="162"/>
                  </a:lnTo>
                  <a:lnTo>
                    <a:pt x="1115" y="195"/>
                  </a:lnTo>
                  <a:lnTo>
                    <a:pt x="1205" y="231"/>
                  </a:lnTo>
                  <a:lnTo>
                    <a:pt x="1296" y="270"/>
                  </a:lnTo>
                  <a:lnTo>
                    <a:pt x="1387" y="311"/>
                  </a:lnTo>
                  <a:lnTo>
                    <a:pt x="1480" y="354"/>
                  </a:lnTo>
                  <a:lnTo>
                    <a:pt x="1573" y="401"/>
                  </a:lnTo>
                  <a:lnTo>
                    <a:pt x="1577" y="403"/>
                  </a:lnTo>
                  <a:lnTo>
                    <a:pt x="1577" y="402"/>
                  </a:lnTo>
                  <a:lnTo>
                    <a:pt x="1580" y="404"/>
                  </a:lnTo>
                  <a:lnTo>
                    <a:pt x="1616" y="424"/>
                  </a:lnTo>
                  <a:lnTo>
                    <a:pt x="1652" y="445"/>
                  </a:lnTo>
                  <a:lnTo>
                    <a:pt x="1687" y="466"/>
                  </a:lnTo>
                  <a:lnTo>
                    <a:pt x="1722" y="486"/>
                  </a:lnTo>
                  <a:lnTo>
                    <a:pt x="1756" y="507"/>
                  </a:lnTo>
                  <a:lnTo>
                    <a:pt x="1790" y="528"/>
                  </a:lnTo>
                  <a:lnTo>
                    <a:pt x="1823" y="548"/>
                  </a:lnTo>
                  <a:lnTo>
                    <a:pt x="1855" y="569"/>
                  </a:lnTo>
                  <a:lnTo>
                    <a:pt x="1888" y="589"/>
                  </a:lnTo>
                  <a:lnTo>
                    <a:pt x="1920" y="611"/>
                  </a:lnTo>
                  <a:lnTo>
                    <a:pt x="1951" y="632"/>
                  </a:lnTo>
                  <a:lnTo>
                    <a:pt x="1982" y="652"/>
                  </a:lnTo>
                  <a:lnTo>
                    <a:pt x="2011" y="673"/>
                  </a:lnTo>
                  <a:lnTo>
                    <a:pt x="2042" y="694"/>
                  </a:lnTo>
                  <a:lnTo>
                    <a:pt x="2071" y="714"/>
                  </a:lnTo>
                  <a:lnTo>
                    <a:pt x="2100" y="735"/>
                  </a:lnTo>
                  <a:lnTo>
                    <a:pt x="2138" y="764"/>
                  </a:lnTo>
                  <a:lnTo>
                    <a:pt x="2175" y="791"/>
                  </a:lnTo>
                  <a:lnTo>
                    <a:pt x="2211" y="819"/>
                  </a:lnTo>
                  <a:lnTo>
                    <a:pt x="2246" y="848"/>
                  </a:lnTo>
                  <a:lnTo>
                    <a:pt x="2280" y="876"/>
                  </a:lnTo>
                  <a:lnTo>
                    <a:pt x="2313" y="904"/>
                  </a:lnTo>
                  <a:lnTo>
                    <a:pt x="2345" y="932"/>
                  </a:lnTo>
                  <a:lnTo>
                    <a:pt x="2375" y="958"/>
                  </a:lnTo>
                  <a:lnTo>
                    <a:pt x="2404" y="986"/>
                  </a:lnTo>
                  <a:lnTo>
                    <a:pt x="2432" y="1013"/>
                  </a:lnTo>
                  <a:lnTo>
                    <a:pt x="2458" y="1041"/>
                  </a:lnTo>
                  <a:lnTo>
                    <a:pt x="2484" y="1068"/>
                  </a:lnTo>
                  <a:lnTo>
                    <a:pt x="2508" y="1095"/>
                  </a:lnTo>
                  <a:lnTo>
                    <a:pt x="2531" y="1120"/>
                  </a:lnTo>
                  <a:lnTo>
                    <a:pt x="2551" y="1146"/>
                  </a:lnTo>
                  <a:lnTo>
                    <a:pt x="2571" y="1172"/>
                  </a:lnTo>
                  <a:lnTo>
                    <a:pt x="2589" y="1198"/>
                  </a:lnTo>
                  <a:lnTo>
                    <a:pt x="2606" y="1222"/>
                  </a:lnTo>
                  <a:lnTo>
                    <a:pt x="2621" y="1247"/>
                  </a:lnTo>
                  <a:lnTo>
                    <a:pt x="2636" y="1272"/>
                  </a:lnTo>
                  <a:lnTo>
                    <a:pt x="2647" y="1296"/>
                  </a:lnTo>
                  <a:lnTo>
                    <a:pt x="2658" y="1319"/>
                  </a:lnTo>
                  <a:lnTo>
                    <a:pt x="2668" y="1343"/>
                  </a:lnTo>
                  <a:lnTo>
                    <a:pt x="2675" y="1366"/>
                  </a:lnTo>
                  <a:lnTo>
                    <a:pt x="2681" y="1387"/>
                  </a:lnTo>
                  <a:lnTo>
                    <a:pt x="2685" y="1409"/>
                  </a:lnTo>
                  <a:lnTo>
                    <a:pt x="2687" y="1431"/>
                  </a:lnTo>
                  <a:lnTo>
                    <a:pt x="2688" y="1451"/>
                  </a:lnTo>
                  <a:lnTo>
                    <a:pt x="2687" y="1472"/>
                  </a:lnTo>
                  <a:lnTo>
                    <a:pt x="2684" y="1491"/>
                  </a:lnTo>
                  <a:lnTo>
                    <a:pt x="2680" y="1510"/>
                  </a:lnTo>
                  <a:lnTo>
                    <a:pt x="2674" y="1528"/>
                  </a:lnTo>
                  <a:lnTo>
                    <a:pt x="2669" y="1539"/>
                  </a:lnTo>
                  <a:lnTo>
                    <a:pt x="2662" y="1548"/>
                  </a:lnTo>
                  <a:lnTo>
                    <a:pt x="2662" y="1549"/>
                  </a:lnTo>
                  <a:lnTo>
                    <a:pt x="2662" y="1550"/>
                  </a:lnTo>
                  <a:lnTo>
                    <a:pt x="2651" y="1564"/>
                  </a:lnTo>
                  <a:lnTo>
                    <a:pt x="2638" y="1576"/>
                  </a:lnTo>
                  <a:lnTo>
                    <a:pt x="2624" y="1588"/>
                  </a:lnTo>
                  <a:lnTo>
                    <a:pt x="2610" y="1599"/>
                  </a:lnTo>
                  <a:lnTo>
                    <a:pt x="2593" y="1609"/>
                  </a:lnTo>
                  <a:lnTo>
                    <a:pt x="2576" y="1617"/>
                  </a:lnTo>
                  <a:lnTo>
                    <a:pt x="2557" y="1625"/>
                  </a:lnTo>
                  <a:lnTo>
                    <a:pt x="2539" y="1633"/>
                  </a:lnTo>
                  <a:lnTo>
                    <a:pt x="2521" y="1638"/>
                  </a:lnTo>
                  <a:lnTo>
                    <a:pt x="2503" y="1643"/>
                  </a:lnTo>
                  <a:lnTo>
                    <a:pt x="2484" y="1647"/>
                  </a:lnTo>
                  <a:lnTo>
                    <a:pt x="2465" y="1650"/>
                  </a:lnTo>
                  <a:lnTo>
                    <a:pt x="2444" y="1652"/>
                  </a:lnTo>
                  <a:lnTo>
                    <a:pt x="2422" y="1654"/>
                  </a:lnTo>
                  <a:lnTo>
                    <a:pt x="2401" y="1655"/>
                  </a:lnTo>
                  <a:lnTo>
                    <a:pt x="2378" y="1656"/>
                  </a:lnTo>
                  <a:lnTo>
                    <a:pt x="2351" y="1656"/>
                  </a:lnTo>
                  <a:lnTo>
                    <a:pt x="2322" y="1655"/>
                  </a:lnTo>
                  <a:lnTo>
                    <a:pt x="2294" y="1654"/>
                  </a:lnTo>
                  <a:lnTo>
                    <a:pt x="2263" y="1651"/>
                  </a:lnTo>
                  <a:lnTo>
                    <a:pt x="2232" y="1648"/>
                  </a:lnTo>
                  <a:lnTo>
                    <a:pt x="2199" y="1643"/>
                  </a:lnTo>
                  <a:lnTo>
                    <a:pt x="2166" y="1638"/>
                  </a:lnTo>
                  <a:lnTo>
                    <a:pt x="2131" y="1632"/>
                  </a:lnTo>
                  <a:lnTo>
                    <a:pt x="2096" y="1624"/>
                  </a:lnTo>
                  <a:lnTo>
                    <a:pt x="2060" y="1617"/>
                  </a:lnTo>
                  <a:lnTo>
                    <a:pt x="2023" y="1608"/>
                  </a:lnTo>
                  <a:lnTo>
                    <a:pt x="1985" y="1599"/>
                  </a:lnTo>
                  <a:lnTo>
                    <a:pt x="1947" y="1588"/>
                  </a:lnTo>
                  <a:lnTo>
                    <a:pt x="1906" y="1577"/>
                  </a:lnTo>
                  <a:lnTo>
                    <a:pt x="1867" y="1565"/>
                  </a:lnTo>
                  <a:lnTo>
                    <a:pt x="1826" y="1551"/>
                  </a:lnTo>
                  <a:lnTo>
                    <a:pt x="1785" y="1538"/>
                  </a:lnTo>
                  <a:lnTo>
                    <a:pt x="1743" y="1523"/>
                  </a:lnTo>
                  <a:lnTo>
                    <a:pt x="1700" y="1508"/>
                  </a:lnTo>
                  <a:lnTo>
                    <a:pt x="1657" y="1491"/>
                  </a:lnTo>
                  <a:lnTo>
                    <a:pt x="1614" y="1474"/>
                  </a:lnTo>
                  <a:lnTo>
                    <a:pt x="1570" y="1456"/>
                  </a:lnTo>
                  <a:lnTo>
                    <a:pt x="1525" y="1438"/>
                  </a:lnTo>
                  <a:lnTo>
                    <a:pt x="1481" y="1418"/>
                  </a:lnTo>
                  <a:lnTo>
                    <a:pt x="1436" y="1398"/>
                  </a:lnTo>
                  <a:lnTo>
                    <a:pt x="1390" y="1376"/>
                  </a:lnTo>
                  <a:lnTo>
                    <a:pt x="1344" y="1354"/>
                  </a:lnTo>
                  <a:lnTo>
                    <a:pt x="1298" y="1332"/>
                  </a:lnTo>
                  <a:lnTo>
                    <a:pt x="1251" y="1308"/>
                  </a:lnTo>
                  <a:lnTo>
                    <a:pt x="1205" y="1283"/>
                  </a:lnTo>
                  <a:lnTo>
                    <a:pt x="1159" y="1258"/>
                  </a:lnTo>
                  <a:lnTo>
                    <a:pt x="1111" y="1232"/>
                  </a:lnTo>
                  <a:lnTo>
                    <a:pt x="1046" y="1199"/>
                  </a:lnTo>
                  <a:lnTo>
                    <a:pt x="983" y="1165"/>
                  </a:lnTo>
                  <a:lnTo>
                    <a:pt x="923" y="1131"/>
                  </a:lnTo>
                  <a:lnTo>
                    <a:pt x="863" y="1096"/>
                  </a:lnTo>
                  <a:lnTo>
                    <a:pt x="804" y="1060"/>
                  </a:lnTo>
                  <a:lnTo>
                    <a:pt x="748" y="1025"/>
                  </a:lnTo>
                  <a:lnTo>
                    <a:pt x="692" y="989"/>
                  </a:lnTo>
                  <a:lnTo>
                    <a:pt x="638" y="953"/>
                  </a:lnTo>
                  <a:lnTo>
                    <a:pt x="587" y="917"/>
                  </a:lnTo>
                  <a:lnTo>
                    <a:pt x="536" y="881"/>
                  </a:lnTo>
                  <a:lnTo>
                    <a:pt x="489" y="845"/>
                  </a:lnTo>
                  <a:lnTo>
                    <a:pt x="443" y="809"/>
                  </a:lnTo>
                  <a:lnTo>
                    <a:pt x="398" y="773"/>
                  </a:lnTo>
                  <a:lnTo>
                    <a:pt x="356" y="737"/>
                  </a:lnTo>
                  <a:lnTo>
                    <a:pt x="316" y="702"/>
                  </a:lnTo>
                  <a:lnTo>
                    <a:pt x="279" y="667"/>
                  </a:lnTo>
                  <a:lnTo>
                    <a:pt x="239" y="629"/>
                  </a:lnTo>
                  <a:lnTo>
                    <a:pt x="203" y="590"/>
                  </a:lnTo>
                  <a:lnTo>
                    <a:pt x="185" y="571"/>
                  </a:lnTo>
                  <a:lnTo>
                    <a:pt x="169" y="552"/>
                  </a:lnTo>
                  <a:lnTo>
                    <a:pt x="152" y="534"/>
                  </a:lnTo>
                  <a:lnTo>
                    <a:pt x="138" y="515"/>
                  </a:lnTo>
                  <a:lnTo>
                    <a:pt x="123" y="497"/>
                  </a:lnTo>
                  <a:lnTo>
                    <a:pt x="109" y="478"/>
                  </a:lnTo>
                  <a:lnTo>
                    <a:pt x="97" y="461"/>
                  </a:lnTo>
                  <a:lnTo>
                    <a:pt x="84" y="442"/>
                  </a:lnTo>
                  <a:lnTo>
                    <a:pt x="73" y="424"/>
                  </a:lnTo>
                  <a:lnTo>
                    <a:pt x="63" y="407"/>
                  </a:lnTo>
                  <a:lnTo>
                    <a:pt x="52" y="390"/>
                  </a:lnTo>
                  <a:lnTo>
                    <a:pt x="44" y="373"/>
                  </a:lnTo>
                  <a:lnTo>
                    <a:pt x="36" y="356"/>
                  </a:lnTo>
                  <a:lnTo>
                    <a:pt x="29" y="340"/>
                  </a:lnTo>
                  <a:lnTo>
                    <a:pt x="21" y="323"/>
                  </a:lnTo>
                  <a:lnTo>
                    <a:pt x="16" y="308"/>
                  </a:lnTo>
                  <a:lnTo>
                    <a:pt x="11" y="293"/>
                  </a:lnTo>
                  <a:lnTo>
                    <a:pt x="7" y="277"/>
                  </a:lnTo>
                  <a:lnTo>
                    <a:pt x="4" y="262"/>
                  </a:lnTo>
                  <a:lnTo>
                    <a:pt x="2" y="247"/>
                  </a:lnTo>
                  <a:lnTo>
                    <a:pt x="1" y="233"/>
                  </a:lnTo>
                  <a:lnTo>
                    <a:pt x="0" y="219"/>
                  </a:lnTo>
                  <a:lnTo>
                    <a:pt x="1" y="205"/>
                  </a:lnTo>
                  <a:lnTo>
                    <a:pt x="2" y="191"/>
                  </a:lnTo>
                  <a:lnTo>
                    <a:pt x="4" y="179"/>
                  </a:lnTo>
                  <a:lnTo>
                    <a:pt x="7" y="167"/>
                  </a:lnTo>
                  <a:lnTo>
                    <a:pt x="11" y="154"/>
                  </a:lnTo>
                  <a:lnTo>
                    <a:pt x="16" y="143"/>
                  </a:lnTo>
                  <a:lnTo>
                    <a:pt x="20" y="136"/>
                  </a:lnTo>
                  <a:lnTo>
                    <a:pt x="20" y="135"/>
                  </a:lnTo>
                  <a:close/>
                  <a:moveTo>
                    <a:pt x="210" y="190"/>
                  </a:moveTo>
                  <a:lnTo>
                    <a:pt x="197" y="197"/>
                  </a:lnTo>
                  <a:lnTo>
                    <a:pt x="185" y="204"/>
                  </a:lnTo>
                  <a:lnTo>
                    <a:pt x="181" y="208"/>
                  </a:lnTo>
                  <a:lnTo>
                    <a:pt x="176" y="212"/>
                  </a:lnTo>
                  <a:lnTo>
                    <a:pt x="173" y="216"/>
                  </a:lnTo>
                  <a:lnTo>
                    <a:pt x="170" y="220"/>
                  </a:lnTo>
                  <a:lnTo>
                    <a:pt x="168" y="226"/>
                  </a:lnTo>
                  <a:lnTo>
                    <a:pt x="167" y="231"/>
                  </a:lnTo>
                  <a:lnTo>
                    <a:pt x="167" y="237"/>
                  </a:lnTo>
                  <a:lnTo>
                    <a:pt x="167" y="243"/>
                  </a:lnTo>
                  <a:lnTo>
                    <a:pt x="170" y="256"/>
                  </a:lnTo>
                  <a:lnTo>
                    <a:pt x="175" y="271"/>
                  </a:lnTo>
                  <a:lnTo>
                    <a:pt x="181" y="287"/>
                  </a:lnTo>
                  <a:lnTo>
                    <a:pt x="190" y="305"/>
                  </a:lnTo>
                  <a:lnTo>
                    <a:pt x="203" y="324"/>
                  </a:lnTo>
                  <a:lnTo>
                    <a:pt x="216" y="344"/>
                  </a:lnTo>
                  <a:lnTo>
                    <a:pt x="232" y="366"/>
                  </a:lnTo>
                  <a:lnTo>
                    <a:pt x="249" y="387"/>
                  </a:lnTo>
                  <a:lnTo>
                    <a:pt x="270" y="411"/>
                  </a:lnTo>
                  <a:lnTo>
                    <a:pt x="291" y="436"/>
                  </a:lnTo>
                  <a:lnTo>
                    <a:pt x="315" y="462"/>
                  </a:lnTo>
                  <a:lnTo>
                    <a:pt x="340" y="487"/>
                  </a:lnTo>
                  <a:lnTo>
                    <a:pt x="368" y="514"/>
                  </a:lnTo>
                  <a:lnTo>
                    <a:pt x="396" y="542"/>
                  </a:lnTo>
                  <a:lnTo>
                    <a:pt x="431" y="575"/>
                  </a:lnTo>
                  <a:lnTo>
                    <a:pt x="469" y="608"/>
                  </a:lnTo>
                  <a:lnTo>
                    <a:pt x="509" y="642"/>
                  </a:lnTo>
                  <a:lnTo>
                    <a:pt x="551" y="676"/>
                  </a:lnTo>
                  <a:lnTo>
                    <a:pt x="594" y="710"/>
                  </a:lnTo>
                  <a:lnTo>
                    <a:pt x="639" y="744"/>
                  </a:lnTo>
                  <a:lnTo>
                    <a:pt x="687" y="779"/>
                  </a:lnTo>
                  <a:lnTo>
                    <a:pt x="736" y="813"/>
                  </a:lnTo>
                  <a:lnTo>
                    <a:pt x="787" y="847"/>
                  </a:lnTo>
                  <a:lnTo>
                    <a:pt x="839" y="881"/>
                  </a:lnTo>
                  <a:lnTo>
                    <a:pt x="893" y="915"/>
                  </a:lnTo>
                  <a:lnTo>
                    <a:pt x="948" y="948"/>
                  </a:lnTo>
                  <a:lnTo>
                    <a:pt x="1005" y="981"/>
                  </a:lnTo>
                  <a:lnTo>
                    <a:pt x="1064" y="1014"/>
                  </a:lnTo>
                  <a:lnTo>
                    <a:pt x="1123" y="1045"/>
                  </a:lnTo>
                  <a:lnTo>
                    <a:pt x="1183" y="1077"/>
                  </a:lnTo>
                  <a:lnTo>
                    <a:pt x="1189" y="1079"/>
                  </a:lnTo>
                  <a:lnTo>
                    <a:pt x="1196" y="1082"/>
                  </a:lnTo>
                  <a:lnTo>
                    <a:pt x="1240" y="1107"/>
                  </a:lnTo>
                  <a:lnTo>
                    <a:pt x="1284" y="1132"/>
                  </a:lnTo>
                  <a:lnTo>
                    <a:pt x="1327" y="1154"/>
                  </a:lnTo>
                  <a:lnTo>
                    <a:pt x="1372" y="1177"/>
                  </a:lnTo>
                  <a:lnTo>
                    <a:pt x="1415" y="1199"/>
                  </a:lnTo>
                  <a:lnTo>
                    <a:pt x="1458" y="1219"/>
                  </a:lnTo>
                  <a:lnTo>
                    <a:pt x="1502" y="1240"/>
                  </a:lnTo>
                  <a:lnTo>
                    <a:pt x="1544" y="1258"/>
                  </a:lnTo>
                  <a:lnTo>
                    <a:pt x="1586" y="1278"/>
                  </a:lnTo>
                  <a:lnTo>
                    <a:pt x="1627" y="1296"/>
                  </a:lnTo>
                  <a:lnTo>
                    <a:pt x="1668" y="1312"/>
                  </a:lnTo>
                  <a:lnTo>
                    <a:pt x="1710" y="1329"/>
                  </a:lnTo>
                  <a:lnTo>
                    <a:pt x="1750" y="1344"/>
                  </a:lnTo>
                  <a:lnTo>
                    <a:pt x="1789" y="1358"/>
                  </a:lnTo>
                  <a:lnTo>
                    <a:pt x="1828" y="1373"/>
                  </a:lnTo>
                  <a:lnTo>
                    <a:pt x="1867" y="1386"/>
                  </a:lnTo>
                  <a:lnTo>
                    <a:pt x="1904" y="1399"/>
                  </a:lnTo>
                  <a:lnTo>
                    <a:pt x="1942" y="1410"/>
                  </a:lnTo>
                  <a:lnTo>
                    <a:pt x="1978" y="1420"/>
                  </a:lnTo>
                  <a:lnTo>
                    <a:pt x="2014" y="1431"/>
                  </a:lnTo>
                  <a:lnTo>
                    <a:pt x="2050" y="1440"/>
                  </a:lnTo>
                  <a:lnTo>
                    <a:pt x="2084" y="1448"/>
                  </a:lnTo>
                  <a:lnTo>
                    <a:pt x="2116" y="1455"/>
                  </a:lnTo>
                  <a:lnTo>
                    <a:pt x="2149" y="1461"/>
                  </a:lnTo>
                  <a:lnTo>
                    <a:pt x="2181" y="1468"/>
                  </a:lnTo>
                  <a:lnTo>
                    <a:pt x="2212" y="1473"/>
                  </a:lnTo>
                  <a:lnTo>
                    <a:pt x="2242" y="1477"/>
                  </a:lnTo>
                  <a:lnTo>
                    <a:pt x="2271" y="1480"/>
                  </a:lnTo>
                  <a:lnTo>
                    <a:pt x="2299" y="1483"/>
                  </a:lnTo>
                  <a:lnTo>
                    <a:pt x="2326" y="1484"/>
                  </a:lnTo>
                  <a:lnTo>
                    <a:pt x="2351" y="1485"/>
                  </a:lnTo>
                  <a:lnTo>
                    <a:pt x="2376" y="1485"/>
                  </a:lnTo>
                  <a:lnTo>
                    <a:pt x="2407" y="1484"/>
                  </a:lnTo>
                  <a:lnTo>
                    <a:pt x="2437" y="1481"/>
                  </a:lnTo>
                  <a:lnTo>
                    <a:pt x="2449" y="1479"/>
                  </a:lnTo>
                  <a:lnTo>
                    <a:pt x="2463" y="1477"/>
                  </a:lnTo>
                  <a:lnTo>
                    <a:pt x="2474" y="1474"/>
                  </a:lnTo>
                  <a:lnTo>
                    <a:pt x="2485" y="1471"/>
                  </a:lnTo>
                  <a:lnTo>
                    <a:pt x="2496" y="1467"/>
                  </a:lnTo>
                  <a:lnTo>
                    <a:pt x="2505" y="1463"/>
                  </a:lnTo>
                  <a:lnTo>
                    <a:pt x="2512" y="1457"/>
                  </a:lnTo>
                  <a:lnTo>
                    <a:pt x="2519" y="1453"/>
                  </a:lnTo>
                  <a:lnTo>
                    <a:pt x="2520" y="1442"/>
                  </a:lnTo>
                  <a:lnTo>
                    <a:pt x="2521" y="1431"/>
                  </a:lnTo>
                  <a:lnTo>
                    <a:pt x="2520" y="1418"/>
                  </a:lnTo>
                  <a:lnTo>
                    <a:pt x="2518" y="1405"/>
                  </a:lnTo>
                  <a:lnTo>
                    <a:pt x="2514" y="1391"/>
                  </a:lnTo>
                  <a:lnTo>
                    <a:pt x="2509" y="1378"/>
                  </a:lnTo>
                  <a:lnTo>
                    <a:pt x="2503" y="1364"/>
                  </a:lnTo>
                  <a:lnTo>
                    <a:pt x="2496" y="1348"/>
                  </a:lnTo>
                  <a:lnTo>
                    <a:pt x="2487" y="1333"/>
                  </a:lnTo>
                  <a:lnTo>
                    <a:pt x="2477" y="1317"/>
                  </a:lnTo>
                  <a:lnTo>
                    <a:pt x="2467" y="1301"/>
                  </a:lnTo>
                  <a:lnTo>
                    <a:pt x="2454" y="1283"/>
                  </a:lnTo>
                  <a:lnTo>
                    <a:pt x="2441" y="1267"/>
                  </a:lnTo>
                  <a:lnTo>
                    <a:pt x="2426" y="1249"/>
                  </a:lnTo>
                  <a:lnTo>
                    <a:pt x="2411" y="1231"/>
                  </a:lnTo>
                  <a:lnTo>
                    <a:pt x="2396" y="1212"/>
                  </a:lnTo>
                  <a:lnTo>
                    <a:pt x="2359" y="1174"/>
                  </a:lnTo>
                  <a:lnTo>
                    <a:pt x="2318" y="1135"/>
                  </a:lnTo>
                  <a:lnTo>
                    <a:pt x="2274" y="1093"/>
                  </a:lnTo>
                  <a:lnTo>
                    <a:pt x="2227" y="1051"/>
                  </a:lnTo>
                  <a:lnTo>
                    <a:pt x="2175" y="1009"/>
                  </a:lnTo>
                  <a:lnTo>
                    <a:pt x="2120" y="965"/>
                  </a:lnTo>
                  <a:lnTo>
                    <a:pt x="2061" y="919"/>
                  </a:lnTo>
                  <a:lnTo>
                    <a:pt x="2000" y="874"/>
                  </a:lnTo>
                  <a:lnTo>
                    <a:pt x="1972" y="854"/>
                  </a:lnTo>
                  <a:lnTo>
                    <a:pt x="1943" y="835"/>
                  </a:lnTo>
                  <a:lnTo>
                    <a:pt x="1915" y="814"/>
                  </a:lnTo>
                  <a:lnTo>
                    <a:pt x="1886" y="795"/>
                  </a:lnTo>
                  <a:lnTo>
                    <a:pt x="1856" y="774"/>
                  </a:lnTo>
                  <a:lnTo>
                    <a:pt x="1826" y="754"/>
                  </a:lnTo>
                  <a:lnTo>
                    <a:pt x="1795" y="734"/>
                  </a:lnTo>
                  <a:lnTo>
                    <a:pt x="1764" y="714"/>
                  </a:lnTo>
                  <a:lnTo>
                    <a:pt x="1731" y="694"/>
                  </a:lnTo>
                  <a:lnTo>
                    <a:pt x="1699" y="673"/>
                  </a:lnTo>
                  <a:lnTo>
                    <a:pt x="1666" y="653"/>
                  </a:lnTo>
                  <a:lnTo>
                    <a:pt x="1633" y="633"/>
                  </a:lnTo>
                  <a:lnTo>
                    <a:pt x="1599" y="613"/>
                  </a:lnTo>
                  <a:lnTo>
                    <a:pt x="1565" y="594"/>
                  </a:lnTo>
                  <a:lnTo>
                    <a:pt x="1531" y="573"/>
                  </a:lnTo>
                  <a:lnTo>
                    <a:pt x="1496" y="553"/>
                  </a:lnTo>
                  <a:lnTo>
                    <a:pt x="1493" y="551"/>
                  </a:lnTo>
                  <a:lnTo>
                    <a:pt x="1405" y="508"/>
                  </a:lnTo>
                  <a:lnTo>
                    <a:pt x="1317" y="467"/>
                  </a:lnTo>
                  <a:lnTo>
                    <a:pt x="1230" y="428"/>
                  </a:lnTo>
                  <a:lnTo>
                    <a:pt x="1145" y="390"/>
                  </a:lnTo>
                  <a:lnTo>
                    <a:pt x="1061" y="356"/>
                  </a:lnTo>
                  <a:lnTo>
                    <a:pt x="979" y="324"/>
                  </a:lnTo>
                  <a:lnTo>
                    <a:pt x="899" y="296"/>
                  </a:lnTo>
                  <a:lnTo>
                    <a:pt x="822" y="269"/>
                  </a:lnTo>
                  <a:lnTo>
                    <a:pt x="747" y="245"/>
                  </a:lnTo>
                  <a:lnTo>
                    <a:pt x="674" y="226"/>
                  </a:lnTo>
                  <a:lnTo>
                    <a:pt x="639" y="216"/>
                  </a:lnTo>
                  <a:lnTo>
                    <a:pt x="605" y="208"/>
                  </a:lnTo>
                  <a:lnTo>
                    <a:pt x="571" y="200"/>
                  </a:lnTo>
                  <a:lnTo>
                    <a:pt x="540" y="194"/>
                  </a:lnTo>
                  <a:lnTo>
                    <a:pt x="508" y="187"/>
                  </a:lnTo>
                  <a:lnTo>
                    <a:pt x="478" y="183"/>
                  </a:lnTo>
                  <a:lnTo>
                    <a:pt x="448" y="179"/>
                  </a:lnTo>
                  <a:lnTo>
                    <a:pt x="419" y="175"/>
                  </a:lnTo>
                  <a:lnTo>
                    <a:pt x="391" y="173"/>
                  </a:lnTo>
                  <a:lnTo>
                    <a:pt x="364" y="172"/>
                  </a:lnTo>
                  <a:lnTo>
                    <a:pt x="339" y="171"/>
                  </a:lnTo>
                  <a:lnTo>
                    <a:pt x="314" y="172"/>
                  </a:lnTo>
                  <a:lnTo>
                    <a:pt x="299" y="173"/>
                  </a:lnTo>
                  <a:lnTo>
                    <a:pt x="284" y="174"/>
                  </a:lnTo>
                  <a:lnTo>
                    <a:pt x="270" y="175"/>
                  </a:lnTo>
                  <a:lnTo>
                    <a:pt x="256" y="177"/>
                  </a:lnTo>
                  <a:lnTo>
                    <a:pt x="243" y="180"/>
                  </a:lnTo>
                  <a:lnTo>
                    <a:pt x="232" y="183"/>
                  </a:lnTo>
                  <a:lnTo>
                    <a:pt x="220" y="186"/>
                  </a:lnTo>
                  <a:lnTo>
                    <a:pt x="210" y="19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59" name="Freeform 35"/>
            <p:cNvSpPr>
              <a:spLocks noChangeArrowheads="1"/>
            </p:cNvSpPr>
            <p:nvPr/>
          </p:nvSpPr>
          <p:spPr bwMode="auto">
            <a:xfrm>
              <a:off x="6583363" y="2955849"/>
              <a:ext cx="1130300" cy="823930"/>
            </a:xfrm>
            <a:custGeom>
              <a:avLst/>
              <a:gdLst>
                <a:gd name="T0" fmla="*/ 39 w 2520"/>
                <a:gd name="T1" fmla="*/ 59 h 1486"/>
                <a:gd name="T2" fmla="*/ 104 w 2520"/>
                <a:gd name="T3" fmla="*/ 22 h 1486"/>
                <a:gd name="T4" fmla="*/ 193 w 2520"/>
                <a:gd name="T5" fmla="*/ 3 h 1486"/>
                <a:gd name="T6" fmla="*/ 302 w 2520"/>
                <a:gd name="T7" fmla="*/ 2 h 1486"/>
                <a:gd name="T8" fmla="*/ 430 w 2520"/>
                <a:gd name="T9" fmla="*/ 18 h 1486"/>
                <a:gd name="T10" fmla="*/ 573 w 2520"/>
                <a:gd name="T11" fmla="*/ 48 h 1486"/>
                <a:gd name="T12" fmla="*/ 731 w 2520"/>
                <a:gd name="T13" fmla="*/ 92 h 1486"/>
                <a:gd name="T14" fmla="*/ 899 w 2520"/>
                <a:gd name="T15" fmla="*/ 150 h 1486"/>
                <a:gd name="T16" fmla="*/ 1077 w 2520"/>
                <a:gd name="T17" fmla="*/ 220 h 1486"/>
                <a:gd name="T18" fmla="*/ 1261 w 2520"/>
                <a:gd name="T19" fmla="*/ 301 h 1486"/>
                <a:gd name="T20" fmla="*/ 1451 w 2520"/>
                <a:gd name="T21" fmla="*/ 392 h 1486"/>
                <a:gd name="T22" fmla="*/ 1636 w 2520"/>
                <a:gd name="T23" fmla="*/ 500 h 1486"/>
                <a:gd name="T24" fmla="*/ 1808 w 2520"/>
                <a:gd name="T25" fmla="*/ 610 h 1486"/>
                <a:gd name="T26" fmla="*/ 1966 w 2520"/>
                <a:gd name="T27" fmla="*/ 719 h 1486"/>
                <a:gd name="T28" fmla="*/ 2107 w 2520"/>
                <a:gd name="T29" fmla="*/ 827 h 1486"/>
                <a:gd name="T30" fmla="*/ 2229 w 2520"/>
                <a:gd name="T31" fmla="*/ 932 h 1486"/>
                <a:gd name="T32" fmla="*/ 2333 w 2520"/>
                <a:gd name="T33" fmla="*/ 1032 h 1486"/>
                <a:gd name="T34" fmla="*/ 2416 w 2520"/>
                <a:gd name="T35" fmla="*/ 1128 h 1486"/>
                <a:gd name="T36" fmla="*/ 2476 w 2520"/>
                <a:gd name="T37" fmla="*/ 1217 h 1486"/>
                <a:gd name="T38" fmla="*/ 2511 w 2520"/>
                <a:gd name="T39" fmla="*/ 1298 h 1486"/>
                <a:gd name="T40" fmla="*/ 2520 w 2520"/>
                <a:gd name="T41" fmla="*/ 1370 h 1486"/>
                <a:gd name="T42" fmla="*/ 2497 w 2520"/>
                <a:gd name="T43" fmla="*/ 1427 h 1486"/>
                <a:gd name="T44" fmla="*/ 2439 w 2520"/>
                <a:gd name="T45" fmla="*/ 1462 h 1486"/>
                <a:gd name="T46" fmla="*/ 2359 w 2520"/>
                <a:gd name="T47" fmla="*/ 1482 h 1486"/>
                <a:gd name="T48" fmla="*/ 2256 w 2520"/>
                <a:gd name="T49" fmla="*/ 1486 h 1486"/>
                <a:gd name="T50" fmla="*/ 2134 w 2520"/>
                <a:gd name="T51" fmla="*/ 1475 h 1486"/>
                <a:gd name="T52" fmla="*/ 1996 w 2520"/>
                <a:gd name="T53" fmla="*/ 1450 h 1486"/>
                <a:gd name="T54" fmla="*/ 1844 w 2520"/>
                <a:gd name="T55" fmla="*/ 1409 h 1486"/>
                <a:gd name="T56" fmla="*/ 1678 w 2520"/>
                <a:gd name="T57" fmla="*/ 1355 h 1486"/>
                <a:gd name="T58" fmla="*/ 1503 w 2520"/>
                <a:gd name="T59" fmla="*/ 1286 h 1486"/>
                <a:gd name="T60" fmla="*/ 1321 w 2520"/>
                <a:gd name="T61" fmla="*/ 1203 h 1486"/>
                <a:gd name="T62" fmla="*/ 1133 w 2520"/>
                <a:gd name="T63" fmla="*/ 1107 h 1486"/>
                <a:gd name="T64" fmla="*/ 945 w 2520"/>
                <a:gd name="T65" fmla="*/ 1007 h 1486"/>
                <a:gd name="T66" fmla="*/ 768 w 2520"/>
                <a:gd name="T67" fmla="*/ 905 h 1486"/>
                <a:gd name="T68" fmla="*/ 606 w 2520"/>
                <a:gd name="T69" fmla="*/ 800 h 1486"/>
                <a:gd name="T70" fmla="*/ 459 w 2520"/>
                <a:gd name="T71" fmla="*/ 694 h 1486"/>
                <a:gd name="T72" fmla="*/ 329 w 2520"/>
                <a:gd name="T73" fmla="*/ 588 h 1486"/>
                <a:gd name="T74" fmla="*/ 219 w 2520"/>
                <a:gd name="T75" fmla="*/ 486 h 1486"/>
                <a:gd name="T76" fmla="*/ 129 w 2520"/>
                <a:gd name="T77" fmla="*/ 389 h 1486"/>
                <a:gd name="T78" fmla="*/ 61 w 2520"/>
                <a:gd name="T79" fmla="*/ 299 h 1486"/>
                <a:gd name="T80" fmla="*/ 18 w 2520"/>
                <a:gd name="T81" fmla="*/ 219 h 1486"/>
                <a:gd name="T82" fmla="*/ 0 w 2520"/>
                <a:gd name="T83" fmla="*/ 150 h 1486"/>
                <a:gd name="T84" fmla="*/ 10 w 2520"/>
                <a:gd name="T85" fmla="*/ 94 h 1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20" h="1486">
                  <a:moveTo>
                    <a:pt x="10" y="94"/>
                  </a:moveTo>
                  <a:lnTo>
                    <a:pt x="23" y="76"/>
                  </a:lnTo>
                  <a:lnTo>
                    <a:pt x="39" y="59"/>
                  </a:lnTo>
                  <a:lnTo>
                    <a:pt x="59" y="45"/>
                  </a:lnTo>
                  <a:lnTo>
                    <a:pt x="81" y="32"/>
                  </a:lnTo>
                  <a:lnTo>
                    <a:pt x="104" y="22"/>
                  </a:lnTo>
                  <a:lnTo>
                    <a:pt x="132" y="14"/>
                  </a:lnTo>
                  <a:lnTo>
                    <a:pt x="161" y="8"/>
                  </a:lnTo>
                  <a:lnTo>
                    <a:pt x="193" y="3"/>
                  </a:lnTo>
                  <a:lnTo>
                    <a:pt x="227" y="1"/>
                  </a:lnTo>
                  <a:lnTo>
                    <a:pt x="264" y="0"/>
                  </a:lnTo>
                  <a:lnTo>
                    <a:pt x="302" y="2"/>
                  </a:lnTo>
                  <a:lnTo>
                    <a:pt x="342" y="5"/>
                  </a:lnTo>
                  <a:lnTo>
                    <a:pt x="385" y="11"/>
                  </a:lnTo>
                  <a:lnTo>
                    <a:pt x="430" y="18"/>
                  </a:lnTo>
                  <a:lnTo>
                    <a:pt x="476" y="26"/>
                  </a:lnTo>
                  <a:lnTo>
                    <a:pt x="524" y="36"/>
                  </a:lnTo>
                  <a:lnTo>
                    <a:pt x="573" y="48"/>
                  </a:lnTo>
                  <a:lnTo>
                    <a:pt x="624" y="61"/>
                  </a:lnTo>
                  <a:lnTo>
                    <a:pt x="676" y="76"/>
                  </a:lnTo>
                  <a:lnTo>
                    <a:pt x="731" y="92"/>
                  </a:lnTo>
                  <a:lnTo>
                    <a:pt x="785" y="111"/>
                  </a:lnTo>
                  <a:lnTo>
                    <a:pt x="842" y="129"/>
                  </a:lnTo>
                  <a:lnTo>
                    <a:pt x="899" y="150"/>
                  </a:lnTo>
                  <a:lnTo>
                    <a:pt x="957" y="172"/>
                  </a:lnTo>
                  <a:lnTo>
                    <a:pt x="1017" y="195"/>
                  </a:lnTo>
                  <a:lnTo>
                    <a:pt x="1077" y="220"/>
                  </a:lnTo>
                  <a:lnTo>
                    <a:pt x="1137" y="246"/>
                  </a:lnTo>
                  <a:lnTo>
                    <a:pt x="1199" y="272"/>
                  </a:lnTo>
                  <a:lnTo>
                    <a:pt x="1261" y="301"/>
                  </a:lnTo>
                  <a:lnTo>
                    <a:pt x="1324" y="330"/>
                  </a:lnTo>
                  <a:lnTo>
                    <a:pt x="1388" y="361"/>
                  </a:lnTo>
                  <a:lnTo>
                    <a:pt x="1451" y="392"/>
                  </a:lnTo>
                  <a:lnTo>
                    <a:pt x="1513" y="428"/>
                  </a:lnTo>
                  <a:lnTo>
                    <a:pt x="1575" y="464"/>
                  </a:lnTo>
                  <a:lnTo>
                    <a:pt x="1636" y="500"/>
                  </a:lnTo>
                  <a:lnTo>
                    <a:pt x="1695" y="536"/>
                  </a:lnTo>
                  <a:lnTo>
                    <a:pt x="1751" y="573"/>
                  </a:lnTo>
                  <a:lnTo>
                    <a:pt x="1808" y="610"/>
                  </a:lnTo>
                  <a:lnTo>
                    <a:pt x="1861" y="647"/>
                  </a:lnTo>
                  <a:lnTo>
                    <a:pt x="1914" y="683"/>
                  </a:lnTo>
                  <a:lnTo>
                    <a:pt x="1966" y="719"/>
                  </a:lnTo>
                  <a:lnTo>
                    <a:pt x="2014" y="755"/>
                  </a:lnTo>
                  <a:lnTo>
                    <a:pt x="2061" y="791"/>
                  </a:lnTo>
                  <a:lnTo>
                    <a:pt x="2107" y="827"/>
                  </a:lnTo>
                  <a:lnTo>
                    <a:pt x="2150" y="862"/>
                  </a:lnTo>
                  <a:lnTo>
                    <a:pt x="2191" y="897"/>
                  </a:lnTo>
                  <a:lnTo>
                    <a:pt x="2229" y="932"/>
                  </a:lnTo>
                  <a:lnTo>
                    <a:pt x="2266" y="966"/>
                  </a:lnTo>
                  <a:lnTo>
                    <a:pt x="2301" y="999"/>
                  </a:lnTo>
                  <a:lnTo>
                    <a:pt x="2333" y="1032"/>
                  </a:lnTo>
                  <a:lnTo>
                    <a:pt x="2363" y="1065"/>
                  </a:lnTo>
                  <a:lnTo>
                    <a:pt x="2391" y="1097"/>
                  </a:lnTo>
                  <a:lnTo>
                    <a:pt x="2416" y="1128"/>
                  </a:lnTo>
                  <a:lnTo>
                    <a:pt x="2438" y="1159"/>
                  </a:lnTo>
                  <a:lnTo>
                    <a:pt x="2459" y="1188"/>
                  </a:lnTo>
                  <a:lnTo>
                    <a:pt x="2476" y="1217"/>
                  </a:lnTo>
                  <a:lnTo>
                    <a:pt x="2491" y="1245"/>
                  </a:lnTo>
                  <a:lnTo>
                    <a:pt x="2502" y="1272"/>
                  </a:lnTo>
                  <a:lnTo>
                    <a:pt x="2511" y="1298"/>
                  </a:lnTo>
                  <a:lnTo>
                    <a:pt x="2518" y="1323"/>
                  </a:lnTo>
                  <a:lnTo>
                    <a:pt x="2520" y="1347"/>
                  </a:lnTo>
                  <a:lnTo>
                    <a:pt x="2520" y="1370"/>
                  </a:lnTo>
                  <a:lnTo>
                    <a:pt x="2517" y="1392"/>
                  </a:lnTo>
                  <a:lnTo>
                    <a:pt x="2510" y="1413"/>
                  </a:lnTo>
                  <a:lnTo>
                    <a:pt x="2497" y="1427"/>
                  </a:lnTo>
                  <a:lnTo>
                    <a:pt x="2481" y="1440"/>
                  </a:lnTo>
                  <a:lnTo>
                    <a:pt x="2462" y="1453"/>
                  </a:lnTo>
                  <a:lnTo>
                    <a:pt x="2439" y="1462"/>
                  </a:lnTo>
                  <a:lnTo>
                    <a:pt x="2416" y="1470"/>
                  </a:lnTo>
                  <a:lnTo>
                    <a:pt x="2388" y="1476"/>
                  </a:lnTo>
                  <a:lnTo>
                    <a:pt x="2359" y="1482"/>
                  </a:lnTo>
                  <a:lnTo>
                    <a:pt x="2327" y="1485"/>
                  </a:lnTo>
                  <a:lnTo>
                    <a:pt x="2293" y="1486"/>
                  </a:lnTo>
                  <a:lnTo>
                    <a:pt x="2256" y="1486"/>
                  </a:lnTo>
                  <a:lnTo>
                    <a:pt x="2218" y="1484"/>
                  </a:lnTo>
                  <a:lnTo>
                    <a:pt x="2178" y="1481"/>
                  </a:lnTo>
                  <a:lnTo>
                    <a:pt x="2134" y="1475"/>
                  </a:lnTo>
                  <a:lnTo>
                    <a:pt x="2090" y="1468"/>
                  </a:lnTo>
                  <a:lnTo>
                    <a:pt x="2044" y="1460"/>
                  </a:lnTo>
                  <a:lnTo>
                    <a:pt x="1996" y="1450"/>
                  </a:lnTo>
                  <a:lnTo>
                    <a:pt x="1947" y="1437"/>
                  </a:lnTo>
                  <a:lnTo>
                    <a:pt x="1895" y="1424"/>
                  </a:lnTo>
                  <a:lnTo>
                    <a:pt x="1844" y="1409"/>
                  </a:lnTo>
                  <a:lnTo>
                    <a:pt x="1789" y="1393"/>
                  </a:lnTo>
                  <a:lnTo>
                    <a:pt x="1735" y="1374"/>
                  </a:lnTo>
                  <a:lnTo>
                    <a:pt x="1678" y="1355"/>
                  </a:lnTo>
                  <a:lnTo>
                    <a:pt x="1620" y="1333"/>
                  </a:lnTo>
                  <a:lnTo>
                    <a:pt x="1563" y="1311"/>
                  </a:lnTo>
                  <a:lnTo>
                    <a:pt x="1503" y="1286"/>
                  </a:lnTo>
                  <a:lnTo>
                    <a:pt x="1443" y="1260"/>
                  </a:lnTo>
                  <a:lnTo>
                    <a:pt x="1383" y="1232"/>
                  </a:lnTo>
                  <a:lnTo>
                    <a:pt x="1321" y="1203"/>
                  </a:lnTo>
                  <a:lnTo>
                    <a:pt x="1259" y="1173"/>
                  </a:lnTo>
                  <a:lnTo>
                    <a:pt x="1196" y="1140"/>
                  </a:lnTo>
                  <a:lnTo>
                    <a:pt x="1133" y="1107"/>
                  </a:lnTo>
                  <a:lnTo>
                    <a:pt x="1069" y="1072"/>
                  </a:lnTo>
                  <a:lnTo>
                    <a:pt x="1007" y="1040"/>
                  </a:lnTo>
                  <a:lnTo>
                    <a:pt x="945" y="1007"/>
                  </a:lnTo>
                  <a:lnTo>
                    <a:pt x="884" y="973"/>
                  </a:lnTo>
                  <a:lnTo>
                    <a:pt x="825" y="939"/>
                  </a:lnTo>
                  <a:lnTo>
                    <a:pt x="768" y="905"/>
                  </a:lnTo>
                  <a:lnTo>
                    <a:pt x="712" y="870"/>
                  </a:lnTo>
                  <a:lnTo>
                    <a:pt x="658" y="835"/>
                  </a:lnTo>
                  <a:lnTo>
                    <a:pt x="606" y="800"/>
                  </a:lnTo>
                  <a:lnTo>
                    <a:pt x="554" y="764"/>
                  </a:lnTo>
                  <a:lnTo>
                    <a:pt x="506" y="729"/>
                  </a:lnTo>
                  <a:lnTo>
                    <a:pt x="459" y="694"/>
                  </a:lnTo>
                  <a:lnTo>
                    <a:pt x="413" y="658"/>
                  </a:lnTo>
                  <a:lnTo>
                    <a:pt x="370" y="623"/>
                  </a:lnTo>
                  <a:lnTo>
                    <a:pt x="329" y="588"/>
                  </a:lnTo>
                  <a:lnTo>
                    <a:pt x="290" y="554"/>
                  </a:lnTo>
                  <a:lnTo>
                    <a:pt x="254" y="520"/>
                  </a:lnTo>
                  <a:lnTo>
                    <a:pt x="219" y="486"/>
                  </a:lnTo>
                  <a:lnTo>
                    <a:pt x="187" y="453"/>
                  </a:lnTo>
                  <a:lnTo>
                    <a:pt x="157" y="421"/>
                  </a:lnTo>
                  <a:lnTo>
                    <a:pt x="129" y="389"/>
                  </a:lnTo>
                  <a:lnTo>
                    <a:pt x="103" y="358"/>
                  </a:lnTo>
                  <a:lnTo>
                    <a:pt x="82" y="328"/>
                  </a:lnTo>
                  <a:lnTo>
                    <a:pt x="61" y="299"/>
                  </a:lnTo>
                  <a:lnTo>
                    <a:pt x="45" y="271"/>
                  </a:lnTo>
                  <a:lnTo>
                    <a:pt x="29" y="245"/>
                  </a:lnTo>
                  <a:lnTo>
                    <a:pt x="18" y="219"/>
                  </a:lnTo>
                  <a:lnTo>
                    <a:pt x="9" y="194"/>
                  </a:lnTo>
                  <a:lnTo>
                    <a:pt x="3" y="171"/>
                  </a:lnTo>
                  <a:lnTo>
                    <a:pt x="0" y="150"/>
                  </a:lnTo>
                  <a:lnTo>
                    <a:pt x="0" y="129"/>
                  </a:lnTo>
                  <a:lnTo>
                    <a:pt x="3" y="112"/>
                  </a:lnTo>
                  <a:lnTo>
                    <a:pt x="10" y="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0" name="Freeform 36"/>
            <p:cNvSpPr>
              <a:spLocks noChangeArrowheads="1"/>
            </p:cNvSpPr>
            <p:nvPr/>
          </p:nvSpPr>
          <p:spPr bwMode="auto">
            <a:xfrm>
              <a:off x="6762750" y="2582779"/>
              <a:ext cx="985838" cy="1239863"/>
            </a:xfrm>
            <a:custGeom>
              <a:avLst/>
              <a:gdLst>
                <a:gd name="T0" fmla="*/ 93 w 2188"/>
                <a:gd name="T1" fmla="*/ 35 h 2238"/>
                <a:gd name="T2" fmla="*/ 178 w 2188"/>
                <a:gd name="T3" fmla="*/ 4 h 2238"/>
                <a:gd name="T4" fmla="*/ 280 w 2188"/>
                <a:gd name="T5" fmla="*/ 3 h 2238"/>
                <a:gd name="T6" fmla="*/ 419 w 2188"/>
                <a:gd name="T7" fmla="*/ 37 h 2238"/>
                <a:gd name="T8" fmla="*/ 690 w 2188"/>
                <a:gd name="T9" fmla="*/ 171 h 2238"/>
                <a:gd name="T10" fmla="*/ 976 w 2188"/>
                <a:gd name="T11" fmla="*/ 373 h 2238"/>
                <a:gd name="T12" fmla="*/ 1284 w 2188"/>
                <a:gd name="T13" fmla="*/ 637 h 2238"/>
                <a:gd name="T14" fmla="*/ 1442 w 2188"/>
                <a:gd name="T15" fmla="*/ 791 h 2238"/>
                <a:gd name="T16" fmla="*/ 1560 w 2188"/>
                <a:gd name="T17" fmla="*/ 912 h 2238"/>
                <a:gd name="T18" fmla="*/ 1713 w 2188"/>
                <a:gd name="T19" fmla="*/ 1086 h 2238"/>
                <a:gd name="T20" fmla="*/ 1849 w 2188"/>
                <a:gd name="T21" fmla="*/ 1257 h 2238"/>
                <a:gd name="T22" fmla="*/ 2002 w 2188"/>
                <a:gd name="T23" fmla="*/ 1483 h 2238"/>
                <a:gd name="T24" fmla="*/ 2112 w 2188"/>
                <a:gd name="T25" fmla="*/ 1691 h 2238"/>
                <a:gd name="T26" fmla="*/ 2174 w 2188"/>
                <a:gd name="T27" fmla="*/ 1877 h 2238"/>
                <a:gd name="T28" fmla="*/ 2187 w 2188"/>
                <a:gd name="T29" fmla="*/ 2034 h 2238"/>
                <a:gd name="T30" fmla="*/ 2147 w 2188"/>
                <a:gd name="T31" fmla="*/ 2156 h 2238"/>
                <a:gd name="T32" fmla="*/ 2117 w 2188"/>
                <a:gd name="T33" fmla="*/ 2191 h 2238"/>
                <a:gd name="T34" fmla="*/ 2060 w 2188"/>
                <a:gd name="T35" fmla="*/ 2225 h 2238"/>
                <a:gd name="T36" fmla="*/ 1978 w 2188"/>
                <a:gd name="T37" fmla="*/ 2238 h 2238"/>
                <a:gd name="T38" fmla="*/ 1878 w 2188"/>
                <a:gd name="T39" fmla="*/ 2227 h 2238"/>
                <a:gd name="T40" fmla="*/ 1761 w 2188"/>
                <a:gd name="T41" fmla="*/ 2191 h 2238"/>
                <a:gd name="T42" fmla="*/ 1562 w 2188"/>
                <a:gd name="T43" fmla="*/ 2095 h 2238"/>
                <a:gd name="T44" fmla="*/ 1334 w 2188"/>
                <a:gd name="T45" fmla="*/ 1948 h 2238"/>
                <a:gd name="T46" fmla="*/ 1034 w 2188"/>
                <a:gd name="T47" fmla="*/ 1710 h 2238"/>
                <a:gd name="T48" fmla="*/ 773 w 2188"/>
                <a:gd name="T49" fmla="*/ 1466 h 2238"/>
                <a:gd name="T50" fmla="*/ 663 w 2188"/>
                <a:gd name="T51" fmla="*/ 1354 h 2238"/>
                <a:gd name="T52" fmla="*/ 398 w 2188"/>
                <a:gd name="T53" fmla="*/ 1038 h 2238"/>
                <a:gd name="T54" fmla="*/ 194 w 2188"/>
                <a:gd name="T55" fmla="*/ 739 h 2238"/>
                <a:gd name="T56" fmla="*/ 71 w 2188"/>
                <a:gd name="T57" fmla="*/ 503 h 2238"/>
                <a:gd name="T58" fmla="*/ 24 w 2188"/>
                <a:gd name="T59" fmla="*/ 372 h 2238"/>
                <a:gd name="T60" fmla="*/ 2 w 2188"/>
                <a:gd name="T61" fmla="*/ 257 h 2238"/>
                <a:gd name="T62" fmla="*/ 4 w 2188"/>
                <a:gd name="T63" fmla="*/ 162 h 2238"/>
                <a:gd name="T64" fmla="*/ 33 w 2188"/>
                <a:gd name="T65" fmla="*/ 89 h 2238"/>
                <a:gd name="T66" fmla="*/ 171 w 2188"/>
                <a:gd name="T67" fmla="*/ 189 h 2238"/>
                <a:gd name="T68" fmla="*/ 163 w 2188"/>
                <a:gd name="T69" fmla="*/ 203 h 2238"/>
                <a:gd name="T70" fmla="*/ 171 w 2188"/>
                <a:gd name="T71" fmla="*/ 295 h 2238"/>
                <a:gd name="T72" fmla="*/ 237 w 2188"/>
                <a:gd name="T73" fmla="*/ 461 h 2238"/>
                <a:gd name="T74" fmla="*/ 369 w 2188"/>
                <a:gd name="T75" fmla="*/ 698 h 2238"/>
                <a:gd name="T76" fmla="*/ 572 w 2188"/>
                <a:gd name="T77" fmla="*/ 985 h 2238"/>
                <a:gd name="T78" fmla="*/ 834 w 2188"/>
                <a:gd name="T79" fmla="*/ 1286 h 2238"/>
                <a:gd name="T80" fmla="*/ 944 w 2188"/>
                <a:gd name="T81" fmla="*/ 1395 h 2238"/>
                <a:gd name="T82" fmla="*/ 1241 w 2188"/>
                <a:gd name="T83" fmla="*/ 1662 h 2238"/>
                <a:gd name="T84" fmla="*/ 1520 w 2188"/>
                <a:gd name="T85" fmla="*/ 1868 h 2238"/>
                <a:gd name="T86" fmla="*/ 1713 w 2188"/>
                <a:gd name="T87" fmla="*/ 1983 h 2238"/>
                <a:gd name="T88" fmla="*/ 1878 w 2188"/>
                <a:gd name="T89" fmla="*/ 2058 h 2238"/>
                <a:gd name="T90" fmla="*/ 1980 w 2188"/>
                <a:gd name="T91" fmla="*/ 2075 h 2238"/>
                <a:gd name="T92" fmla="*/ 1999 w 2188"/>
                <a:gd name="T93" fmla="*/ 2066 h 2238"/>
                <a:gd name="T94" fmla="*/ 2026 w 2188"/>
                <a:gd name="T95" fmla="*/ 2011 h 2238"/>
                <a:gd name="T96" fmla="*/ 2020 w 2188"/>
                <a:gd name="T97" fmla="*/ 1912 h 2238"/>
                <a:gd name="T98" fmla="*/ 1975 w 2188"/>
                <a:gd name="T99" fmla="*/ 1784 h 2238"/>
                <a:gd name="T100" fmla="*/ 1842 w 2188"/>
                <a:gd name="T101" fmla="*/ 1543 h 2238"/>
                <a:gd name="T102" fmla="*/ 1650 w 2188"/>
                <a:gd name="T103" fmla="*/ 1278 h 2238"/>
                <a:gd name="T104" fmla="*/ 1510 w 2188"/>
                <a:gd name="T105" fmla="*/ 1112 h 2238"/>
                <a:gd name="T106" fmla="*/ 1355 w 2188"/>
                <a:gd name="T107" fmla="*/ 945 h 2238"/>
                <a:gd name="T108" fmla="*/ 1269 w 2188"/>
                <a:gd name="T109" fmla="*/ 860 h 2238"/>
                <a:gd name="T110" fmla="*/ 970 w 2188"/>
                <a:gd name="T111" fmla="*/ 589 h 2238"/>
                <a:gd name="T112" fmla="*/ 689 w 2188"/>
                <a:gd name="T113" fmla="*/ 375 h 2238"/>
                <a:gd name="T114" fmla="*/ 459 w 2188"/>
                <a:gd name="T115" fmla="*/ 238 h 2238"/>
                <a:gd name="T116" fmla="*/ 293 w 2188"/>
                <a:gd name="T117" fmla="*/ 174 h 2238"/>
                <a:gd name="T118" fmla="*/ 206 w 2188"/>
                <a:gd name="T119" fmla="*/ 170 h 2238"/>
                <a:gd name="T120" fmla="*/ 171 w 2188"/>
                <a:gd name="T121" fmla="*/ 189 h 2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88" h="2238">
                  <a:moveTo>
                    <a:pt x="50" y="68"/>
                  </a:moveTo>
                  <a:lnTo>
                    <a:pt x="51" y="67"/>
                  </a:lnTo>
                  <a:lnTo>
                    <a:pt x="57" y="61"/>
                  </a:lnTo>
                  <a:lnTo>
                    <a:pt x="68" y="52"/>
                  </a:lnTo>
                  <a:lnTo>
                    <a:pt x="80" y="42"/>
                  </a:lnTo>
                  <a:lnTo>
                    <a:pt x="93" y="35"/>
                  </a:lnTo>
                  <a:lnTo>
                    <a:pt x="106" y="28"/>
                  </a:lnTo>
                  <a:lnTo>
                    <a:pt x="120" y="22"/>
                  </a:lnTo>
                  <a:lnTo>
                    <a:pt x="133" y="16"/>
                  </a:lnTo>
                  <a:lnTo>
                    <a:pt x="147" y="12"/>
                  </a:lnTo>
                  <a:lnTo>
                    <a:pt x="163" y="7"/>
                  </a:lnTo>
                  <a:lnTo>
                    <a:pt x="178" y="4"/>
                  </a:lnTo>
                  <a:lnTo>
                    <a:pt x="194" y="2"/>
                  </a:lnTo>
                  <a:lnTo>
                    <a:pt x="210" y="1"/>
                  </a:lnTo>
                  <a:lnTo>
                    <a:pt x="228" y="0"/>
                  </a:lnTo>
                  <a:lnTo>
                    <a:pt x="244" y="1"/>
                  </a:lnTo>
                  <a:lnTo>
                    <a:pt x="263" y="2"/>
                  </a:lnTo>
                  <a:lnTo>
                    <a:pt x="280" y="3"/>
                  </a:lnTo>
                  <a:lnTo>
                    <a:pt x="299" y="6"/>
                  </a:lnTo>
                  <a:lnTo>
                    <a:pt x="318" y="9"/>
                  </a:lnTo>
                  <a:lnTo>
                    <a:pt x="338" y="14"/>
                  </a:lnTo>
                  <a:lnTo>
                    <a:pt x="358" y="19"/>
                  </a:lnTo>
                  <a:lnTo>
                    <a:pt x="377" y="24"/>
                  </a:lnTo>
                  <a:lnTo>
                    <a:pt x="419" y="37"/>
                  </a:lnTo>
                  <a:lnTo>
                    <a:pt x="462" y="53"/>
                  </a:lnTo>
                  <a:lnTo>
                    <a:pt x="506" y="72"/>
                  </a:lnTo>
                  <a:lnTo>
                    <a:pt x="551" y="94"/>
                  </a:lnTo>
                  <a:lnTo>
                    <a:pt x="598" y="118"/>
                  </a:lnTo>
                  <a:lnTo>
                    <a:pt x="646" y="145"/>
                  </a:lnTo>
                  <a:lnTo>
                    <a:pt x="690" y="171"/>
                  </a:lnTo>
                  <a:lnTo>
                    <a:pt x="736" y="200"/>
                  </a:lnTo>
                  <a:lnTo>
                    <a:pt x="782" y="231"/>
                  </a:lnTo>
                  <a:lnTo>
                    <a:pt x="829" y="264"/>
                  </a:lnTo>
                  <a:lnTo>
                    <a:pt x="877" y="298"/>
                  </a:lnTo>
                  <a:lnTo>
                    <a:pt x="926" y="334"/>
                  </a:lnTo>
                  <a:lnTo>
                    <a:pt x="976" y="373"/>
                  </a:lnTo>
                  <a:lnTo>
                    <a:pt x="1026" y="413"/>
                  </a:lnTo>
                  <a:lnTo>
                    <a:pt x="1077" y="455"/>
                  </a:lnTo>
                  <a:lnTo>
                    <a:pt x="1128" y="498"/>
                  </a:lnTo>
                  <a:lnTo>
                    <a:pt x="1180" y="543"/>
                  </a:lnTo>
                  <a:lnTo>
                    <a:pt x="1231" y="589"/>
                  </a:lnTo>
                  <a:lnTo>
                    <a:pt x="1284" y="637"/>
                  </a:lnTo>
                  <a:lnTo>
                    <a:pt x="1336" y="687"/>
                  </a:lnTo>
                  <a:lnTo>
                    <a:pt x="1388" y="737"/>
                  </a:lnTo>
                  <a:lnTo>
                    <a:pt x="1441" y="789"/>
                  </a:lnTo>
                  <a:lnTo>
                    <a:pt x="1441" y="790"/>
                  </a:lnTo>
                  <a:lnTo>
                    <a:pt x="1441" y="789"/>
                  </a:lnTo>
                  <a:lnTo>
                    <a:pt x="1442" y="791"/>
                  </a:lnTo>
                  <a:lnTo>
                    <a:pt x="1444" y="792"/>
                  </a:lnTo>
                  <a:lnTo>
                    <a:pt x="1448" y="796"/>
                  </a:lnTo>
                  <a:lnTo>
                    <a:pt x="1476" y="826"/>
                  </a:lnTo>
                  <a:lnTo>
                    <a:pt x="1504" y="855"/>
                  </a:lnTo>
                  <a:lnTo>
                    <a:pt x="1532" y="884"/>
                  </a:lnTo>
                  <a:lnTo>
                    <a:pt x="1560" y="912"/>
                  </a:lnTo>
                  <a:lnTo>
                    <a:pt x="1586" y="941"/>
                  </a:lnTo>
                  <a:lnTo>
                    <a:pt x="1612" y="970"/>
                  </a:lnTo>
                  <a:lnTo>
                    <a:pt x="1638" y="999"/>
                  </a:lnTo>
                  <a:lnTo>
                    <a:pt x="1664" y="1028"/>
                  </a:lnTo>
                  <a:lnTo>
                    <a:pt x="1688" y="1057"/>
                  </a:lnTo>
                  <a:lnTo>
                    <a:pt x="1713" y="1086"/>
                  </a:lnTo>
                  <a:lnTo>
                    <a:pt x="1737" y="1115"/>
                  </a:lnTo>
                  <a:lnTo>
                    <a:pt x="1760" y="1143"/>
                  </a:lnTo>
                  <a:lnTo>
                    <a:pt x="1783" y="1172"/>
                  </a:lnTo>
                  <a:lnTo>
                    <a:pt x="1806" y="1200"/>
                  </a:lnTo>
                  <a:lnTo>
                    <a:pt x="1828" y="1229"/>
                  </a:lnTo>
                  <a:lnTo>
                    <a:pt x="1849" y="1257"/>
                  </a:lnTo>
                  <a:lnTo>
                    <a:pt x="1878" y="1296"/>
                  </a:lnTo>
                  <a:lnTo>
                    <a:pt x="1905" y="1334"/>
                  </a:lnTo>
                  <a:lnTo>
                    <a:pt x="1930" y="1371"/>
                  </a:lnTo>
                  <a:lnTo>
                    <a:pt x="1956" y="1409"/>
                  </a:lnTo>
                  <a:lnTo>
                    <a:pt x="1980" y="1445"/>
                  </a:lnTo>
                  <a:lnTo>
                    <a:pt x="2002" y="1483"/>
                  </a:lnTo>
                  <a:lnTo>
                    <a:pt x="2023" y="1519"/>
                  </a:lnTo>
                  <a:lnTo>
                    <a:pt x="2044" y="1554"/>
                  </a:lnTo>
                  <a:lnTo>
                    <a:pt x="2062" y="1589"/>
                  </a:lnTo>
                  <a:lnTo>
                    <a:pt x="2080" y="1624"/>
                  </a:lnTo>
                  <a:lnTo>
                    <a:pt x="2096" y="1658"/>
                  </a:lnTo>
                  <a:lnTo>
                    <a:pt x="2112" y="1691"/>
                  </a:lnTo>
                  <a:lnTo>
                    <a:pt x="2125" y="1724"/>
                  </a:lnTo>
                  <a:lnTo>
                    <a:pt x="2137" y="1756"/>
                  </a:lnTo>
                  <a:lnTo>
                    <a:pt x="2149" y="1788"/>
                  </a:lnTo>
                  <a:lnTo>
                    <a:pt x="2159" y="1818"/>
                  </a:lnTo>
                  <a:lnTo>
                    <a:pt x="2167" y="1847"/>
                  </a:lnTo>
                  <a:lnTo>
                    <a:pt x="2174" y="1877"/>
                  </a:lnTo>
                  <a:lnTo>
                    <a:pt x="2180" y="1905"/>
                  </a:lnTo>
                  <a:lnTo>
                    <a:pt x="2184" y="1933"/>
                  </a:lnTo>
                  <a:lnTo>
                    <a:pt x="2187" y="1960"/>
                  </a:lnTo>
                  <a:lnTo>
                    <a:pt x="2188" y="1986"/>
                  </a:lnTo>
                  <a:lnTo>
                    <a:pt x="2188" y="2010"/>
                  </a:lnTo>
                  <a:lnTo>
                    <a:pt x="2187" y="2034"/>
                  </a:lnTo>
                  <a:lnTo>
                    <a:pt x="2184" y="2057"/>
                  </a:lnTo>
                  <a:lnTo>
                    <a:pt x="2180" y="2078"/>
                  </a:lnTo>
                  <a:lnTo>
                    <a:pt x="2173" y="2099"/>
                  </a:lnTo>
                  <a:lnTo>
                    <a:pt x="2166" y="2120"/>
                  </a:lnTo>
                  <a:lnTo>
                    <a:pt x="2157" y="2138"/>
                  </a:lnTo>
                  <a:lnTo>
                    <a:pt x="2147" y="2156"/>
                  </a:lnTo>
                  <a:lnTo>
                    <a:pt x="2134" y="2172"/>
                  </a:lnTo>
                  <a:lnTo>
                    <a:pt x="2121" y="2187"/>
                  </a:lnTo>
                  <a:lnTo>
                    <a:pt x="2121" y="2188"/>
                  </a:lnTo>
                  <a:lnTo>
                    <a:pt x="2120" y="2188"/>
                  </a:lnTo>
                  <a:lnTo>
                    <a:pt x="2117" y="2191"/>
                  </a:lnTo>
                  <a:lnTo>
                    <a:pt x="2113" y="2194"/>
                  </a:lnTo>
                  <a:lnTo>
                    <a:pt x="2103" y="2202"/>
                  </a:lnTo>
                  <a:lnTo>
                    <a:pt x="2093" y="2208"/>
                  </a:lnTo>
                  <a:lnTo>
                    <a:pt x="2083" y="2214"/>
                  </a:lnTo>
                  <a:lnTo>
                    <a:pt x="2071" y="2220"/>
                  </a:lnTo>
                  <a:lnTo>
                    <a:pt x="2060" y="2225"/>
                  </a:lnTo>
                  <a:lnTo>
                    <a:pt x="2048" y="2229"/>
                  </a:lnTo>
                  <a:lnTo>
                    <a:pt x="2034" y="2232"/>
                  </a:lnTo>
                  <a:lnTo>
                    <a:pt x="2021" y="2234"/>
                  </a:lnTo>
                  <a:lnTo>
                    <a:pt x="2008" y="2236"/>
                  </a:lnTo>
                  <a:lnTo>
                    <a:pt x="1993" y="2237"/>
                  </a:lnTo>
                  <a:lnTo>
                    <a:pt x="1978" y="2238"/>
                  </a:lnTo>
                  <a:lnTo>
                    <a:pt x="1962" y="2238"/>
                  </a:lnTo>
                  <a:lnTo>
                    <a:pt x="1946" y="2237"/>
                  </a:lnTo>
                  <a:lnTo>
                    <a:pt x="1930" y="2235"/>
                  </a:lnTo>
                  <a:lnTo>
                    <a:pt x="1913" y="2233"/>
                  </a:lnTo>
                  <a:lnTo>
                    <a:pt x="1895" y="2230"/>
                  </a:lnTo>
                  <a:lnTo>
                    <a:pt x="1878" y="2227"/>
                  </a:lnTo>
                  <a:lnTo>
                    <a:pt x="1859" y="2223"/>
                  </a:lnTo>
                  <a:lnTo>
                    <a:pt x="1841" y="2218"/>
                  </a:lnTo>
                  <a:lnTo>
                    <a:pt x="1821" y="2211"/>
                  </a:lnTo>
                  <a:lnTo>
                    <a:pt x="1802" y="2205"/>
                  </a:lnTo>
                  <a:lnTo>
                    <a:pt x="1782" y="2199"/>
                  </a:lnTo>
                  <a:lnTo>
                    <a:pt x="1761" y="2191"/>
                  </a:lnTo>
                  <a:lnTo>
                    <a:pt x="1741" y="2182"/>
                  </a:lnTo>
                  <a:lnTo>
                    <a:pt x="1698" y="2165"/>
                  </a:lnTo>
                  <a:lnTo>
                    <a:pt x="1654" y="2144"/>
                  </a:lnTo>
                  <a:lnTo>
                    <a:pt x="1609" y="2121"/>
                  </a:lnTo>
                  <a:lnTo>
                    <a:pt x="1563" y="2095"/>
                  </a:lnTo>
                  <a:lnTo>
                    <a:pt x="1562" y="2095"/>
                  </a:lnTo>
                  <a:lnTo>
                    <a:pt x="1518" y="2069"/>
                  </a:lnTo>
                  <a:lnTo>
                    <a:pt x="1474" y="2042"/>
                  </a:lnTo>
                  <a:lnTo>
                    <a:pt x="1429" y="2012"/>
                  </a:lnTo>
                  <a:lnTo>
                    <a:pt x="1382" y="1981"/>
                  </a:lnTo>
                  <a:lnTo>
                    <a:pt x="1334" y="1948"/>
                  </a:lnTo>
                  <a:lnTo>
                    <a:pt x="1286" y="1912"/>
                  </a:lnTo>
                  <a:lnTo>
                    <a:pt x="1237" y="1876"/>
                  </a:lnTo>
                  <a:lnTo>
                    <a:pt x="1187" y="1837"/>
                  </a:lnTo>
                  <a:lnTo>
                    <a:pt x="1136" y="1797"/>
                  </a:lnTo>
                  <a:lnTo>
                    <a:pt x="1086" y="1755"/>
                  </a:lnTo>
                  <a:lnTo>
                    <a:pt x="1034" y="1710"/>
                  </a:lnTo>
                  <a:lnTo>
                    <a:pt x="983" y="1665"/>
                  </a:lnTo>
                  <a:lnTo>
                    <a:pt x="930" y="1618"/>
                  </a:lnTo>
                  <a:lnTo>
                    <a:pt x="878" y="1569"/>
                  </a:lnTo>
                  <a:lnTo>
                    <a:pt x="825" y="1519"/>
                  </a:lnTo>
                  <a:lnTo>
                    <a:pt x="773" y="1467"/>
                  </a:lnTo>
                  <a:lnTo>
                    <a:pt x="773" y="1466"/>
                  </a:lnTo>
                  <a:lnTo>
                    <a:pt x="773" y="1467"/>
                  </a:lnTo>
                  <a:lnTo>
                    <a:pt x="771" y="1465"/>
                  </a:lnTo>
                  <a:lnTo>
                    <a:pt x="769" y="1463"/>
                  </a:lnTo>
                  <a:lnTo>
                    <a:pt x="765" y="1459"/>
                  </a:lnTo>
                  <a:lnTo>
                    <a:pt x="714" y="1406"/>
                  </a:lnTo>
                  <a:lnTo>
                    <a:pt x="663" y="1354"/>
                  </a:lnTo>
                  <a:lnTo>
                    <a:pt x="615" y="1300"/>
                  </a:lnTo>
                  <a:lnTo>
                    <a:pt x="569" y="1248"/>
                  </a:lnTo>
                  <a:lnTo>
                    <a:pt x="523" y="1195"/>
                  </a:lnTo>
                  <a:lnTo>
                    <a:pt x="479" y="1142"/>
                  </a:lnTo>
                  <a:lnTo>
                    <a:pt x="438" y="1090"/>
                  </a:lnTo>
                  <a:lnTo>
                    <a:pt x="398" y="1038"/>
                  </a:lnTo>
                  <a:lnTo>
                    <a:pt x="359" y="987"/>
                  </a:lnTo>
                  <a:lnTo>
                    <a:pt x="323" y="935"/>
                  </a:lnTo>
                  <a:lnTo>
                    <a:pt x="288" y="886"/>
                  </a:lnTo>
                  <a:lnTo>
                    <a:pt x="255" y="836"/>
                  </a:lnTo>
                  <a:lnTo>
                    <a:pt x="224" y="788"/>
                  </a:lnTo>
                  <a:lnTo>
                    <a:pt x="194" y="739"/>
                  </a:lnTo>
                  <a:lnTo>
                    <a:pt x="167" y="693"/>
                  </a:lnTo>
                  <a:lnTo>
                    <a:pt x="141" y="648"/>
                  </a:lnTo>
                  <a:lnTo>
                    <a:pt x="116" y="598"/>
                  </a:lnTo>
                  <a:lnTo>
                    <a:pt x="92" y="551"/>
                  </a:lnTo>
                  <a:lnTo>
                    <a:pt x="82" y="527"/>
                  </a:lnTo>
                  <a:lnTo>
                    <a:pt x="71" y="503"/>
                  </a:lnTo>
                  <a:lnTo>
                    <a:pt x="62" y="481"/>
                  </a:lnTo>
                  <a:lnTo>
                    <a:pt x="53" y="458"/>
                  </a:lnTo>
                  <a:lnTo>
                    <a:pt x="44" y="436"/>
                  </a:lnTo>
                  <a:lnTo>
                    <a:pt x="37" y="415"/>
                  </a:lnTo>
                  <a:lnTo>
                    <a:pt x="30" y="393"/>
                  </a:lnTo>
                  <a:lnTo>
                    <a:pt x="24" y="372"/>
                  </a:lnTo>
                  <a:lnTo>
                    <a:pt x="19" y="352"/>
                  </a:lnTo>
                  <a:lnTo>
                    <a:pt x="14" y="332"/>
                  </a:lnTo>
                  <a:lnTo>
                    <a:pt x="9" y="313"/>
                  </a:lnTo>
                  <a:lnTo>
                    <a:pt x="6" y="294"/>
                  </a:lnTo>
                  <a:lnTo>
                    <a:pt x="3" y="275"/>
                  </a:lnTo>
                  <a:lnTo>
                    <a:pt x="2" y="257"/>
                  </a:lnTo>
                  <a:lnTo>
                    <a:pt x="0" y="240"/>
                  </a:lnTo>
                  <a:lnTo>
                    <a:pt x="0" y="223"/>
                  </a:lnTo>
                  <a:lnTo>
                    <a:pt x="0" y="207"/>
                  </a:lnTo>
                  <a:lnTo>
                    <a:pt x="0" y="191"/>
                  </a:lnTo>
                  <a:lnTo>
                    <a:pt x="2" y="176"/>
                  </a:lnTo>
                  <a:lnTo>
                    <a:pt x="4" y="162"/>
                  </a:lnTo>
                  <a:lnTo>
                    <a:pt x="7" y="148"/>
                  </a:lnTo>
                  <a:lnTo>
                    <a:pt x="11" y="135"/>
                  </a:lnTo>
                  <a:lnTo>
                    <a:pt x="16" y="123"/>
                  </a:lnTo>
                  <a:lnTo>
                    <a:pt x="21" y="110"/>
                  </a:lnTo>
                  <a:lnTo>
                    <a:pt x="26" y="99"/>
                  </a:lnTo>
                  <a:lnTo>
                    <a:pt x="33" y="89"/>
                  </a:lnTo>
                  <a:lnTo>
                    <a:pt x="40" y="79"/>
                  </a:lnTo>
                  <a:lnTo>
                    <a:pt x="49" y="69"/>
                  </a:lnTo>
                  <a:lnTo>
                    <a:pt x="50" y="69"/>
                  </a:lnTo>
                  <a:lnTo>
                    <a:pt x="50" y="68"/>
                  </a:lnTo>
                  <a:close/>
                  <a:moveTo>
                    <a:pt x="171" y="189"/>
                  </a:moveTo>
                  <a:lnTo>
                    <a:pt x="171" y="190"/>
                  </a:lnTo>
                  <a:lnTo>
                    <a:pt x="170" y="190"/>
                  </a:lnTo>
                  <a:lnTo>
                    <a:pt x="167" y="194"/>
                  </a:lnTo>
                  <a:lnTo>
                    <a:pt x="165" y="198"/>
                  </a:lnTo>
                  <a:lnTo>
                    <a:pt x="163" y="203"/>
                  </a:lnTo>
                  <a:lnTo>
                    <a:pt x="162" y="208"/>
                  </a:lnTo>
                  <a:lnTo>
                    <a:pt x="160" y="222"/>
                  </a:lnTo>
                  <a:lnTo>
                    <a:pt x="160" y="237"/>
                  </a:lnTo>
                  <a:lnTo>
                    <a:pt x="162" y="254"/>
                  </a:lnTo>
                  <a:lnTo>
                    <a:pt x="166" y="273"/>
                  </a:lnTo>
                  <a:lnTo>
                    <a:pt x="171" y="295"/>
                  </a:lnTo>
                  <a:lnTo>
                    <a:pt x="178" y="318"/>
                  </a:lnTo>
                  <a:lnTo>
                    <a:pt x="187" y="343"/>
                  </a:lnTo>
                  <a:lnTo>
                    <a:pt x="197" y="370"/>
                  </a:lnTo>
                  <a:lnTo>
                    <a:pt x="209" y="399"/>
                  </a:lnTo>
                  <a:lnTo>
                    <a:pt x="223" y="429"/>
                  </a:lnTo>
                  <a:lnTo>
                    <a:pt x="237" y="461"/>
                  </a:lnTo>
                  <a:lnTo>
                    <a:pt x="254" y="495"/>
                  </a:lnTo>
                  <a:lnTo>
                    <a:pt x="272" y="530"/>
                  </a:lnTo>
                  <a:lnTo>
                    <a:pt x="292" y="566"/>
                  </a:lnTo>
                  <a:lnTo>
                    <a:pt x="315" y="608"/>
                  </a:lnTo>
                  <a:lnTo>
                    <a:pt x="341" y="653"/>
                  </a:lnTo>
                  <a:lnTo>
                    <a:pt x="369" y="698"/>
                  </a:lnTo>
                  <a:lnTo>
                    <a:pt x="398" y="743"/>
                  </a:lnTo>
                  <a:lnTo>
                    <a:pt x="430" y="791"/>
                  </a:lnTo>
                  <a:lnTo>
                    <a:pt x="463" y="838"/>
                  </a:lnTo>
                  <a:lnTo>
                    <a:pt x="498" y="886"/>
                  </a:lnTo>
                  <a:lnTo>
                    <a:pt x="534" y="935"/>
                  </a:lnTo>
                  <a:lnTo>
                    <a:pt x="572" y="985"/>
                  </a:lnTo>
                  <a:lnTo>
                    <a:pt x="612" y="1034"/>
                  </a:lnTo>
                  <a:lnTo>
                    <a:pt x="653" y="1084"/>
                  </a:lnTo>
                  <a:lnTo>
                    <a:pt x="696" y="1134"/>
                  </a:lnTo>
                  <a:lnTo>
                    <a:pt x="741" y="1185"/>
                  </a:lnTo>
                  <a:lnTo>
                    <a:pt x="787" y="1235"/>
                  </a:lnTo>
                  <a:lnTo>
                    <a:pt x="834" y="1286"/>
                  </a:lnTo>
                  <a:lnTo>
                    <a:pt x="884" y="1336"/>
                  </a:lnTo>
                  <a:lnTo>
                    <a:pt x="889" y="1341"/>
                  </a:lnTo>
                  <a:lnTo>
                    <a:pt x="891" y="1343"/>
                  </a:lnTo>
                  <a:lnTo>
                    <a:pt x="893" y="1345"/>
                  </a:lnTo>
                  <a:lnTo>
                    <a:pt x="944" y="1395"/>
                  </a:lnTo>
                  <a:lnTo>
                    <a:pt x="994" y="1443"/>
                  </a:lnTo>
                  <a:lnTo>
                    <a:pt x="1045" y="1491"/>
                  </a:lnTo>
                  <a:lnTo>
                    <a:pt x="1094" y="1535"/>
                  </a:lnTo>
                  <a:lnTo>
                    <a:pt x="1143" y="1579"/>
                  </a:lnTo>
                  <a:lnTo>
                    <a:pt x="1193" y="1622"/>
                  </a:lnTo>
                  <a:lnTo>
                    <a:pt x="1241" y="1662"/>
                  </a:lnTo>
                  <a:lnTo>
                    <a:pt x="1290" y="1700"/>
                  </a:lnTo>
                  <a:lnTo>
                    <a:pt x="1337" y="1737"/>
                  </a:lnTo>
                  <a:lnTo>
                    <a:pt x="1384" y="1772"/>
                  </a:lnTo>
                  <a:lnTo>
                    <a:pt x="1431" y="1806"/>
                  </a:lnTo>
                  <a:lnTo>
                    <a:pt x="1476" y="1837"/>
                  </a:lnTo>
                  <a:lnTo>
                    <a:pt x="1520" y="1868"/>
                  </a:lnTo>
                  <a:lnTo>
                    <a:pt x="1564" y="1896"/>
                  </a:lnTo>
                  <a:lnTo>
                    <a:pt x="1606" y="1922"/>
                  </a:lnTo>
                  <a:lnTo>
                    <a:pt x="1647" y="1945"/>
                  </a:lnTo>
                  <a:lnTo>
                    <a:pt x="1647" y="1946"/>
                  </a:lnTo>
                  <a:lnTo>
                    <a:pt x="1680" y="1965"/>
                  </a:lnTo>
                  <a:lnTo>
                    <a:pt x="1713" y="1983"/>
                  </a:lnTo>
                  <a:lnTo>
                    <a:pt x="1744" y="1999"/>
                  </a:lnTo>
                  <a:lnTo>
                    <a:pt x="1774" y="2013"/>
                  </a:lnTo>
                  <a:lnTo>
                    <a:pt x="1802" y="2027"/>
                  </a:lnTo>
                  <a:lnTo>
                    <a:pt x="1828" y="2039"/>
                  </a:lnTo>
                  <a:lnTo>
                    <a:pt x="1854" y="2050"/>
                  </a:lnTo>
                  <a:lnTo>
                    <a:pt x="1878" y="2058"/>
                  </a:lnTo>
                  <a:lnTo>
                    <a:pt x="1899" y="2065"/>
                  </a:lnTo>
                  <a:lnTo>
                    <a:pt x="1919" y="2070"/>
                  </a:lnTo>
                  <a:lnTo>
                    <a:pt x="1937" y="2074"/>
                  </a:lnTo>
                  <a:lnTo>
                    <a:pt x="1953" y="2076"/>
                  </a:lnTo>
                  <a:lnTo>
                    <a:pt x="1967" y="2076"/>
                  </a:lnTo>
                  <a:lnTo>
                    <a:pt x="1980" y="2075"/>
                  </a:lnTo>
                  <a:lnTo>
                    <a:pt x="1985" y="2074"/>
                  </a:lnTo>
                  <a:lnTo>
                    <a:pt x="1990" y="2072"/>
                  </a:lnTo>
                  <a:lnTo>
                    <a:pt x="1994" y="2070"/>
                  </a:lnTo>
                  <a:lnTo>
                    <a:pt x="1998" y="2067"/>
                  </a:lnTo>
                  <a:lnTo>
                    <a:pt x="1999" y="2066"/>
                  </a:lnTo>
                  <a:lnTo>
                    <a:pt x="2008" y="2057"/>
                  </a:lnTo>
                  <a:lnTo>
                    <a:pt x="2014" y="2047"/>
                  </a:lnTo>
                  <a:lnTo>
                    <a:pt x="2019" y="2036"/>
                  </a:lnTo>
                  <a:lnTo>
                    <a:pt x="2023" y="2024"/>
                  </a:lnTo>
                  <a:lnTo>
                    <a:pt x="2026" y="2011"/>
                  </a:lnTo>
                  <a:lnTo>
                    <a:pt x="2028" y="1997"/>
                  </a:lnTo>
                  <a:lnTo>
                    <a:pt x="2028" y="1983"/>
                  </a:lnTo>
                  <a:lnTo>
                    <a:pt x="2028" y="1966"/>
                  </a:lnTo>
                  <a:lnTo>
                    <a:pt x="2026" y="1950"/>
                  </a:lnTo>
                  <a:lnTo>
                    <a:pt x="2023" y="1931"/>
                  </a:lnTo>
                  <a:lnTo>
                    <a:pt x="2020" y="1912"/>
                  </a:lnTo>
                  <a:lnTo>
                    <a:pt x="2015" y="1893"/>
                  </a:lnTo>
                  <a:lnTo>
                    <a:pt x="2009" y="1873"/>
                  </a:lnTo>
                  <a:lnTo>
                    <a:pt x="2001" y="1852"/>
                  </a:lnTo>
                  <a:lnTo>
                    <a:pt x="1994" y="1830"/>
                  </a:lnTo>
                  <a:lnTo>
                    <a:pt x="1985" y="1807"/>
                  </a:lnTo>
                  <a:lnTo>
                    <a:pt x="1975" y="1784"/>
                  </a:lnTo>
                  <a:lnTo>
                    <a:pt x="1963" y="1760"/>
                  </a:lnTo>
                  <a:lnTo>
                    <a:pt x="1952" y="1735"/>
                  </a:lnTo>
                  <a:lnTo>
                    <a:pt x="1939" y="1709"/>
                  </a:lnTo>
                  <a:lnTo>
                    <a:pt x="1910" y="1657"/>
                  </a:lnTo>
                  <a:lnTo>
                    <a:pt x="1878" y="1601"/>
                  </a:lnTo>
                  <a:lnTo>
                    <a:pt x="1842" y="1543"/>
                  </a:lnTo>
                  <a:lnTo>
                    <a:pt x="1802" y="1484"/>
                  </a:lnTo>
                  <a:lnTo>
                    <a:pt x="1759" y="1423"/>
                  </a:lnTo>
                  <a:lnTo>
                    <a:pt x="1713" y="1360"/>
                  </a:lnTo>
                  <a:lnTo>
                    <a:pt x="1692" y="1333"/>
                  </a:lnTo>
                  <a:lnTo>
                    <a:pt x="1672" y="1306"/>
                  </a:lnTo>
                  <a:lnTo>
                    <a:pt x="1650" y="1278"/>
                  </a:lnTo>
                  <a:lnTo>
                    <a:pt x="1629" y="1252"/>
                  </a:lnTo>
                  <a:lnTo>
                    <a:pt x="1606" y="1224"/>
                  </a:lnTo>
                  <a:lnTo>
                    <a:pt x="1582" y="1196"/>
                  </a:lnTo>
                  <a:lnTo>
                    <a:pt x="1559" y="1168"/>
                  </a:lnTo>
                  <a:lnTo>
                    <a:pt x="1535" y="1140"/>
                  </a:lnTo>
                  <a:lnTo>
                    <a:pt x="1510" y="1112"/>
                  </a:lnTo>
                  <a:lnTo>
                    <a:pt x="1485" y="1085"/>
                  </a:lnTo>
                  <a:lnTo>
                    <a:pt x="1461" y="1058"/>
                  </a:lnTo>
                  <a:lnTo>
                    <a:pt x="1435" y="1029"/>
                  </a:lnTo>
                  <a:lnTo>
                    <a:pt x="1408" y="1001"/>
                  </a:lnTo>
                  <a:lnTo>
                    <a:pt x="1382" y="973"/>
                  </a:lnTo>
                  <a:lnTo>
                    <a:pt x="1355" y="945"/>
                  </a:lnTo>
                  <a:lnTo>
                    <a:pt x="1327" y="918"/>
                  </a:lnTo>
                  <a:lnTo>
                    <a:pt x="1323" y="914"/>
                  </a:lnTo>
                  <a:lnTo>
                    <a:pt x="1322" y="912"/>
                  </a:lnTo>
                  <a:lnTo>
                    <a:pt x="1320" y="910"/>
                  </a:lnTo>
                  <a:lnTo>
                    <a:pt x="1321" y="910"/>
                  </a:lnTo>
                  <a:lnTo>
                    <a:pt x="1269" y="860"/>
                  </a:lnTo>
                  <a:lnTo>
                    <a:pt x="1219" y="811"/>
                  </a:lnTo>
                  <a:lnTo>
                    <a:pt x="1169" y="764"/>
                  </a:lnTo>
                  <a:lnTo>
                    <a:pt x="1119" y="718"/>
                  </a:lnTo>
                  <a:lnTo>
                    <a:pt x="1068" y="673"/>
                  </a:lnTo>
                  <a:lnTo>
                    <a:pt x="1019" y="630"/>
                  </a:lnTo>
                  <a:lnTo>
                    <a:pt x="970" y="589"/>
                  </a:lnTo>
                  <a:lnTo>
                    <a:pt x="922" y="549"/>
                  </a:lnTo>
                  <a:lnTo>
                    <a:pt x="874" y="510"/>
                  </a:lnTo>
                  <a:lnTo>
                    <a:pt x="826" y="474"/>
                  </a:lnTo>
                  <a:lnTo>
                    <a:pt x="780" y="439"/>
                  </a:lnTo>
                  <a:lnTo>
                    <a:pt x="735" y="406"/>
                  </a:lnTo>
                  <a:lnTo>
                    <a:pt x="689" y="375"/>
                  </a:lnTo>
                  <a:lnTo>
                    <a:pt x="645" y="346"/>
                  </a:lnTo>
                  <a:lnTo>
                    <a:pt x="603" y="319"/>
                  </a:lnTo>
                  <a:lnTo>
                    <a:pt x="560" y="293"/>
                  </a:lnTo>
                  <a:lnTo>
                    <a:pt x="525" y="273"/>
                  </a:lnTo>
                  <a:lnTo>
                    <a:pt x="491" y="255"/>
                  </a:lnTo>
                  <a:lnTo>
                    <a:pt x="459" y="238"/>
                  </a:lnTo>
                  <a:lnTo>
                    <a:pt x="428" y="223"/>
                  </a:lnTo>
                  <a:lnTo>
                    <a:pt x="398" y="209"/>
                  </a:lnTo>
                  <a:lnTo>
                    <a:pt x="369" y="198"/>
                  </a:lnTo>
                  <a:lnTo>
                    <a:pt x="342" y="188"/>
                  </a:lnTo>
                  <a:lnTo>
                    <a:pt x="316" y="181"/>
                  </a:lnTo>
                  <a:lnTo>
                    <a:pt x="293" y="174"/>
                  </a:lnTo>
                  <a:lnTo>
                    <a:pt x="270" y="169"/>
                  </a:lnTo>
                  <a:lnTo>
                    <a:pt x="249" y="167"/>
                  </a:lnTo>
                  <a:lnTo>
                    <a:pt x="231" y="167"/>
                  </a:lnTo>
                  <a:lnTo>
                    <a:pt x="222" y="167"/>
                  </a:lnTo>
                  <a:lnTo>
                    <a:pt x="213" y="169"/>
                  </a:lnTo>
                  <a:lnTo>
                    <a:pt x="206" y="170"/>
                  </a:lnTo>
                  <a:lnTo>
                    <a:pt x="198" y="172"/>
                  </a:lnTo>
                  <a:lnTo>
                    <a:pt x="192" y="175"/>
                  </a:lnTo>
                  <a:lnTo>
                    <a:pt x="186" y="179"/>
                  </a:lnTo>
                  <a:lnTo>
                    <a:pt x="179" y="183"/>
                  </a:lnTo>
                  <a:lnTo>
                    <a:pt x="174" y="187"/>
                  </a:lnTo>
                  <a:lnTo>
                    <a:pt x="171" y="1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1" name="Freeform 37"/>
            <p:cNvSpPr>
              <a:spLocks noChangeArrowheads="1"/>
            </p:cNvSpPr>
            <p:nvPr/>
          </p:nvSpPr>
          <p:spPr bwMode="auto">
            <a:xfrm>
              <a:off x="6799263" y="2627230"/>
              <a:ext cx="914400" cy="1152549"/>
            </a:xfrm>
            <a:custGeom>
              <a:avLst/>
              <a:gdLst>
                <a:gd name="T0" fmla="*/ 66 w 2028"/>
                <a:gd name="T1" fmla="*/ 18 h 2071"/>
                <a:gd name="T2" fmla="*/ 136 w 2028"/>
                <a:gd name="T3" fmla="*/ 1 h 2071"/>
                <a:gd name="T4" fmla="*/ 223 w 2028"/>
                <a:gd name="T5" fmla="*/ 7 h 2071"/>
                <a:gd name="T6" fmla="*/ 325 w 2028"/>
                <a:gd name="T7" fmla="*/ 37 h 2071"/>
                <a:gd name="T8" fmla="*/ 440 w 2028"/>
                <a:gd name="T9" fmla="*/ 88 h 2071"/>
                <a:gd name="T10" fmla="*/ 566 w 2028"/>
                <a:gd name="T11" fmla="*/ 161 h 2071"/>
                <a:gd name="T12" fmla="*/ 702 w 2028"/>
                <a:gd name="T13" fmla="*/ 250 h 2071"/>
                <a:gd name="T14" fmla="*/ 845 w 2028"/>
                <a:gd name="T15" fmla="*/ 357 h 2071"/>
                <a:gd name="T16" fmla="*/ 994 w 2028"/>
                <a:gd name="T17" fmla="*/ 480 h 2071"/>
                <a:gd name="T18" fmla="*/ 1147 w 2028"/>
                <a:gd name="T19" fmla="*/ 617 h 2071"/>
                <a:gd name="T20" fmla="*/ 1302 w 2028"/>
                <a:gd name="T21" fmla="*/ 767 h 2071"/>
                <a:gd name="T22" fmla="*/ 1450 w 2028"/>
                <a:gd name="T23" fmla="*/ 921 h 2071"/>
                <a:gd name="T24" fmla="*/ 1584 w 2028"/>
                <a:gd name="T25" fmla="*/ 1075 h 2071"/>
                <a:gd name="T26" fmla="*/ 1701 w 2028"/>
                <a:gd name="T27" fmla="*/ 1224 h 2071"/>
                <a:gd name="T28" fmla="*/ 1803 w 2028"/>
                <a:gd name="T29" fmla="*/ 1368 h 2071"/>
                <a:gd name="T30" fmla="*/ 1887 w 2028"/>
                <a:gd name="T31" fmla="*/ 1504 h 2071"/>
                <a:gd name="T32" fmla="*/ 1952 w 2028"/>
                <a:gd name="T33" fmla="*/ 1631 h 2071"/>
                <a:gd name="T34" fmla="*/ 1998 w 2028"/>
                <a:gd name="T35" fmla="*/ 1746 h 2071"/>
                <a:gd name="T36" fmla="*/ 2023 w 2028"/>
                <a:gd name="T37" fmla="*/ 1848 h 2071"/>
                <a:gd name="T38" fmla="*/ 2027 w 2028"/>
                <a:gd name="T39" fmla="*/ 1936 h 2071"/>
                <a:gd name="T40" fmla="*/ 2006 w 2028"/>
                <a:gd name="T41" fmla="*/ 2006 h 2071"/>
                <a:gd name="T42" fmla="*/ 1967 w 2028"/>
                <a:gd name="T43" fmla="*/ 2052 h 2071"/>
                <a:gd name="T44" fmla="*/ 1913 w 2028"/>
                <a:gd name="T45" fmla="*/ 2070 h 2071"/>
                <a:gd name="T46" fmla="*/ 1840 w 2028"/>
                <a:gd name="T47" fmla="*/ 2067 h 2071"/>
                <a:gd name="T48" fmla="*/ 1749 w 2028"/>
                <a:gd name="T49" fmla="*/ 2042 h 2071"/>
                <a:gd name="T50" fmla="*/ 1643 w 2028"/>
                <a:gd name="T51" fmla="*/ 1999 h 2071"/>
                <a:gd name="T52" fmla="*/ 1524 w 2028"/>
                <a:gd name="T53" fmla="*/ 1936 h 2071"/>
                <a:gd name="T54" fmla="*/ 1394 w 2028"/>
                <a:gd name="T55" fmla="*/ 1855 h 2071"/>
                <a:gd name="T56" fmla="*/ 1254 w 2028"/>
                <a:gd name="T57" fmla="*/ 1757 h 2071"/>
                <a:gd name="T58" fmla="*/ 1108 w 2028"/>
                <a:gd name="T59" fmla="*/ 1644 h 2071"/>
                <a:gd name="T60" fmla="*/ 956 w 2028"/>
                <a:gd name="T61" fmla="*/ 1514 h 2071"/>
                <a:gd name="T62" fmla="*/ 803 w 2028"/>
                <a:gd name="T63" fmla="*/ 1370 h 2071"/>
                <a:gd name="T64" fmla="*/ 650 w 2028"/>
                <a:gd name="T65" fmla="*/ 1215 h 2071"/>
                <a:gd name="T66" fmla="*/ 511 w 2028"/>
                <a:gd name="T67" fmla="*/ 1059 h 2071"/>
                <a:gd name="T68" fmla="*/ 388 w 2028"/>
                <a:gd name="T69" fmla="*/ 905 h 2071"/>
                <a:gd name="T70" fmla="*/ 280 w 2028"/>
                <a:gd name="T71" fmla="*/ 755 h 2071"/>
                <a:gd name="T72" fmla="*/ 188 w 2028"/>
                <a:gd name="T73" fmla="*/ 612 h 2071"/>
                <a:gd name="T74" fmla="*/ 114 w 2028"/>
                <a:gd name="T75" fmla="*/ 479 h 2071"/>
                <a:gd name="T76" fmla="*/ 57 w 2028"/>
                <a:gd name="T77" fmla="*/ 357 h 2071"/>
                <a:gd name="T78" fmla="*/ 20 w 2028"/>
                <a:gd name="T79" fmla="*/ 251 h 2071"/>
                <a:gd name="T80" fmla="*/ 3 w 2028"/>
                <a:gd name="T81" fmla="*/ 162 h 2071"/>
                <a:gd name="T82" fmla="*/ 6 w 2028"/>
                <a:gd name="T83" fmla="*/ 91 h 2071"/>
                <a:gd name="T84" fmla="*/ 30 w 2028"/>
                <a:gd name="T85" fmla="*/ 44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28" h="2071">
                  <a:moveTo>
                    <a:pt x="30" y="44"/>
                  </a:moveTo>
                  <a:lnTo>
                    <a:pt x="47" y="30"/>
                  </a:lnTo>
                  <a:lnTo>
                    <a:pt x="66" y="18"/>
                  </a:lnTo>
                  <a:lnTo>
                    <a:pt x="88" y="9"/>
                  </a:lnTo>
                  <a:lnTo>
                    <a:pt x="111" y="4"/>
                  </a:lnTo>
                  <a:lnTo>
                    <a:pt x="136" y="1"/>
                  </a:lnTo>
                  <a:lnTo>
                    <a:pt x="163" y="0"/>
                  </a:lnTo>
                  <a:lnTo>
                    <a:pt x="192" y="3"/>
                  </a:lnTo>
                  <a:lnTo>
                    <a:pt x="223" y="7"/>
                  </a:lnTo>
                  <a:lnTo>
                    <a:pt x="255" y="15"/>
                  </a:lnTo>
                  <a:lnTo>
                    <a:pt x="289" y="24"/>
                  </a:lnTo>
                  <a:lnTo>
                    <a:pt x="325" y="37"/>
                  </a:lnTo>
                  <a:lnTo>
                    <a:pt x="362" y="52"/>
                  </a:lnTo>
                  <a:lnTo>
                    <a:pt x="400" y="69"/>
                  </a:lnTo>
                  <a:lnTo>
                    <a:pt x="440" y="88"/>
                  </a:lnTo>
                  <a:lnTo>
                    <a:pt x="480" y="110"/>
                  </a:lnTo>
                  <a:lnTo>
                    <a:pt x="523" y="134"/>
                  </a:lnTo>
                  <a:lnTo>
                    <a:pt x="566" y="161"/>
                  </a:lnTo>
                  <a:lnTo>
                    <a:pt x="610" y="188"/>
                  </a:lnTo>
                  <a:lnTo>
                    <a:pt x="656" y="218"/>
                  </a:lnTo>
                  <a:lnTo>
                    <a:pt x="702" y="250"/>
                  </a:lnTo>
                  <a:lnTo>
                    <a:pt x="749" y="284"/>
                  </a:lnTo>
                  <a:lnTo>
                    <a:pt x="797" y="319"/>
                  </a:lnTo>
                  <a:lnTo>
                    <a:pt x="845" y="357"/>
                  </a:lnTo>
                  <a:lnTo>
                    <a:pt x="895" y="397"/>
                  </a:lnTo>
                  <a:lnTo>
                    <a:pt x="944" y="438"/>
                  </a:lnTo>
                  <a:lnTo>
                    <a:pt x="994" y="480"/>
                  </a:lnTo>
                  <a:lnTo>
                    <a:pt x="1045" y="524"/>
                  </a:lnTo>
                  <a:lnTo>
                    <a:pt x="1096" y="570"/>
                  </a:lnTo>
                  <a:lnTo>
                    <a:pt x="1147" y="617"/>
                  </a:lnTo>
                  <a:lnTo>
                    <a:pt x="1198" y="666"/>
                  </a:lnTo>
                  <a:lnTo>
                    <a:pt x="1250" y="715"/>
                  </a:lnTo>
                  <a:lnTo>
                    <a:pt x="1302" y="767"/>
                  </a:lnTo>
                  <a:lnTo>
                    <a:pt x="1353" y="818"/>
                  </a:lnTo>
                  <a:lnTo>
                    <a:pt x="1402" y="870"/>
                  </a:lnTo>
                  <a:lnTo>
                    <a:pt x="1450" y="921"/>
                  </a:lnTo>
                  <a:lnTo>
                    <a:pt x="1496" y="973"/>
                  </a:lnTo>
                  <a:lnTo>
                    <a:pt x="1540" y="1024"/>
                  </a:lnTo>
                  <a:lnTo>
                    <a:pt x="1584" y="1075"/>
                  </a:lnTo>
                  <a:lnTo>
                    <a:pt x="1625" y="1125"/>
                  </a:lnTo>
                  <a:lnTo>
                    <a:pt x="1664" y="1175"/>
                  </a:lnTo>
                  <a:lnTo>
                    <a:pt x="1701" y="1224"/>
                  </a:lnTo>
                  <a:lnTo>
                    <a:pt x="1737" y="1273"/>
                  </a:lnTo>
                  <a:lnTo>
                    <a:pt x="1771" y="1321"/>
                  </a:lnTo>
                  <a:lnTo>
                    <a:pt x="1803" y="1368"/>
                  </a:lnTo>
                  <a:lnTo>
                    <a:pt x="1833" y="1414"/>
                  </a:lnTo>
                  <a:lnTo>
                    <a:pt x="1861" y="1459"/>
                  </a:lnTo>
                  <a:lnTo>
                    <a:pt x="1887" y="1504"/>
                  </a:lnTo>
                  <a:lnTo>
                    <a:pt x="1911" y="1547"/>
                  </a:lnTo>
                  <a:lnTo>
                    <a:pt x="1933" y="1590"/>
                  </a:lnTo>
                  <a:lnTo>
                    <a:pt x="1952" y="1631"/>
                  </a:lnTo>
                  <a:lnTo>
                    <a:pt x="1970" y="1671"/>
                  </a:lnTo>
                  <a:lnTo>
                    <a:pt x="1985" y="1709"/>
                  </a:lnTo>
                  <a:lnTo>
                    <a:pt x="1998" y="1746"/>
                  </a:lnTo>
                  <a:lnTo>
                    <a:pt x="2009" y="1782"/>
                  </a:lnTo>
                  <a:lnTo>
                    <a:pt x="2017" y="1816"/>
                  </a:lnTo>
                  <a:lnTo>
                    <a:pt x="2023" y="1848"/>
                  </a:lnTo>
                  <a:lnTo>
                    <a:pt x="2027" y="1879"/>
                  </a:lnTo>
                  <a:lnTo>
                    <a:pt x="2028" y="1908"/>
                  </a:lnTo>
                  <a:lnTo>
                    <a:pt x="2027" y="1936"/>
                  </a:lnTo>
                  <a:lnTo>
                    <a:pt x="2022" y="1960"/>
                  </a:lnTo>
                  <a:lnTo>
                    <a:pt x="2015" y="1984"/>
                  </a:lnTo>
                  <a:lnTo>
                    <a:pt x="2006" y="2006"/>
                  </a:lnTo>
                  <a:lnTo>
                    <a:pt x="1995" y="2024"/>
                  </a:lnTo>
                  <a:lnTo>
                    <a:pt x="1980" y="2042"/>
                  </a:lnTo>
                  <a:lnTo>
                    <a:pt x="1967" y="2052"/>
                  </a:lnTo>
                  <a:lnTo>
                    <a:pt x="1951" y="2060"/>
                  </a:lnTo>
                  <a:lnTo>
                    <a:pt x="1934" y="2067"/>
                  </a:lnTo>
                  <a:lnTo>
                    <a:pt x="1913" y="2070"/>
                  </a:lnTo>
                  <a:lnTo>
                    <a:pt x="1891" y="2071"/>
                  </a:lnTo>
                  <a:lnTo>
                    <a:pt x="1867" y="2070"/>
                  </a:lnTo>
                  <a:lnTo>
                    <a:pt x="1840" y="2067"/>
                  </a:lnTo>
                  <a:lnTo>
                    <a:pt x="1812" y="2060"/>
                  </a:lnTo>
                  <a:lnTo>
                    <a:pt x="1781" y="2052"/>
                  </a:lnTo>
                  <a:lnTo>
                    <a:pt x="1749" y="2042"/>
                  </a:lnTo>
                  <a:lnTo>
                    <a:pt x="1715" y="2029"/>
                  </a:lnTo>
                  <a:lnTo>
                    <a:pt x="1680" y="2015"/>
                  </a:lnTo>
                  <a:lnTo>
                    <a:pt x="1643" y="1999"/>
                  </a:lnTo>
                  <a:lnTo>
                    <a:pt x="1605" y="1979"/>
                  </a:lnTo>
                  <a:lnTo>
                    <a:pt x="1565" y="1958"/>
                  </a:lnTo>
                  <a:lnTo>
                    <a:pt x="1524" y="1936"/>
                  </a:lnTo>
                  <a:lnTo>
                    <a:pt x="1482" y="1911"/>
                  </a:lnTo>
                  <a:lnTo>
                    <a:pt x="1438" y="1884"/>
                  </a:lnTo>
                  <a:lnTo>
                    <a:pt x="1394" y="1855"/>
                  </a:lnTo>
                  <a:lnTo>
                    <a:pt x="1349" y="1824"/>
                  </a:lnTo>
                  <a:lnTo>
                    <a:pt x="1301" y="1791"/>
                  </a:lnTo>
                  <a:lnTo>
                    <a:pt x="1254" y="1757"/>
                  </a:lnTo>
                  <a:lnTo>
                    <a:pt x="1207" y="1721"/>
                  </a:lnTo>
                  <a:lnTo>
                    <a:pt x="1157" y="1683"/>
                  </a:lnTo>
                  <a:lnTo>
                    <a:pt x="1108" y="1644"/>
                  </a:lnTo>
                  <a:lnTo>
                    <a:pt x="1058" y="1602"/>
                  </a:lnTo>
                  <a:lnTo>
                    <a:pt x="1008" y="1559"/>
                  </a:lnTo>
                  <a:lnTo>
                    <a:pt x="956" y="1514"/>
                  </a:lnTo>
                  <a:lnTo>
                    <a:pt x="906" y="1468"/>
                  </a:lnTo>
                  <a:lnTo>
                    <a:pt x="854" y="1419"/>
                  </a:lnTo>
                  <a:lnTo>
                    <a:pt x="803" y="1370"/>
                  </a:lnTo>
                  <a:lnTo>
                    <a:pt x="751" y="1319"/>
                  </a:lnTo>
                  <a:lnTo>
                    <a:pt x="700" y="1267"/>
                  </a:lnTo>
                  <a:lnTo>
                    <a:pt x="650" y="1215"/>
                  </a:lnTo>
                  <a:lnTo>
                    <a:pt x="603" y="1163"/>
                  </a:lnTo>
                  <a:lnTo>
                    <a:pt x="557" y="1111"/>
                  </a:lnTo>
                  <a:lnTo>
                    <a:pt x="511" y="1059"/>
                  </a:lnTo>
                  <a:lnTo>
                    <a:pt x="469" y="1007"/>
                  </a:lnTo>
                  <a:lnTo>
                    <a:pt x="428" y="955"/>
                  </a:lnTo>
                  <a:lnTo>
                    <a:pt x="388" y="905"/>
                  </a:lnTo>
                  <a:lnTo>
                    <a:pt x="350" y="854"/>
                  </a:lnTo>
                  <a:lnTo>
                    <a:pt x="314" y="804"/>
                  </a:lnTo>
                  <a:lnTo>
                    <a:pt x="280" y="755"/>
                  </a:lnTo>
                  <a:lnTo>
                    <a:pt x="248" y="706"/>
                  </a:lnTo>
                  <a:lnTo>
                    <a:pt x="217" y="658"/>
                  </a:lnTo>
                  <a:lnTo>
                    <a:pt x="188" y="612"/>
                  </a:lnTo>
                  <a:lnTo>
                    <a:pt x="161" y="567"/>
                  </a:lnTo>
                  <a:lnTo>
                    <a:pt x="136" y="522"/>
                  </a:lnTo>
                  <a:lnTo>
                    <a:pt x="114" y="479"/>
                  </a:lnTo>
                  <a:lnTo>
                    <a:pt x="92" y="437"/>
                  </a:lnTo>
                  <a:lnTo>
                    <a:pt x="74" y="397"/>
                  </a:lnTo>
                  <a:lnTo>
                    <a:pt x="57" y="357"/>
                  </a:lnTo>
                  <a:lnTo>
                    <a:pt x="43" y="320"/>
                  </a:lnTo>
                  <a:lnTo>
                    <a:pt x="30" y="285"/>
                  </a:lnTo>
                  <a:lnTo>
                    <a:pt x="20" y="251"/>
                  </a:lnTo>
                  <a:lnTo>
                    <a:pt x="12" y="219"/>
                  </a:lnTo>
                  <a:lnTo>
                    <a:pt x="6" y="189"/>
                  </a:lnTo>
                  <a:lnTo>
                    <a:pt x="3" y="162"/>
                  </a:lnTo>
                  <a:lnTo>
                    <a:pt x="0" y="136"/>
                  </a:lnTo>
                  <a:lnTo>
                    <a:pt x="3" y="112"/>
                  </a:lnTo>
                  <a:lnTo>
                    <a:pt x="6" y="91"/>
                  </a:lnTo>
                  <a:lnTo>
                    <a:pt x="12" y="73"/>
                  </a:lnTo>
                  <a:lnTo>
                    <a:pt x="20" y="57"/>
                  </a:lnTo>
                  <a:lnTo>
                    <a:pt x="30" y="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2" name="Freeform 38"/>
            <p:cNvSpPr>
              <a:spLocks noChangeArrowheads="1"/>
            </p:cNvSpPr>
            <p:nvPr/>
          </p:nvSpPr>
          <p:spPr bwMode="auto">
            <a:xfrm>
              <a:off x="7051675" y="2343061"/>
              <a:ext cx="727075" cy="1498632"/>
            </a:xfrm>
            <a:custGeom>
              <a:avLst/>
              <a:gdLst>
                <a:gd name="T0" fmla="*/ 204 w 1605"/>
                <a:gd name="T1" fmla="*/ 1 h 2696"/>
                <a:gd name="T2" fmla="*/ 286 w 1605"/>
                <a:gd name="T3" fmla="*/ 7 h 2696"/>
                <a:gd name="T4" fmla="*/ 378 w 1605"/>
                <a:gd name="T5" fmla="*/ 45 h 2696"/>
                <a:gd name="T6" fmla="*/ 513 w 1605"/>
                <a:gd name="T7" fmla="*/ 139 h 2696"/>
                <a:gd name="T8" fmla="*/ 721 w 1605"/>
                <a:gd name="T9" fmla="*/ 359 h 2696"/>
                <a:gd name="T10" fmla="*/ 926 w 1605"/>
                <a:gd name="T11" fmla="*/ 641 h 2696"/>
                <a:gd name="T12" fmla="*/ 1130 w 1605"/>
                <a:gd name="T13" fmla="*/ 988 h 2696"/>
                <a:gd name="T14" fmla="*/ 1260 w 1605"/>
                <a:gd name="T15" fmla="*/ 1239 h 2696"/>
                <a:gd name="T16" fmla="*/ 1418 w 1605"/>
                <a:gd name="T17" fmla="*/ 1594 h 2696"/>
                <a:gd name="T18" fmla="*/ 1516 w 1605"/>
                <a:gd name="T19" fmla="*/ 1871 h 2696"/>
                <a:gd name="T20" fmla="*/ 1579 w 1605"/>
                <a:gd name="T21" fmla="*/ 2118 h 2696"/>
                <a:gd name="T22" fmla="*/ 1605 w 1605"/>
                <a:gd name="T23" fmla="*/ 2335 h 2696"/>
                <a:gd name="T24" fmla="*/ 1584 w 1605"/>
                <a:gd name="T25" fmla="*/ 2522 h 2696"/>
                <a:gd name="T26" fmla="*/ 1540 w 1605"/>
                <a:gd name="T27" fmla="*/ 2612 h 2696"/>
                <a:gd name="T28" fmla="*/ 1490 w 1605"/>
                <a:gd name="T29" fmla="*/ 2660 h 2696"/>
                <a:gd name="T30" fmla="*/ 1468 w 1605"/>
                <a:gd name="T31" fmla="*/ 2673 h 2696"/>
                <a:gd name="T32" fmla="*/ 1453 w 1605"/>
                <a:gd name="T33" fmla="*/ 2680 h 2696"/>
                <a:gd name="T34" fmla="*/ 1406 w 1605"/>
                <a:gd name="T35" fmla="*/ 2694 h 2696"/>
                <a:gd name="T36" fmla="*/ 1324 w 1605"/>
                <a:gd name="T37" fmla="*/ 2690 h 2696"/>
                <a:gd name="T38" fmla="*/ 1233 w 1605"/>
                <a:gd name="T39" fmla="*/ 2656 h 2696"/>
                <a:gd name="T40" fmla="*/ 1133 w 1605"/>
                <a:gd name="T41" fmla="*/ 2595 h 2696"/>
                <a:gd name="T42" fmla="*/ 1027 w 1605"/>
                <a:gd name="T43" fmla="*/ 2507 h 2696"/>
                <a:gd name="T44" fmla="*/ 820 w 1605"/>
                <a:gd name="T45" fmla="*/ 2279 h 2696"/>
                <a:gd name="T46" fmla="*/ 613 w 1605"/>
                <a:gd name="T47" fmla="*/ 1986 h 2696"/>
                <a:gd name="T48" fmla="*/ 413 w 1605"/>
                <a:gd name="T49" fmla="*/ 1629 h 2696"/>
                <a:gd name="T50" fmla="*/ 344 w 1605"/>
                <a:gd name="T51" fmla="*/ 1489 h 2696"/>
                <a:gd name="T52" fmla="*/ 219 w 1605"/>
                <a:gd name="T53" fmla="*/ 1211 h 2696"/>
                <a:gd name="T54" fmla="*/ 113 w 1605"/>
                <a:gd name="T55" fmla="*/ 922 h 2696"/>
                <a:gd name="T56" fmla="*/ 39 w 1605"/>
                <a:gd name="T57" fmla="*/ 655 h 2696"/>
                <a:gd name="T58" fmla="*/ 3 w 1605"/>
                <a:gd name="T59" fmla="*/ 420 h 2696"/>
                <a:gd name="T60" fmla="*/ 10 w 1605"/>
                <a:gd name="T61" fmla="*/ 225 h 2696"/>
                <a:gd name="T62" fmla="*/ 36 w 1605"/>
                <a:gd name="T63" fmla="*/ 140 h 2696"/>
                <a:gd name="T64" fmla="*/ 75 w 1605"/>
                <a:gd name="T65" fmla="*/ 74 h 2696"/>
                <a:gd name="T66" fmla="*/ 131 w 1605"/>
                <a:gd name="T67" fmla="*/ 28 h 2696"/>
                <a:gd name="T68" fmla="*/ 501 w 1605"/>
                <a:gd name="T69" fmla="*/ 366 h 2696"/>
                <a:gd name="T70" fmla="*/ 361 w 1605"/>
                <a:gd name="T71" fmla="*/ 230 h 2696"/>
                <a:gd name="T72" fmla="*/ 259 w 1605"/>
                <a:gd name="T73" fmla="*/ 169 h 2696"/>
                <a:gd name="T74" fmla="*/ 224 w 1605"/>
                <a:gd name="T75" fmla="*/ 172 h 2696"/>
                <a:gd name="T76" fmla="*/ 184 w 1605"/>
                <a:gd name="T77" fmla="*/ 221 h 2696"/>
                <a:gd name="T78" fmla="*/ 170 w 1605"/>
                <a:gd name="T79" fmla="*/ 323 h 2696"/>
                <a:gd name="T80" fmla="*/ 180 w 1605"/>
                <a:gd name="T81" fmla="*/ 476 h 2696"/>
                <a:gd name="T82" fmla="*/ 226 w 1605"/>
                <a:gd name="T83" fmla="*/ 702 h 2696"/>
                <a:gd name="T84" fmla="*/ 307 w 1605"/>
                <a:gd name="T85" fmla="*/ 963 h 2696"/>
                <a:gd name="T86" fmla="*/ 414 w 1605"/>
                <a:gd name="T87" fmla="*/ 1232 h 2696"/>
                <a:gd name="T88" fmla="*/ 519 w 1605"/>
                <a:gd name="T89" fmla="*/ 1459 h 2696"/>
                <a:gd name="T90" fmla="*/ 595 w 1605"/>
                <a:gd name="T91" fmla="*/ 1612 h 2696"/>
                <a:gd name="T92" fmla="*/ 788 w 1605"/>
                <a:gd name="T93" fmla="*/ 1942 h 2696"/>
                <a:gd name="T94" fmla="*/ 983 w 1605"/>
                <a:gd name="T95" fmla="*/ 2209 h 2696"/>
                <a:gd name="T96" fmla="*/ 1154 w 1605"/>
                <a:gd name="T97" fmla="*/ 2394 h 2696"/>
                <a:gd name="T98" fmla="*/ 1283 w 1605"/>
                <a:gd name="T99" fmla="*/ 2498 h 2696"/>
                <a:gd name="T100" fmla="*/ 1352 w 1605"/>
                <a:gd name="T101" fmla="*/ 2528 h 2696"/>
                <a:gd name="T102" fmla="*/ 1386 w 1605"/>
                <a:gd name="T103" fmla="*/ 2523 h 2696"/>
                <a:gd name="T104" fmla="*/ 1410 w 1605"/>
                <a:gd name="T105" fmla="*/ 2502 h 2696"/>
                <a:gd name="T106" fmla="*/ 1433 w 1605"/>
                <a:gd name="T107" fmla="*/ 2425 h 2696"/>
                <a:gd name="T108" fmla="*/ 1427 w 1605"/>
                <a:gd name="T109" fmla="*/ 2245 h 2696"/>
                <a:gd name="T110" fmla="*/ 1385 w 1605"/>
                <a:gd name="T111" fmla="*/ 2035 h 2696"/>
                <a:gd name="T112" fmla="*/ 1310 w 1605"/>
                <a:gd name="T113" fmla="*/ 1790 h 2696"/>
                <a:gd name="T114" fmla="*/ 1189 w 1605"/>
                <a:gd name="T115" fmla="*/ 1490 h 2696"/>
                <a:gd name="T116" fmla="*/ 1046 w 1605"/>
                <a:gd name="T117" fmla="*/ 1197 h 2696"/>
                <a:gd name="T118" fmla="*/ 917 w 1605"/>
                <a:gd name="T119" fmla="*/ 954 h 2696"/>
                <a:gd name="T120" fmla="*/ 720 w 1605"/>
                <a:gd name="T121" fmla="*/ 641 h 2696"/>
                <a:gd name="T122" fmla="*/ 528 w 1605"/>
                <a:gd name="T123" fmla="*/ 395 h 2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5" h="2696">
                  <a:moveTo>
                    <a:pt x="153" y="16"/>
                  </a:moveTo>
                  <a:lnTo>
                    <a:pt x="154" y="16"/>
                  </a:lnTo>
                  <a:lnTo>
                    <a:pt x="167" y="11"/>
                  </a:lnTo>
                  <a:lnTo>
                    <a:pt x="178" y="6"/>
                  </a:lnTo>
                  <a:lnTo>
                    <a:pt x="190" y="4"/>
                  </a:lnTo>
                  <a:lnTo>
                    <a:pt x="204" y="1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44" y="0"/>
                  </a:lnTo>
                  <a:lnTo>
                    <a:pt x="257" y="2"/>
                  </a:lnTo>
                  <a:lnTo>
                    <a:pt x="272" y="4"/>
                  </a:lnTo>
                  <a:lnTo>
                    <a:pt x="286" y="7"/>
                  </a:lnTo>
                  <a:lnTo>
                    <a:pt x="301" y="12"/>
                  </a:lnTo>
                  <a:lnTo>
                    <a:pt x="316" y="17"/>
                  </a:lnTo>
                  <a:lnTo>
                    <a:pt x="332" y="23"/>
                  </a:lnTo>
                  <a:lnTo>
                    <a:pt x="347" y="29"/>
                  </a:lnTo>
                  <a:lnTo>
                    <a:pt x="362" y="36"/>
                  </a:lnTo>
                  <a:lnTo>
                    <a:pt x="378" y="45"/>
                  </a:lnTo>
                  <a:lnTo>
                    <a:pt x="394" y="54"/>
                  </a:lnTo>
                  <a:lnTo>
                    <a:pt x="411" y="64"/>
                  </a:lnTo>
                  <a:lnTo>
                    <a:pt x="427" y="74"/>
                  </a:lnTo>
                  <a:lnTo>
                    <a:pt x="444" y="86"/>
                  </a:lnTo>
                  <a:lnTo>
                    <a:pt x="478" y="112"/>
                  </a:lnTo>
                  <a:lnTo>
                    <a:pt x="513" y="139"/>
                  </a:lnTo>
                  <a:lnTo>
                    <a:pt x="548" y="170"/>
                  </a:lnTo>
                  <a:lnTo>
                    <a:pt x="583" y="204"/>
                  </a:lnTo>
                  <a:lnTo>
                    <a:pt x="619" y="241"/>
                  </a:lnTo>
                  <a:lnTo>
                    <a:pt x="656" y="282"/>
                  </a:lnTo>
                  <a:lnTo>
                    <a:pt x="688" y="320"/>
                  </a:lnTo>
                  <a:lnTo>
                    <a:pt x="721" y="359"/>
                  </a:lnTo>
                  <a:lnTo>
                    <a:pt x="755" y="401"/>
                  </a:lnTo>
                  <a:lnTo>
                    <a:pt x="789" y="446"/>
                  </a:lnTo>
                  <a:lnTo>
                    <a:pt x="823" y="492"/>
                  </a:lnTo>
                  <a:lnTo>
                    <a:pt x="857" y="540"/>
                  </a:lnTo>
                  <a:lnTo>
                    <a:pt x="891" y="590"/>
                  </a:lnTo>
                  <a:lnTo>
                    <a:pt x="926" y="641"/>
                  </a:lnTo>
                  <a:lnTo>
                    <a:pt x="960" y="695"/>
                  </a:lnTo>
                  <a:lnTo>
                    <a:pt x="995" y="751"/>
                  </a:lnTo>
                  <a:lnTo>
                    <a:pt x="1029" y="808"/>
                  </a:lnTo>
                  <a:lnTo>
                    <a:pt x="1063" y="866"/>
                  </a:lnTo>
                  <a:lnTo>
                    <a:pt x="1097" y="927"/>
                  </a:lnTo>
                  <a:lnTo>
                    <a:pt x="1130" y="988"/>
                  </a:lnTo>
                  <a:lnTo>
                    <a:pt x="1163" y="1051"/>
                  </a:lnTo>
                  <a:lnTo>
                    <a:pt x="1196" y="1115"/>
                  </a:lnTo>
                  <a:lnTo>
                    <a:pt x="1197" y="1117"/>
                  </a:lnTo>
                  <a:lnTo>
                    <a:pt x="1229" y="1178"/>
                  </a:lnTo>
                  <a:lnTo>
                    <a:pt x="1260" y="1239"/>
                  </a:lnTo>
                  <a:lnTo>
                    <a:pt x="1289" y="1300"/>
                  </a:lnTo>
                  <a:lnTo>
                    <a:pt x="1317" y="1360"/>
                  </a:lnTo>
                  <a:lnTo>
                    <a:pt x="1344" y="1420"/>
                  </a:lnTo>
                  <a:lnTo>
                    <a:pt x="1370" y="1478"/>
                  </a:lnTo>
                  <a:lnTo>
                    <a:pt x="1394" y="1536"/>
                  </a:lnTo>
                  <a:lnTo>
                    <a:pt x="1418" y="1594"/>
                  </a:lnTo>
                  <a:lnTo>
                    <a:pt x="1437" y="1641"/>
                  </a:lnTo>
                  <a:lnTo>
                    <a:pt x="1454" y="1689"/>
                  </a:lnTo>
                  <a:lnTo>
                    <a:pt x="1472" y="1736"/>
                  </a:lnTo>
                  <a:lnTo>
                    <a:pt x="1487" y="1782"/>
                  </a:lnTo>
                  <a:lnTo>
                    <a:pt x="1502" y="1827"/>
                  </a:lnTo>
                  <a:lnTo>
                    <a:pt x="1516" y="1871"/>
                  </a:lnTo>
                  <a:lnTo>
                    <a:pt x="1529" y="1915"/>
                  </a:lnTo>
                  <a:lnTo>
                    <a:pt x="1541" y="1957"/>
                  </a:lnTo>
                  <a:lnTo>
                    <a:pt x="1552" y="1998"/>
                  </a:lnTo>
                  <a:lnTo>
                    <a:pt x="1562" y="2039"/>
                  </a:lnTo>
                  <a:lnTo>
                    <a:pt x="1571" y="2078"/>
                  </a:lnTo>
                  <a:lnTo>
                    <a:pt x="1579" y="2118"/>
                  </a:lnTo>
                  <a:lnTo>
                    <a:pt x="1586" y="2155"/>
                  </a:lnTo>
                  <a:lnTo>
                    <a:pt x="1591" y="2191"/>
                  </a:lnTo>
                  <a:lnTo>
                    <a:pt x="1596" y="2226"/>
                  </a:lnTo>
                  <a:lnTo>
                    <a:pt x="1600" y="2260"/>
                  </a:lnTo>
                  <a:lnTo>
                    <a:pt x="1604" y="2298"/>
                  </a:lnTo>
                  <a:lnTo>
                    <a:pt x="1605" y="2335"/>
                  </a:lnTo>
                  <a:lnTo>
                    <a:pt x="1605" y="2370"/>
                  </a:lnTo>
                  <a:lnTo>
                    <a:pt x="1604" y="2403"/>
                  </a:lnTo>
                  <a:lnTo>
                    <a:pt x="1600" y="2435"/>
                  </a:lnTo>
                  <a:lnTo>
                    <a:pt x="1596" y="2466"/>
                  </a:lnTo>
                  <a:lnTo>
                    <a:pt x="1591" y="2495"/>
                  </a:lnTo>
                  <a:lnTo>
                    <a:pt x="1584" y="2522"/>
                  </a:lnTo>
                  <a:lnTo>
                    <a:pt x="1575" y="2546"/>
                  </a:lnTo>
                  <a:lnTo>
                    <a:pt x="1564" y="2570"/>
                  </a:lnTo>
                  <a:lnTo>
                    <a:pt x="1558" y="2581"/>
                  </a:lnTo>
                  <a:lnTo>
                    <a:pt x="1552" y="2592"/>
                  </a:lnTo>
                  <a:lnTo>
                    <a:pt x="1546" y="2602"/>
                  </a:lnTo>
                  <a:lnTo>
                    <a:pt x="1540" y="2612"/>
                  </a:lnTo>
                  <a:lnTo>
                    <a:pt x="1531" y="2622"/>
                  </a:lnTo>
                  <a:lnTo>
                    <a:pt x="1524" y="2630"/>
                  </a:lnTo>
                  <a:lnTo>
                    <a:pt x="1516" y="2638"/>
                  </a:lnTo>
                  <a:lnTo>
                    <a:pt x="1508" y="2646"/>
                  </a:lnTo>
                  <a:lnTo>
                    <a:pt x="1500" y="2654"/>
                  </a:lnTo>
                  <a:lnTo>
                    <a:pt x="1490" y="2660"/>
                  </a:lnTo>
                  <a:lnTo>
                    <a:pt x="1480" y="2666"/>
                  </a:lnTo>
                  <a:lnTo>
                    <a:pt x="1471" y="2672"/>
                  </a:lnTo>
                  <a:lnTo>
                    <a:pt x="1470" y="2672"/>
                  </a:lnTo>
                  <a:lnTo>
                    <a:pt x="1468" y="2673"/>
                  </a:lnTo>
                  <a:lnTo>
                    <a:pt x="1467" y="2673"/>
                  </a:lnTo>
                  <a:lnTo>
                    <a:pt x="1466" y="2674"/>
                  </a:lnTo>
                  <a:lnTo>
                    <a:pt x="1463" y="2675"/>
                  </a:lnTo>
                  <a:lnTo>
                    <a:pt x="1454" y="2679"/>
                  </a:lnTo>
                  <a:lnTo>
                    <a:pt x="1453" y="2680"/>
                  </a:lnTo>
                  <a:lnTo>
                    <a:pt x="1452" y="2680"/>
                  </a:lnTo>
                  <a:lnTo>
                    <a:pt x="1441" y="2686"/>
                  </a:lnTo>
                  <a:lnTo>
                    <a:pt x="1429" y="2689"/>
                  </a:lnTo>
                  <a:lnTo>
                    <a:pt x="1418" y="2692"/>
                  </a:lnTo>
                  <a:lnTo>
                    <a:pt x="1406" y="2694"/>
                  </a:lnTo>
                  <a:lnTo>
                    <a:pt x="1392" y="2696"/>
                  </a:lnTo>
                  <a:lnTo>
                    <a:pt x="1380" y="2696"/>
                  </a:lnTo>
                  <a:lnTo>
                    <a:pt x="1367" y="2696"/>
                  </a:lnTo>
                  <a:lnTo>
                    <a:pt x="1353" y="2695"/>
                  </a:lnTo>
                  <a:lnTo>
                    <a:pt x="1339" y="2693"/>
                  </a:lnTo>
                  <a:lnTo>
                    <a:pt x="1324" y="2690"/>
                  </a:lnTo>
                  <a:lnTo>
                    <a:pt x="1310" y="2687"/>
                  </a:lnTo>
                  <a:lnTo>
                    <a:pt x="1295" y="2681"/>
                  </a:lnTo>
                  <a:lnTo>
                    <a:pt x="1280" y="2676"/>
                  </a:lnTo>
                  <a:lnTo>
                    <a:pt x="1265" y="2670"/>
                  </a:lnTo>
                  <a:lnTo>
                    <a:pt x="1249" y="2664"/>
                  </a:lnTo>
                  <a:lnTo>
                    <a:pt x="1233" y="2656"/>
                  </a:lnTo>
                  <a:lnTo>
                    <a:pt x="1216" y="2647"/>
                  </a:lnTo>
                  <a:lnTo>
                    <a:pt x="1201" y="2639"/>
                  </a:lnTo>
                  <a:lnTo>
                    <a:pt x="1183" y="2629"/>
                  </a:lnTo>
                  <a:lnTo>
                    <a:pt x="1167" y="2619"/>
                  </a:lnTo>
                  <a:lnTo>
                    <a:pt x="1150" y="2607"/>
                  </a:lnTo>
                  <a:lnTo>
                    <a:pt x="1133" y="2595"/>
                  </a:lnTo>
                  <a:lnTo>
                    <a:pt x="1115" y="2583"/>
                  </a:lnTo>
                  <a:lnTo>
                    <a:pt x="1098" y="2568"/>
                  </a:lnTo>
                  <a:lnTo>
                    <a:pt x="1080" y="2555"/>
                  </a:lnTo>
                  <a:lnTo>
                    <a:pt x="1063" y="2539"/>
                  </a:lnTo>
                  <a:lnTo>
                    <a:pt x="1045" y="2524"/>
                  </a:lnTo>
                  <a:lnTo>
                    <a:pt x="1027" y="2507"/>
                  </a:lnTo>
                  <a:lnTo>
                    <a:pt x="991" y="2472"/>
                  </a:lnTo>
                  <a:lnTo>
                    <a:pt x="955" y="2435"/>
                  </a:lnTo>
                  <a:lnTo>
                    <a:pt x="921" y="2399"/>
                  </a:lnTo>
                  <a:lnTo>
                    <a:pt x="888" y="2361"/>
                  </a:lnTo>
                  <a:lnTo>
                    <a:pt x="854" y="2321"/>
                  </a:lnTo>
                  <a:lnTo>
                    <a:pt x="820" y="2279"/>
                  </a:lnTo>
                  <a:lnTo>
                    <a:pt x="785" y="2235"/>
                  </a:lnTo>
                  <a:lnTo>
                    <a:pt x="751" y="2189"/>
                  </a:lnTo>
                  <a:lnTo>
                    <a:pt x="716" y="2140"/>
                  </a:lnTo>
                  <a:lnTo>
                    <a:pt x="682" y="2091"/>
                  </a:lnTo>
                  <a:lnTo>
                    <a:pt x="647" y="2039"/>
                  </a:lnTo>
                  <a:lnTo>
                    <a:pt x="613" y="1986"/>
                  </a:lnTo>
                  <a:lnTo>
                    <a:pt x="579" y="1930"/>
                  </a:lnTo>
                  <a:lnTo>
                    <a:pt x="545" y="1873"/>
                  </a:lnTo>
                  <a:lnTo>
                    <a:pt x="511" y="1815"/>
                  </a:lnTo>
                  <a:lnTo>
                    <a:pt x="478" y="1754"/>
                  </a:lnTo>
                  <a:lnTo>
                    <a:pt x="445" y="1692"/>
                  </a:lnTo>
                  <a:lnTo>
                    <a:pt x="413" y="1629"/>
                  </a:lnTo>
                  <a:lnTo>
                    <a:pt x="401" y="1605"/>
                  </a:lnTo>
                  <a:lnTo>
                    <a:pt x="389" y="1582"/>
                  </a:lnTo>
                  <a:lnTo>
                    <a:pt x="378" y="1558"/>
                  </a:lnTo>
                  <a:lnTo>
                    <a:pt x="368" y="1535"/>
                  </a:lnTo>
                  <a:lnTo>
                    <a:pt x="367" y="1535"/>
                  </a:lnTo>
                  <a:lnTo>
                    <a:pt x="344" y="1489"/>
                  </a:lnTo>
                  <a:lnTo>
                    <a:pt x="321" y="1442"/>
                  </a:lnTo>
                  <a:lnTo>
                    <a:pt x="300" y="1396"/>
                  </a:lnTo>
                  <a:lnTo>
                    <a:pt x="279" y="1350"/>
                  </a:lnTo>
                  <a:lnTo>
                    <a:pt x="258" y="1304"/>
                  </a:lnTo>
                  <a:lnTo>
                    <a:pt x="239" y="1258"/>
                  </a:lnTo>
                  <a:lnTo>
                    <a:pt x="219" y="1211"/>
                  </a:lnTo>
                  <a:lnTo>
                    <a:pt x="201" y="1165"/>
                  </a:lnTo>
                  <a:lnTo>
                    <a:pt x="181" y="1116"/>
                  </a:lnTo>
                  <a:lnTo>
                    <a:pt x="163" y="1066"/>
                  </a:lnTo>
                  <a:lnTo>
                    <a:pt x="145" y="1018"/>
                  </a:lnTo>
                  <a:lnTo>
                    <a:pt x="129" y="969"/>
                  </a:lnTo>
                  <a:lnTo>
                    <a:pt x="113" y="922"/>
                  </a:lnTo>
                  <a:lnTo>
                    <a:pt x="98" y="875"/>
                  </a:lnTo>
                  <a:lnTo>
                    <a:pt x="84" y="829"/>
                  </a:lnTo>
                  <a:lnTo>
                    <a:pt x="72" y="784"/>
                  </a:lnTo>
                  <a:lnTo>
                    <a:pt x="60" y="740"/>
                  </a:lnTo>
                  <a:lnTo>
                    <a:pt x="49" y="697"/>
                  </a:lnTo>
                  <a:lnTo>
                    <a:pt x="39" y="655"/>
                  </a:lnTo>
                  <a:lnTo>
                    <a:pt x="31" y="614"/>
                  </a:lnTo>
                  <a:lnTo>
                    <a:pt x="23" y="573"/>
                  </a:lnTo>
                  <a:lnTo>
                    <a:pt x="16" y="534"/>
                  </a:lnTo>
                  <a:lnTo>
                    <a:pt x="11" y="497"/>
                  </a:lnTo>
                  <a:lnTo>
                    <a:pt x="7" y="460"/>
                  </a:lnTo>
                  <a:lnTo>
                    <a:pt x="3" y="420"/>
                  </a:lnTo>
                  <a:lnTo>
                    <a:pt x="1" y="381"/>
                  </a:lnTo>
                  <a:lnTo>
                    <a:pt x="0" y="344"/>
                  </a:lnTo>
                  <a:lnTo>
                    <a:pt x="1" y="307"/>
                  </a:lnTo>
                  <a:lnTo>
                    <a:pt x="4" y="273"/>
                  </a:lnTo>
                  <a:lnTo>
                    <a:pt x="8" y="240"/>
                  </a:lnTo>
                  <a:lnTo>
                    <a:pt x="10" y="225"/>
                  </a:lnTo>
                  <a:lnTo>
                    <a:pt x="14" y="210"/>
                  </a:lnTo>
                  <a:lnTo>
                    <a:pt x="17" y="195"/>
                  </a:lnTo>
                  <a:lnTo>
                    <a:pt x="21" y="181"/>
                  </a:lnTo>
                  <a:lnTo>
                    <a:pt x="26" y="167"/>
                  </a:lnTo>
                  <a:lnTo>
                    <a:pt x="31" y="154"/>
                  </a:lnTo>
                  <a:lnTo>
                    <a:pt x="36" y="140"/>
                  </a:lnTo>
                  <a:lnTo>
                    <a:pt x="41" y="128"/>
                  </a:lnTo>
                  <a:lnTo>
                    <a:pt x="47" y="117"/>
                  </a:lnTo>
                  <a:lnTo>
                    <a:pt x="53" y="105"/>
                  </a:lnTo>
                  <a:lnTo>
                    <a:pt x="61" y="95"/>
                  </a:lnTo>
                  <a:lnTo>
                    <a:pt x="68" y="85"/>
                  </a:lnTo>
                  <a:lnTo>
                    <a:pt x="75" y="74"/>
                  </a:lnTo>
                  <a:lnTo>
                    <a:pt x="83" y="65"/>
                  </a:lnTo>
                  <a:lnTo>
                    <a:pt x="93" y="57"/>
                  </a:lnTo>
                  <a:lnTo>
                    <a:pt x="101" y="49"/>
                  </a:lnTo>
                  <a:lnTo>
                    <a:pt x="110" y="41"/>
                  </a:lnTo>
                  <a:lnTo>
                    <a:pt x="120" y="34"/>
                  </a:lnTo>
                  <a:lnTo>
                    <a:pt x="131" y="28"/>
                  </a:lnTo>
                  <a:lnTo>
                    <a:pt x="142" y="22"/>
                  </a:lnTo>
                  <a:lnTo>
                    <a:pt x="145" y="21"/>
                  </a:lnTo>
                  <a:lnTo>
                    <a:pt x="145" y="20"/>
                  </a:lnTo>
                  <a:lnTo>
                    <a:pt x="153" y="16"/>
                  </a:lnTo>
                  <a:close/>
                  <a:moveTo>
                    <a:pt x="528" y="395"/>
                  </a:moveTo>
                  <a:lnTo>
                    <a:pt x="501" y="366"/>
                  </a:lnTo>
                  <a:lnTo>
                    <a:pt x="476" y="339"/>
                  </a:lnTo>
                  <a:lnTo>
                    <a:pt x="451" y="314"/>
                  </a:lnTo>
                  <a:lnTo>
                    <a:pt x="427" y="290"/>
                  </a:lnTo>
                  <a:lnTo>
                    <a:pt x="405" y="268"/>
                  </a:lnTo>
                  <a:lnTo>
                    <a:pt x="382" y="248"/>
                  </a:lnTo>
                  <a:lnTo>
                    <a:pt x="361" y="230"/>
                  </a:lnTo>
                  <a:lnTo>
                    <a:pt x="342" y="215"/>
                  </a:lnTo>
                  <a:lnTo>
                    <a:pt x="322" y="201"/>
                  </a:lnTo>
                  <a:lnTo>
                    <a:pt x="305" y="190"/>
                  </a:lnTo>
                  <a:lnTo>
                    <a:pt x="288" y="181"/>
                  </a:lnTo>
                  <a:lnTo>
                    <a:pt x="274" y="173"/>
                  </a:lnTo>
                  <a:lnTo>
                    <a:pt x="259" y="169"/>
                  </a:lnTo>
                  <a:lnTo>
                    <a:pt x="247" y="167"/>
                  </a:lnTo>
                  <a:lnTo>
                    <a:pt x="242" y="167"/>
                  </a:lnTo>
                  <a:lnTo>
                    <a:pt x="237" y="168"/>
                  </a:lnTo>
                  <a:lnTo>
                    <a:pt x="232" y="169"/>
                  </a:lnTo>
                  <a:lnTo>
                    <a:pt x="226" y="171"/>
                  </a:lnTo>
                  <a:lnTo>
                    <a:pt x="224" y="172"/>
                  </a:lnTo>
                  <a:lnTo>
                    <a:pt x="215" y="177"/>
                  </a:lnTo>
                  <a:lnTo>
                    <a:pt x="207" y="183"/>
                  </a:lnTo>
                  <a:lnTo>
                    <a:pt x="201" y="190"/>
                  </a:lnTo>
                  <a:lnTo>
                    <a:pt x="195" y="198"/>
                  </a:lnTo>
                  <a:lnTo>
                    <a:pt x="188" y="208"/>
                  </a:lnTo>
                  <a:lnTo>
                    <a:pt x="184" y="221"/>
                  </a:lnTo>
                  <a:lnTo>
                    <a:pt x="180" y="234"/>
                  </a:lnTo>
                  <a:lnTo>
                    <a:pt x="177" y="249"/>
                  </a:lnTo>
                  <a:lnTo>
                    <a:pt x="174" y="265"/>
                  </a:lnTo>
                  <a:lnTo>
                    <a:pt x="172" y="283"/>
                  </a:lnTo>
                  <a:lnTo>
                    <a:pt x="171" y="302"/>
                  </a:lnTo>
                  <a:lnTo>
                    <a:pt x="170" y="323"/>
                  </a:lnTo>
                  <a:lnTo>
                    <a:pt x="170" y="344"/>
                  </a:lnTo>
                  <a:lnTo>
                    <a:pt x="171" y="367"/>
                  </a:lnTo>
                  <a:lnTo>
                    <a:pt x="172" y="391"/>
                  </a:lnTo>
                  <a:lnTo>
                    <a:pt x="174" y="416"/>
                  </a:lnTo>
                  <a:lnTo>
                    <a:pt x="176" y="442"/>
                  </a:lnTo>
                  <a:lnTo>
                    <a:pt x="180" y="476"/>
                  </a:lnTo>
                  <a:lnTo>
                    <a:pt x="185" y="512"/>
                  </a:lnTo>
                  <a:lnTo>
                    <a:pt x="191" y="548"/>
                  </a:lnTo>
                  <a:lnTo>
                    <a:pt x="199" y="585"/>
                  </a:lnTo>
                  <a:lnTo>
                    <a:pt x="207" y="623"/>
                  </a:lnTo>
                  <a:lnTo>
                    <a:pt x="216" y="662"/>
                  </a:lnTo>
                  <a:lnTo>
                    <a:pt x="226" y="702"/>
                  </a:lnTo>
                  <a:lnTo>
                    <a:pt x="238" y="743"/>
                  </a:lnTo>
                  <a:lnTo>
                    <a:pt x="249" y="786"/>
                  </a:lnTo>
                  <a:lnTo>
                    <a:pt x="262" y="829"/>
                  </a:lnTo>
                  <a:lnTo>
                    <a:pt x="276" y="873"/>
                  </a:lnTo>
                  <a:lnTo>
                    <a:pt x="291" y="918"/>
                  </a:lnTo>
                  <a:lnTo>
                    <a:pt x="307" y="963"/>
                  </a:lnTo>
                  <a:lnTo>
                    <a:pt x="323" y="1008"/>
                  </a:lnTo>
                  <a:lnTo>
                    <a:pt x="341" y="1056"/>
                  </a:lnTo>
                  <a:lnTo>
                    <a:pt x="359" y="1102"/>
                  </a:lnTo>
                  <a:lnTo>
                    <a:pt x="377" y="1146"/>
                  </a:lnTo>
                  <a:lnTo>
                    <a:pt x="394" y="1189"/>
                  </a:lnTo>
                  <a:lnTo>
                    <a:pt x="414" y="1232"/>
                  </a:lnTo>
                  <a:lnTo>
                    <a:pt x="433" y="1276"/>
                  </a:lnTo>
                  <a:lnTo>
                    <a:pt x="454" y="1322"/>
                  </a:lnTo>
                  <a:lnTo>
                    <a:pt x="475" y="1367"/>
                  </a:lnTo>
                  <a:lnTo>
                    <a:pt x="497" y="1412"/>
                  </a:lnTo>
                  <a:lnTo>
                    <a:pt x="520" y="1459"/>
                  </a:lnTo>
                  <a:lnTo>
                    <a:pt x="519" y="1459"/>
                  </a:lnTo>
                  <a:lnTo>
                    <a:pt x="520" y="1461"/>
                  </a:lnTo>
                  <a:lnTo>
                    <a:pt x="531" y="1485"/>
                  </a:lnTo>
                  <a:lnTo>
                    <a:pt x="543" y="1507"/>
                  </a:lnTo>
                  <a:lnTo>
                    <a:pt x="554" y="1530"/>
                  </a:lnTo>
                  <a:lnTo>
                    <a:pt x="565" y="1553"/>
                  </a:lnTo>
                  <a:lnTo>
                    <a:pt x="595" y="1612"/>
                  </a:lnTo>
                  <a:lnTo>
                    <a:pt x="627" y="1671"/>
                  </a:lnTo>
                  <a:lnTo>
                    <a:pt x="658" y="1729"/>
                  </a:lnTo>
                  <a:lnTo>
                    <a:pt x="690" y="1785"/>
                  </a:lnTo>
                  <a:lnTo>
                    <a:pt x="723" y="1839"/>
                  </a:lnTo>
                  <a:lnTo>
                    <a:pt x="755" y="1891"/>
                  </a:lnTo>
                  <a:lnTo>
                    <a:pt x="788" y="1942"/>
                  </a:lnTo>
                  <a:lnTo>
                    <a:pt x="821" y="1991"/>
                  </a:lnTo>
                  <a:lnTo>
                    <a:pt x="853" y="2038"/>
                  </a:lnTo>
                  <a:lnTo>
                    <a:pt x="886" y="2085"/>
                  </a:lnTo>
                  <a:lnTo>
                    <a:pt x="919" y="2128"/>
                  </a:lnTo>
                  <a:lnTo>
                    <a:pt x="951" y="2169"/>
                  </a:lnTo>
                  <a:lnTo>
                    <a:pt x="983" y="2209"/>
                  </a:lnTo>
                  <a:lnTo>
                    <a:pt x="1015" y="2247"/>
                  </a:lnTo>
                  <a:lnTo>
                    <a:pt x="1046" y="2284"/>
                  </a:lnTo>
                  <a:lnTo>
                    <a:pt x="1078" y="2317"/>
                  </a:lnTo>
                  <a:lnTo>
                    <a:pt x="1104" y="2344"/>
                  </a:lnTo>
                  <a:lnTo>
                    <a:pt x="1130" y="2370"/>
                  </a:lnTo>
                  <a:lnTo>
                    <a:pt x="1154" y="2394"/>
                  </a:lnTo>
                  <a:lnTo>
                    <a:pt x="1178" y="2416"/>
                  </a:lnTo>
                  <a:lnTo>
                    <a:pt x="1201" y="2436"/>
                  </a:lnTo>
                  <a:lnTo>
                    <a:pt x="1223" y="2455"/>
                  </a:lnTo>
                  <a:lnTo>
                    <a:pt x="1244" y="2471"/>
                  </a:lnTo>
                  <a:lnTo>
                    <a:pt x="1265" y="2486"/>
                  </a:lnTo>
                  <a:lnTo>
                    <a:pt x="1283" y="2498"/>
                  </a:lnTo>
                  <a:lnTo>
                    <a:pt x="1301" y="2508"/>
                  </a:lnTo>
                  <a:lnTo>
                    <a:pt x="1317" y="2517"/>
                  </a:lnTo>
                  <a:lnTo>
                    <a:pt x="1333" y="2523"/>
                  </a:lnTo>
                  <a:lnTo>
                    <a:pt x="1339" y="2526"/>
                  </a:lnTo>
                  <a:lnTo>
                    <a:pt x="1346" y="2527"/>
                  </a:lnTo>
                  <a:lnTo>
                    <a:pt x="1352" y="2528"/>
                  </a:lnTo>
                  <a:lnTo>
                    <a:pt x="1358" y="2529"/>
                  </a:lnTo>
                  <a:lnTo>
                    <a:pt x="1365" y="2529"/>
                  </a:lnTo>
                  <a:lnTo>
                    <a:pt x="1370" y="2529"/>
                  </a:lnTo>
                  <a:lnTo>
                    <a:pt x="1375" y="2528"/>
                  </a:lnTo>
                  <a:lnTo>
                    <a:pt x="1379" y="2526"/>
                  </a:lnTo>
                  <a:lnTo>
                    <a:pt x="1386" y="2523"/>
                  </a:lnTo>
                  <a:lnTo>
                    <a:pt x="1387" y="2522"/>
                  </a:lnTo>
                  <a:lnTo>
                    <a:pt x="1389" y="2521"/>
                  </a:lnTo>
                  <a:lnTo>
                    <a:pt x="1390" y="2521"/>
                  </a:lnTo>
                  <a:lnTo>
                    <a:pt x="1398" y="2516"/>
                  </a:lnTo>
                  <a:lnTo>
                    <a:pt x="1404" y="2509"/>
                  </a:lnTo>
                  <a:lnTo>
                    <a:pt x="1410" y="2502"/>
                  </a:lnTo>
                  <a:lnTo>
                    <a:pt x="1416" y="2493"/>
                  </a:lnTo>
                  <a:lnTo>
                    <a:pt x="1420" y="2481"/>
                  </a:lnTo>
                  <a:lnTo>
                    <a:pt x="1424" y="2469"/>
                  </a:lnTo>
                  <a:lnTo>
                    <a:pt x="1427" y="2456"/>
                  </a:lnTo>
                  <a:lnTo>
                    <a:pt x="1431" y="2441"/>
                  </a:lnTo>
                  <a:lnTo>
                    <a:pt x="1433" y="2425"/>
                  </a:lnTo>
                  <a:lnTo>
                    <a:pt x="1435" y="2407"/>
                  </a:lnTo>
                  <a:lnTo>
                    <a:pt x="1436" y="2389"/>
                  </a:lnTo>
                  <a:lnTo>
                    <a:pt x="1436" y="2368"/>
                  </a:lnTo>
                  <a:lnTo>
                    <a:pt x="1435" y="2325"/>
                  </a:lnTo>
                  <a:lnTo>
                    <a:pt x="1431" y="2276"/>
                  </a:lnTo>
                  <a:lnTo>
                    <a:pt x="1427" y="2245"/>
                  </a:lnTo>
                  <a:lnTo>
                    <a:pt x="1422" y="2213"/>
                  </a:lnTo>
                  <a:lnTo>
                    <a:pt x="1417" y="2180"/>
                  </a:lnTo>
                  <a:lnTo>
                    <a:pt x="1411" y="2145"/>
                  </a:lnTo>
                  <a:lnTo>
                    <a:pt x="1403" y="2110"/>
                  </a:lnTo>
                  <a:lnTo>
                    <a:pt x="1394" y="2073"/>
                  </a:lnTo>
                  <a:lnTo>
                    <a:pt x="1385" y="2035"/>
                  </a:lnTo>
                  <a:lnTo>
                    <a:pt x="1375" y="1997"/>
                  </a:lnTo>
                  <a:lnTo>
                    <a:pt x="1364" y="1957"/>
                  </a:lnTo>
                  <a:lnTo>
                    <a:pt x="1351" y="1917"/>
                  </a:lnTo>
                  <a:lnTo>
                    <a:pt x="1339" y="1875"/>
                  </a:lnTo>
                  <a:lnTo>
                    <a:pt x="1324" y="1833"/>
                  </a:lnTo>
                  <a:lnTo>
                    <a:pt x="1310" y="1790"/>
                  </a:lnTo>
                  <a:lnTo>
                    <a:pt x="1294" y="1746"/>
                  </a:lnTo>
                  <a:lnTo>
                    <a:pt x="1277" y="1702"/>
                  </a:lnTo>
                  <a:lnTo>
                    <a:pt x="1260" y="1657"/>
                  </a:lnTo>
                  <a:lnTo>
                    <a:pt x="1237" y="1602"/>
                  </a:lnTo>
                  <a:lnTo>
                    <a:pt x="1214" y="1547"/>
                  </a:lnTo>
                  <a:lnTo>
                    <a:pt x="1189" y="1490"/>
                  </a:lnTo>
                  <a:lnTo>
                    <a:pt x="1163" y="1433"/>
                  </a:lnTo>
                  <a:lnTo>
                    <a:pt x="1135" y="1374"/>
                  </a:lnTo>
                  <a:lnTo>
                    <a:pt x="1107" y="1316"/>
                  </a:lnTo>
                  <a:lnTo>
                    <a:pt x="1077" y="1257"/>
                  </a:lnTo>
                  <a:lnTo>
                    <a:pt x="1046" y="1197"/>
                  </a:lnTo>
                  <a:lnTo>
                    <a:pt x="1045" y="1195"/>
                  </a:lnTo>
                  <a:lnTo>
                    <a:pt x="1043" y="1192"/>
                  </a:lnTo>
                  <a:lnTo>
                    <a:pt x="1012" y="1130"/>
                  </a:lnTo>
                  <a:lnTo>
                    <a:pt x="980" y="1070"/>
                  </a:lnTo>
                  <a:lnTo>
                    <a:pt x="948" y="1011"/>
                  </a:lnTo>
                  <a:lnTo>
                    <a:pt x="917" y="954"/>
                  </a:lnTo>
                  <a:lnTo>
                    <a:pt x="884" y="898"/>
                  </a:lnTo>
                  <a:lnTo>
                    <a:pt x="851" y="843"/>
                  </a:lnTo>
                  <a:lnTo>
                    <a:pt x="818" y="791"/>
                  </a:lnTo>
                  <a:lnTo>
                    <a:pt x="786" y="739"/>
                  </a:lnTo>
                  <a:lnTo>
                    <a:pt x="753" y="690"/>
                  </a:lnTo>
                  <a:lnTo>
                    <a:pt x="720" y="641"/>
                  </a:lnTo>
                  <a:lnTo>
                    <a:pt x="687" y="596"/>
                  </a:lnTo>
                  <a:lnTo>
                    <a:pt x="655" y="552"/>
                  </a:lnTo>
                  <a:lnTo>
                    <a:pt x="622" y="509"/>
                  </a:lnTo>
                  <a:lnTo>
                    <a:pt x="590" y="469"/>
                  </a:lnTo>
                  <a:lnTo>
                    <a:pt x="559" y="431"/>
                  </a:lnTo>
                  <a:lnTo>
                    <a:pt x="528" y="395"/>
                  </a:lnTo>
                  <a:close/>
                  <a:moveTo>
                    <a:pt x="1455" y="2679"/>
                  </a:moveTo>
                  <a:lnTo>
                    <a:pt x="1454" y="2679"/>
                  </a:lnTo>
                  <a:lnTo>
                    <a:pt x="1455" y="26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3" name="Freeform 39"/>
            <p:cNvSpPr>
              <a:spLocks noChangeArrowheads="1"/>
            </p:cNvSpPr>
            <p:nvPr/>
          </p:nvSpPr>
          <p:spPr bwMode="auto">
            <a:xfrm>
              <a:off x="7094538" y="2387512"/>
              <a:ext cx="639762" cy="1400205"/>
            </a:xfrm>
            <a:custGeom>
              <a:avLst/>
              <a:gdLst>
                <a:gd name="T0" fmla="*/ 138 w 1435"/>
                <a:gd name="T1" fmla="*/ 0 h 2526"/>
                <a:gd name="T2" fmla="*/ 201 w 1435"/>
                <a:gd name="T3" fmla="*/ 9 h 2526"/>
                <a:gd name="T4" fmla="*/ 273 w 1435"/>
                <a:gd name="T5" fmla="*/ 44 h 2526"/>
                <a:gd name="T6" fmla="*/ 355 w 1435"/>
                <a:gd name="T7" fmla="*/ 104 h 2526"/>
                <a:gd name="T8" fmla="*/ 444 w 1435"/>
                <a:gd name="T9" fmla="*/ 186 h 2526"/>
                <a:gd name="T10" fmla="*/ 539 w 1435"/>
                <a:gd name="T11" fmla="*/ 290 h 2526"/>
                <a:gd name="T12" fmla="*/ 637 w 1435"/>
                <a:gd name="T13" fmla="*/ 414 h 2526"/>
                <a:gd name="T14" fmla="*/ 738 w 1435"/>
                <a:gd name="T15" fmla="*/ 556 h 2526"/>
                <a:gd name="T16" fmla="*/ 839 w 1435"/>
                <a:gd name="T17" fmla="*/ 714 h 2526"/>
                <a:gd name="T18" fmla="*/ 939 w 1435"/>
                <a:gd name="T19" fmla="*/ 886 h 2526"/>
                <a:gd name="T20" fmla="*/ 1037 w 1435"/>
                <a:gd name="T21" fmla="*/ 1072 h 2526"/>
                <a:gd name="T22" fmla="*/ 1136 w 1435"/>
                <a:gd name="T23" fmla="*/ 1273 h 2526"/>
                <a:gd name="T24" fmla="*/ 1224 w 1435"/>
                <a:gd name="T25" fmla="*/ 1467 h 2526"/>
                <a:gd name="T26" fmla="*/ 1296 w 1435"/>
                <a:gd name="T27" fmla="*/ 1651 h 2526"/>
                <a:gd name="T28" fmla="*/ 1354 w 1435"/>
                <a:gd name="T29" fmla="*/ 1824 h 2526"/>
                <a:gd name="T30" fmla="*/ 1396 w 1435"/>
                <a:gd name="T31" fmla="*/ 1984 h 2526"/>
                <a:gd name="T32" fmla="*/ 1424 w 1435"/>
                <a:gd name="T33" fmla="*/ 2127 h 2526"/>
                <a:gd name="T34" fmla="*/ 1435 w 1435"/>
                <a:gd name="T35" fmla="*/ 2253 h 2526"/>
                <a:gd name="T36" fmla="*/ 1430 w 1435"/>
                <a:gd name="T37" fmla="*/ 2357 h 2526"/>
                <a:gd name="T38" fmla="*/ 1407 w 1435"/>
                <a:gd name="T39" fmla="*/ 2439 h 2526"/>
                <a:gd name="T40" fmla="*/ 1369 w 1435"/>
                <a:gd name="T41" fmla="*/ 2494 h 2526"/>
                <a:gd name="T42" fmla="*/ 1317 w 1435"/>
                <a:gd name="T43" fmla="*/ 2523 h 2526"/>
                <a:gd name="T44" fmla="*/ 1257 w 1435"/>
                <a:gd name="T45" fmla="*/ 2523 h 2526"/>
                <a:gd name="T46" fmla="*/ 1184 w 1435"/>
                <a:gd name="T47" fmla="*/ 2496 h 2526"/>
                <a:gd name="T48" fmla="*/ 1100 w 1435"/>
                <a:gd name="T49" fmla="*/ 2444 h 2526"/>
                <a:gd name="T50" fmla="*/ 1008 w 1435"/>
                <a:gd name="T51" fmla="*/ 2368 h 2526"/>
                <a:gd name="T52" fmla="*/ 910 w 1435"/>
                <a:gd name="T53" fmla="*/ 2268 h 2526"/>
                <a:gd name="T54" fmla="*/ 806 w 1435"/>
                <a:gd name="T55" fmla="*/ 2147 h 2526"/>
                <a:gd name="T56" fmla="*/ 701 w 1435"/>
                <a:gd name="T57" fmla="*/ 2006 h 2526"/>
                <a:gd name="T58" fmla="*/ 595 w 1435"/>
                <a:gd name="T59" fmla="*/ 1846 h 2526"/>
                <a:gd name="T60" fmla="*/ 491 w 1435"/>
                <a:gd name="T61" fmla="*/ 1671 h 2526"/>
                <a:gd name="T62" fmla="*/ 391 w 1435"/>
                <a:gd name="T63" fmla="*/ 1479 h 2526"/>
                <a:gd name="T64" fmla="*/ 297 w 1435"/>
                <a:gd name="T65" fmla="*/ 1285 h 2526"/>
                <a:gd name="T66" fmla="*/ 216 w 1435"/>
                <a:gd name="T67" fmla="*/ 1099 h 2526"/>
                <a:gd name="T68" fmla="*/ 146 w 1435"/>
                <a:gd name="T69" fmla="*/ 918 h 2526"/>
                <a:gd name="T70" fmla="*/ 89 w 1435"/>
                <a:gd name="T71" fmla="*/ 746 h 2526"/>
                <a:gd name="T72" fmla="*/ 46 w 1435"/>
                <a:gd name="T73" fmla="*/ 586 h 2526"/>
                <a:gd name="T74" fmla="*/ 16 w 1435"/>
                <a:gd name="T75" fmla="*/ 441 h 2526"/>
                <a:gd name="T76" fmla="*/ 1 w 1435"/>
                <a:gd name="T77" fmla="*/ 311 h 2526"/>
                <a:gd name="T78" fmla="*/ 2 w 1435"/>
                <a:gd name="T79" fmla="*/ 201 h 2526"/>
                <a:gd name="T80" fmla="*/ 20 w 1435"/>
                <a:gd name="T81" fmla="*/ 112 h 2526"/>
                <a:gd name="T82" fmla="*/ 53 w 1435"/>
                <a:gd name="T83" fmla="*/ 47 h 2526"/>
                <a:gd name="T84" fmla="*/ 104 w 1435"/>
                <a:gd name="T85" fmla="*/ 9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35" h="2526">
                  <a:moveTo>
                    <a:pt x="104" y="9"/>
                  </a:moveTo>
                  <a:lnTo>
                    <a:pt x="121" y="3"/>
                  </a:lnTo>
                  <a:lnTo>
                    <a:pt x="138" y="0"/>
                  </a:lnTo>
                  <a:lnTo>
                    <a:pt x="158" y="0"/>
                  </a:lnTo>
                  <a:lnTo>
                    <a:pt x="179" y="3"/>
                  </a:lnTo>
                  <a:lnTo>
                    <a:pt x="201" y="9"/>
                  </a:lnTo>
                  <a:lnTo>
                    <a:pt x="224" y="17"/>
                  </a:lnTo>
                  <a:lnTo>
                    <a:pt x="249" y="30"/>
                  </a:lnTo>
                  <a:lnTo>
                    <a:pt x="273" y="44"/>
                  </a:lnTo>
                  <a:lnTo>
                    <a:pt x="300" y="62"/>
                  </a:lnTo>
                  <a:lnTo>
                    <a:pt x="327" y="81"/>
                  </a:lnTo>
                  <a:lnTo>
                    <a:pt x="355" y="104"/>
                  </a:lnTo>
                  <a:lnTo>
                    <a:pt x="385" y="129"/>
                  </a:lnTo>
                  <a:lnTo>
                    <a:pt x="413" y="156"/>
                  </a:lnTo>
                  <a:lnTo>
                    <a:pt x="444" y="186"/>
                  </a:lnTo>
                  <a:lnTo>
                    <a:pt x="475" y="219"/>
                  </a:lnTo>
                  <a:lnTo>
                    <a:pt x="507" y="253"/>
                  </a:lnTo>
                  <a:lnTo>
                    <a:pt x="539" y="290"/>
                  </a:lnTo>
                  <a:lnTo>
                    <a:pt x="571" y="330"/>
                  </a:lnTo>
                  <a:lnTo>
                    <a:pt x="604" y="371"/>
                  </a:lnTo>
                  <a:lnTo>
                    <a:pt x="637" y="414"/>
                  </a:lnTo>
                  <a:lnTo>
                    <a:pt x="671" y="460"/>
                  </a:lnTo>
                  <a:lnTo>
                    <a:pt x="704" y="507"/>
                  </a:lnTo>
                  <a:lnTo>
                    <a:pt x="738" y="556"/>
                  </a:lnTo>
                  <a:lnTo>
                    <a:pt x="772" y="607"/>
                  </a:lnTo>
                  <a:lnTo>
                    <a:pt x="805" y="660"/>
                  </a:lnTo>
                  <a:lnTo>
                    <a:pt x="839" y="714"/>
                  </a:lnTo>
                  <a:lnTo>
                    <a:pt x="873" y="770"/>
                  </a:lnTo>
                  <a:lnTo>
                    <a:pt x="906" y="828"/>
                  </a:lnTo>
                  <a:lnTo>
                    <a:pt x="939" y="886"/>
                  </a:lnTo>
                  <a:lnTo>
                    <a:pt x="972" y="947"/>
                  </a:lnTo>
                  <a:lnTo>
                    <a:pt x="1005" y="1009"/>
                  </a:lnTo>
                  <a:lnTo>
                    <a:pt x="1037" y="1072"/>
                  </a:lnTo>
                  <a:lnTo>
                    <a:pt x="1072" y="1140"/>
                  </a:lnTo>
                  <a:lnTo>
                    <a:pt x="1104" y="1207"/>
                  </a:lnTo>
                  <a:lnTo>
                    <a:pt x="1136" y="1273"/>
                  </a:lnTo>
                  <a:lnTo>
                    <a:pt x="1167" y="1338"/>
                  </a:lnTo>
                  <a:lnTo>
                    <a:pt x="1196" y="1403"/>
                  </a:lnTo>
                  <a:lnTo>
                    <a:pt x="1224" y="1467"/>
                  </a:lnTo>
                  <a:lnTo>
                    <a:pt x="1250" y="1530"/>
                  </a:lnTo>
                  <a:lnTo>
                    <a:pt x="1273" y="1590"/>
                  </a:lnTo>
                  <a:lnTo>
                    <a:pt x="1296" y="1651"/>
                  </a:lnTo>
                  <a:lnTo>
                    <a:pt x="1317" y="1710"/>
                  </a:lnTo>
                  <a:lnTo>
                    <a:pt x="1336" y="1768"/>
                  </a:lnTo>
                  <a:lnTo>
                    <a:pt x="1354" y="1824"/>
                  </a:lnTo>
                  <a:lnTo>
                    <a:pt x="1369" y="1879"/>
                  </a:lnTo>
                  <a:lnTo>
                    <a:pt x="1384" y="1933"/>
                  </a:lnTo>
                  <a:lnTo>
                    <a:pt x="1396" y="1984"/>
                  </a:lnTo>
                  <a:lnTo>
                    <a:pt x="1407" y="2034"/>
                  </a:lnTo>
                  <a:lnTo>
                    <a:pt x="1417" y="2082"/>
                  </a:lnTo>
                  <a:lnTo>
                    <a:pt x="1424" y="2127"/>
                  </a:lnTo>
                  <a:lnTo>
                    <a:pt x="1429" y="2172"/>
                  </a:lnTo>
                  <a:lnTo>
                    <a:pt x="1433" y="2213"/>
                  </a:lnTo>
                  <a:lnTo>
                    <a:pt x="1435" y="2253"/>
                  </a:lnTo>
                  <a:lnTo>
                    <a:pt x="1435" y="2290"/>
                  </a:lnTo>
                  <a:lnTo>
                    <a:pt x="1433" y="2325"/>
                  </a:lnTo>
                  <a:lnTo>
                    <a:pt x="1430" y="2357"/>
                  </a:lnTo>
                  <a:lnTo>
                    <a:pt x="1424" y="2387"/>
                  </a:lnTo>
                  <a:lnTo>
                    <a:pt x="1417" y="2414"/>
                  </a:lnTo>
                  <a:lnTo>
                    <a:pt x="1407" y="2439"/>
                  </a:lnTo>
                  <a:lnTo>
                    <a:pt x="1397" y="2460"/>
                  </a:lnTo>
                  <a:lnTo>
                    <a:pt x="1384" y="2479"/>
                  </a:lnTo>
                  <a:lnTo>
                    <a:pt x="1369" y="2494"/>
                  </a:lnTo>
                  <a:lnTo>
                    <a:pt x="1352" y="2508"/>
                  </a:lnTo>
                  <a:lnTo>
                    <a:pt x="1333" y="2517"/>
                  </a:lnTo>
                  <a:lnTo>
                    <a:pt x="1317" y="2523"/>
                  </a:lnTo>
                  <a:lnTo>
                    <a:pt x="1298" y="2526"/>
                  </a:lnTo>
                  <a:lnTo>
                    <a:pt x="1278" y="2526"/>
                  </a:lnTo>
                  <a:lnTo>
                    <a:pt x="1257" y="2523"/>
                  </a:lnTo>
                  <a:lnTo>
                    <a:pt x="1233" y="2518"/>
                  </a:lnTo>
                  <a:lnTo>
                    <a:pt x="1210" y="2509"/>
                  </a:lnTo>
                  <a:lnTo>
                    <a:pt x="1184" y="2496"/>
                  </a:lnTo>
                  <a:lnTo>
                    <a:pt x="1157" y="2482"/>
                  </a:lnTo>
                  <a:lnTo>
                    <a:pt x="1129" y="2465"/>
                  </a:lnTo>
                  <a:lnTo>
                    <a:pt x="1100" y="2444"/>
                  </a:lnTo>
                  <a:lnTo>
                    <a:pt x="1071" y="2421"/>
                  </a:lnTo>
                  <a:lnTo>
                    <a:pt x="1040" y="2395"/>
                  </a:lnTo>
                  <a:lnTo>
                    <a:pt x="1008" y="2368"/>
                  </a:lnTo>
                  <a:lnTo>
                    <a:pt x="976" y="2337"/>
                  </a:lnTo>
                  <a:lnTo>
                    <a:pt x="943" y="2304"/>
                  </a:lnTo>
                  <a:lnTo>
                    <a:pt x="910" y="2268"/>
                  </a:lnTo>
                  <a:lnTo>
                    <a:pt x="875" y="2229"/>
                  </a:lnTo>
                  <a:lnTo>
                    <a:pt x="841" y="2189"/>
                  </a:lnTo>
                  <a:lnTo>
                    <a:pt x="806" y="2147"/>
                  </a:lnTo>
                  <a:lnTo>
                    <a:pt x="771" y="2102"/>
                  </a:lnTo>
                  <a:lnTo>
                    <a:pt x="736" y="2055"/>
                  </a:lnTo>
                  <a:lnTo>
                    <a:pt x="701" y="2006"/>
                  </a:lnTo>
                  <a:lnTo>
                    <a:pt x="665" y="1954"/>
                  </a:lnTo>
                  <a:lnTo>
                    <a:pt x="630" y="1902"/>
                  </a:lnTo>
                  <a:lnTo>
                    <a:pt x="595" y="1846"/>
                  </a:lnTo>
                  <a:lnTo>
                    <a:pt x="560" y="1789"/>
                  </a:lnTo>
                  <a:lnTo>
                    <a:pt x="525" y="1731"/>
                  </a:lnTo>
                  <a:lnTo>
                    <a:pt x="491" y="1671"/>
                  </a:lnTo>
                  <a:lnTo>
                    <a:pt x="457" y="1608"/>
                  </a:lnTo>
                  <a:lnTo>
                    <a:pt x="423" y="1544"/>
                  </a:lnTo>
                  <a:lnTo>
                    <a:pt x="391" y="1479"/>
                  </a:lnTo>
                  <a:lnTo>
                    <a:pt x="358" y="1412"/>
                  </a:lnTo>
                  <a:lnTo>
                    <a:pt x="327" y="1348"/>
                  </a:lnTo>
                  <a:lnTo>
                    <a:pt x="297" y="1285"/>
                  </a:lnTo>
                  <a:lnTo>
                    <a:pt x="268" y="1222"/>
                  </a:lnTo>
                  <a:lnTo>
                    <a:pt x="241" y="1159"/>
                  </a:lnTo>
                  <a:lnTo>
                    <a:pt x="216" y="1099"/>
                  </a:lnTo>
                  <a:lnTo>
                    <a:pt x="191" y="1037"/>
                  </a:lnTo>
                  <a:lnTo>
                    <a:pt x="167" y="977"/>
                  </a:lnTo>
                  <a:lnTo>
                    <a:pt x="146" y="918"/>
                  </a:lnTo>
                  <a:lnTo>
                    <a:pt x="125" y="859"/>
                  </a:lnTo>
                  <a:lnTo>
                    <a:pt x="106" y="803"/>
                  </a:lnTo>
                  <a:lnTo>
                    <a:pt x="89" y="746"/>
                  </a:lnTo>
                  <a:lnTo>
                    <a:pt x="72" y="691"/>
                  </a:lnTo>
                  <a:lnTo>
                    <a:pt x="58" y="639"/>
                  </a:lnTo>
                  <a:lnTo>
                    <a:pt x="46" y="586"/>
                  </a:lnTo>
                  <a:lnTo>
                    <a:pt x="34" y="536"/>
                  </a:lnTo>
                  <a:lnTo>
                    <a:pt x="24" y="487"/>
                  </a:lnTo>
                  <a:lnTo>
                    <a:pt x="16" y="441"/>
                  </a:lnTo>
                  <a:lnTo>
                    <a:pt x="10" y="396"/>
                  </a:lnTo>
                  <a:lnTo>
                    <a:pt x="4" y="352"/>
                  </a:lnTo>
                  <a:lnTo>
                    <a:pt x="1" y="311"/>
                  </a:lnTo>
                  <a:lnTo>
                    <a:pt x="0" y="272"/>
                  </a:lnTo>
                  <a:lnTo>
                    <a:pt x="0" y="236"/>
                  </a:lnTo>
                  <a:lnTo>
                    <a:pt x="2" y="201"/>
                  </a:lnTo>
                  <a:lnTo>
                    <a:pt x="7" y="169"/>
                  </a:lnTo>
                  <a:lnTo>
                    <a:pt x="12" y="139"/>
                  </a:lnTo>
                  <a:lnTo>
                    <a:pt x="20" y="112"/>
                  </a:lnTo>
                  <a:lnTo>
                    <a:pt x="29" y="87"/>
                  </a:lnTo>
                  <a:lnTo>
                    <a:pt x="41" y="66"/>
                  </a:lnTo>
                  <a:lnTo>
                    <a:pt x="53" y="47"/>
                  </a:lnTo>
                  <a:lnTo>
                    <a:pt x="68" y="32"/>
                  </a:lnTo>
                  <a:lnTo>
                    <a:pt x="85" y="19"/>
                  </a:lnTo>
                  <a:lnTo>
                    <a:pt x="104" y="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4" name="Freeform 40"/>
            <p:cNvSpPr>
              <a:spLocks noChangeArrowheads="1"/>
            </p:cNvSpPr>
            <p:nvPr/>
          </p:nvSpPr>
          <p:spPr bwMode="auto">
            <a:xfrm>
              <a:off x="7439025" y="2041430"/>
              <a:ext cx="423863" cy="1817727"/>
            </a:xfrm>
            <a:custGeom>
              <a:avLst/>
              <a:gdLst>
                <a:gd name="T0" fmla="*/ 483 w 947"/>
                <a:gd name="T1" fmla="*/ 8 h 3274"/>
                <a:gd name="T2" fmla="*/ 573 w 947"/>
                <a:gd name="T3" fmla="*/ 62 h 3274"/>
                <a:gd name="T4" fmla="*/ 656 w 947"/>
                <a:gd name="T5" fmla="*/ 161 h 3274"/>
                <a:gd name="T6" fmla="*/ 731 w 947"/>
                <a:gd name="T7" fmla="*/ 302 h 3274"/>
                <a:gd name="T8" fmla="*/ 847 w 947"/>
                <a:gd name="T9" fmla="*/ 678 h 3274"/>
                <a:gd name="T10" fmla="*/ 919 w 947"/>
                <a:gd name="T11" fmla="*/ 1147 h 3274"/>
                <a:gd name="T12" fmla="*/ 940 w 947"/>
                <a:gd name="T13" fmla="*/ 1612 h 3274"/>
                <a:gd name="T14" fmla="*/ 945 w 947"/>
                <a:gd name="T15" fmla="*/ 1750 h 3274"/>
                <a:gd name="T16" fmla="*/ 944 w 947"/>
                <a:gd name="T17" fmla="*/ 2013 h 3274"/>
                <a:gd name="T18" fmla="*/ 911 w 947"/>
                <a:gd name="T19" fmla="*/ 2456 h 3274"/>
                <a:gd name="T20" fmla="*/ 843 w 947"/>
                <a:gd name="T21" fmla="*/ 2822 h 3274"/>
                <a:gd name="T22" fmla="*/ 765 w 947"/>
                <a:gd name="T23" fmla="*/ 3047 h 3274"/>
                <a:gd name="T24" fmla="*/ 687 w 947"/>
                <a:gd name="T25" fmla="*/ 3176 h 3274"/>
                <a:gd name="T26" fmla="*/ 610 w 947"/>
                <a:gd name="T27" fmla="*/ 3247 h 3274"/>
                <a:gd name="T28" fmla="*/ 524 w 947"/>
                <a:gd name="T29" fmla="*/ 3274 h 3274"/>
                <a:gd name="T30" fmla="*/ 509 w 947"/>
                <a:gd name="T31" fmla="*/ 3274 h 3274"/>
                <a:gd name="T32" fmla="*/ 424 w 947"/>
                <a:gd name="T33" fmla="*/ 3249 h 3274"/>
                <a:gd name="T34" fmla="*/ 338 w 947"/>
                <a:gd name="T35" fmla="*/ 3176 h 3274"/>
                <a:gd name="T36" fmla="*/ 257 w 947"/>
                <a:gd name="T37" fmla="*/ 3058 h 3274"/>
                <a:gd name="T38" fmla="*/ 186 w 947"/>
                <a:gd name="T39" fmla="*/ 2901 h 3274"/>
                <a:gd name="T40" fmla="*/ 86 w 947"/>
                <a:gd name="T41" fmla="*/ 2535 h 3274"/>
                <a:gd name="T42" fmla="*/ 22 w 947"/>
                <a:gd name="T43" fmla="*/ 2052 h 3274"/>
                <a:gd name="T44" fmla="*/ 6 w 947"/>
                <a:gd name="T45" fmla="*/ 1662 h 3274"/>
                <a:gd name="T46" fmla="*/ 1 w 947"/>
                <a:gd name="T47" fmla="*/ 1492 h 3274"/>
                <a:gd name="T48" fmla="*/ 7 w 947"/>
                <a:gd name="T49" fmla="*/ 1128 h 3274"/>
                <a:gd name="T50" fmla="*/ 50 w 947"/>
                <a:gd name="T51" fmla="*/ 704 h 3274"/>
                <a:gd name="T52" fmla="*/ 132 w 947"/>
                <a:gd name="T53" fmla="*/ 354 h 3274"/>
                <a:gd name="T54" fmla="*/ 209 w 947"/>
                <a:gd name="T55" fmla="*/ 173 h 3274"/>
                <a:gd name="T56" fmla="*/ 280 w 947"/>
                <a:gd name="T57" fmla="*/ 74 h 3274"/>
                <a:gd name="T58" fmla="*/ 360 w 947"/>
                <a:gd name="T59" fmla="*/ 15 h 3274"/>
                <a:gd name="T60" fmla="*/ 430 w 947"/>
                <a:gd name="T61" fmla="*/ 0 h 3274"/>
                <a:gd name="T62" fmla="*/ 425 w 947"/>
                <a:gd name="T63" fmla="*/ 172 h 3274"/>
                <a:gd name="T64" fmla="*/ 370 w 947"/>
                <a:gd name="T65" fmla="*/ 223 h 3274"/>
                <a:gd name="T66" fmla="*/ 298 w 947"/>
                <a:gd name="T67" fmla="*/ 392 h 3274"/>
                <a:gd name="T68" fmla="*/ 228 w 947"/>
                <a:gd name="T69" fmla="*/ 682 h 3274"/>
                <a:gd name="T70" fmla="*/ 181 w 947"/>
                <a:gd name="T71" fmla="*/ 1076 h 3274"/>
                <a:gd name="T72" fmla="*/ 171 w 947"/>
                <a:gd name="T73" fmla="*/ 1461 h 3274"/>
                <a:gd name="T74" fmla="*/ 178 w 947"/>
                <a:gd name="T75" fmla="*/ 1659 h 3274"/>
                <a:gd name="T76" fmla="*/ 191 w 947"/>
                <a:gd name="T77" fmla="*/ 2037 h 3274"/>
                <a:gd name="T78" fmla="*/ 253 w 947"/>
                <a:gd name="T79" fmla="*/ 2499 h 3274"/>
                <a:gd name="T80" fmla="*/ 344 w 947"/>
                <a:gd name="T81" fmla="*/ 2840 h 3274"/>
                <a:gd name="T82" fmla="*/ 437 w 947"/>
                <a:gd name="T83" fmla="*/ 3040 h 3274"/>
                <a:gd name="T84" fmla="*/ 493 w 947"/>
                <a:gd name="T85" fmla="*/ 3098 h 3274"/>
                <a:gd name="T86" fmla="*/ 516 w 947"/>
                <a:gd name="T87" fmla="*/ 3103 h 3274"/>
                <a:gd name="T88" fmla="*/ 551 w 947"/>
                <a:gd name="T89" fmla="*/ 3084 h 3274"/>
                <a:gd name="T90" fmla="*/ 618 w 947"/>
                <a:gd name="T91" fmla="*/ 2969 h 3274"/>
                <a:gd name="T92" fmla="*/ 679 w 947"/>
                <a:gd name="T93" fmla="*/ 2779 h 3274"/>
                <a:gd name="T94" fmla="*/ 744 w 947"/>
                <a:gd name="T95" fmla="*/ 2432 h 3274"/>
                <a:gd name="T96" fmla="*/ 774 w 947"/>
                <a:gd name="T97" fmla="*/ 2007 h 3274"/>
                <a:gd name="T98" fmla="*/ 774 w 947"/>
                <a:gd name="T99" fmla="*/ 1750 h 3274"/>
                <a:gd name="T100" fmla="*/ 769 w 947"/>
                <a:gd name="T101" fmla="*/ 1612 h 3274"/>
                <a:gd name="T102" fmla="*/ 749 w 947"/>
                <a:gd name="T103" fmla="*/ 1166 h 3274"/>
                <a:gd name="T104" fmla="*/ 681 w 947"/>
                <a:gd name="T105" fmla="*/ 717 h 3274"/>
                <a:gd name="T106" fmla="*/ 589 w 947"/>
                <a:gd name="T107" fmla="*/ 399 h 3274"/>
                <a:gd name="T108" fmla="*/ 497 w 947"/>
                <a:gd name="T109" fmla="*/ 216 h 3274"/>
                <a:gd name="T110" fmla="*/ 436 w 947"/>
                <a:gd name="T111" fmla="*/ 171 h 3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7" h="3274">
                  <a:moveTo>
                    <a:pt x="430" y="0"/>
                  </a:moveTo>
                  <a:lnTo>
                    <a:pt x="431" y="0"/>
                  </a:lnTo>
                  <a:lnTo>
                    <a:pt x="438" y="0"/>
                  </a:lnTo>
                  <a:lnTo>
                    <a:pt x="443" y="1"/>
                  </a:lnTo>
                  <a:lnTo>
                    <a:pt x="456" y="2"/>
                  </a:lnTo>
                  <a:lnTo>
                    <a:pt x="470" y="5"/>
                  </a:lnTo>
                  <a:lnTo>
                    <a:pt x="483" y="8"/>
                  </a:lnTo>
                  <a:lnTo>
                    <a:pt x="496" y="13"/>
                  </a:lnTo>
                  <a:lnTo>
                    <a:pt x="509" y="19"/>
                  </a:lnTo>
                  <a:lnTo>
                    <a:pt x="522" y="26"/>
                  </a:lnTo>
                  <a:lnTo>
                    <a:pt x="534" y="33"/>
                  </a:lnTo>
                  <a:lnTo>
                    <a:pt x="548" y="41"/>
                  </a:lnTo>
                  <a:lnTo>
                    <a:pt x="560" y="51"/>
                  </a:lnTo>
                  <a:lnTo>
                    <a:pt x="573" y="62"/>
                  </a:lnTo>
                  <a:lnTo>
                    <a:pt x="585" y="73"/>
                  </a:lnTo>
                  <a:lnTo>
                    <a:pt x="597" y="86"/>
                  </a:lnTo>
                  <a:lnTo>
                    <a:pt x="609" y="99"/>
                  </a:lnTo>
                  <a:lnTo>
                    <a:pt x="621" y="113"/>
                  </a:lnTo>
                  <a:lnTo>
                    <a:pt x="632" y="128"/>
                  </a:lnTo>
                  <a:lnTo>
                    <a:pt x="645" y="144"/>
                  </a:lnTo>
                  <a:lnTo>
                    <a:pt x="656" y="161"/>
                  </a:lnTo>
                  <a:lnTo>
                    <a:pt x="667" y="178"/>
                  </a:lnTo>
                  <a:lnTo>
                    <a:pt x="678" y="197"/>
                  </a:lnTo>
                  <a:lnTo>
                    <a:pt x="689" y="216"/>
                  </a:lnTo>
                  <a:lnTo>
                    <a:pt x="699" y="236"/>
                  </a:lnTo>
                  <a:lnTo>
                    <a:pt x="711" y="258"/>
                  </a:lnTo>
                  <a:lnTo>
                    <a:pt x="721" y="279"/>
                  </a:lnTo>
                  <a:lnTo>
                    <a:pt x="731" y="302"/>
                  </a:lnTo>
                  <a:lnTo>
                    <a:pt x="751" y="349"/>
                  </a:lnTo>
                  <a:lnTo>
                    <a:pt x="769" y="400"/>
                  </a:lnTo>
                  <a:lnTo>
                    <a:pt x="787" y="452"/>
                  </a:lnTo>
                  <a:lnTo>
                    <a:pt x="804" y="508"/>
                  </a:lnTo>
                  <a:lnTo>
                    <a:pt x="819" y="563"/>
                  </a:lnTo>
                  <a:lnTo>
                    <a:pt x="833" y="619"/>
                  </a:lnTo>
                  <a:lnTo>
                    <a:pt x="847" y="678"/>
                  </a:lnTo>
                  <a:lnTo>
                    <a:pt x="860" y="739"/>
                  </a:lnTo>
                  <a:lnTo>
                    <a:pt x="871" y="803"/>
                  </a:lnTo>
                  <a:lnTo>
                    <a:pt x="883" y="868"/>
                  </a:lnTo>
                  <a:lnTo>
                    <a:pt x="893" y="935"/>
                  </a:lnTo>
                  <a:lnTo>
                    <a:pt x="902" y="1004"/>
                  </a:lnTo>
                  <a:lnTo>
                    <a:pt x="910" y="1075"/>
                  </a:lnTo>
                  <a:lnTo>
                    <a:pt x="919" y="1147"/>
                  </a:lnTo>
                  <a:lnTo>
                    <a:pt x="925" y="1222"/>
                  </a:lnTo>
                  <a:lnTo>
                    <a:pt x="930" y="1297"/>
                  </a:lnTo>
                  <a:lnTo>
                    <a:pt x="934" y="1374"/>
                  </a:lnTo>
                  <a:lnTo>
                    <a:pt x="937" y="1452"/>
                  </a:lnTo>
                  <a:lnTo>
                    <a:pt x="939" y="1532"/>
                  </a:lnTo>
                  <a:lnTo>
                    <a:pt x="940" y="1612"/>
                  </a:lnTo>
                  <a:lnTo>
                    <a:pt x="940" y="1616"/>
                  </a:lnTo>
                  <a:lnTo>
                    <a:pt x="940" y="1619"/>
                  </a:lnTo>
                  <a:lnTo>
                    <a:pt x="942" y="1652"/>
                  </a:lnTo>
                  <a:lnTo>
                    <a:pt x="943" y="1685"/>
                  </a:lnTo>
                  <a:lnTo>
                    <a:pt x="944" y="1718"/>
                  </a:lnTo>
                  <a:lnTo>
                    <a:pt x="945" y="1750"/>
                  </a:lnTo>
                  <a:lnTo>
                    <a:pt x="946" y="1782"/>
                  </a:lnTo>
                  <a:lnTo>
                    <a:pt x="946" y="1814"/>
                  </a:lnTo>
                  <a:lnTo>
                    <a:pt x="946" y="1845"/>
                  </a:lnTo>
                  <a:lnTo>
                    <a:pt x="947" y="1876"/>
                  </a:lnTo>
                  <a:lnTo>
                    <a:pt x="946" y="1876"/>
                  </a:lnTo>
                  <a:lnTo>
                    <a:pt x="946" y="1945"/>
                  </a:lnTo>
                  <a:lnTo>
                    <a:pt x="944" y="2013"/>
                  </a:lnTo>
                  <a:lnTo>
                    <a:pt x="942" y="2080"/>
                  </a:lnTo>
                  <a:lnTo>
                    <a:pt x="939" y="2146"/>
                  </a:lnTo>
                  <a:lnTo>
                    <a:pt x="935" y="2211"/>
                  </a:lnTo>
                  <a:lnTo>
                    <a:pt x="931" y="2274"/>
                  </a:lnTo>
                  <a:lnTo>
                    <a:pt x="925" y="2337"/>
                  </a:lnTo>
                  <a:lnTo>
                    <a:pt x="919" y="2398"/>
                  </a:lnTo>
                  <a:lnTo>
                    <a:pt x="911" y="2456"/>
                  </a:lnTo>
                  <a:lnTo>
                    <a:pt x="904" y="2514"/>
                  </a:lnTo>
                  <a:lnTo>
                    <a:pt x="896" y="2571"/>
                  </a:lnTo>
                  <a:lnTo>
                    <a:pt x="887" y="2624"/>
                  </a:lnTo>
                  <a:lnTo>
                    <a:pt x="876" y="2677"/>
                  </a:lnTo>
                  <a:lnTo>
                    <a:pt x="866" y="2728"/>
                  </a:lnTo>
                  <a:lnTo>
                    <a:pt x="856" y="2776"/>
                  </a:lnTo>
                  <a:lnTo>
                    <a:pt x="843" y="2822"/>
                  </a:lnTo>
                  <a:lnTo>
                    <a:pt x="830" y="2873"/>
                  </a:lnTo>
                  <a:lnTo>
                    <a:pt x="815" y="2920"/>
                  </a:lnTo>
                  <a:lnTo>
                    <a:pt x="799" y="2966"/>
                  </a:lnTo>
                  <a:lnTo>
                    <a:pt x="783" y="3008"/>
                  </a:lnTo>
                  <a:lnTo>
                    <a:pt x="765" y="3047"/>
                  </a:lnTo>
                  <a:lnTo>
                    <a:pt x="747" y="3084"/>
                  </a:lnTo>
                  <a:lnTo>
                    <a:pt x="737" y="3102"/>
                  </a:lnTo>
                  <a:lnTo>
                    <a:pt x="728" y="3118"/>
                  </a:lnTo>
                  <a:lnTo>
                    <a:pt x="718" y="3134"/>
                  </a:lnTo>
                  <a:lnTo>
                    <a:pt x="709" y="3148"/>
                  </a:lnTo>
                  <a:lnTo>
                    <a:pt x="697" y="3163"/>
                  </a:lnTo>
                  <a:lnTo>
                    <a:pt x="687" y="3176"/>
                  </a:lnTo>
                  <a:lnTo>
                    <a:pt x="677" y="3189"/>
                  </a:lnTo>
                  <a:lnTo>
                    <a:pt x="666" y="3201"/>
                  </a:lnTo>
                  <a:lnTo>
                    <a:pt x="655" y="3212"/>
                  </a:lnTo>
                  <a:lnTo>
                    <a:pt x="644" y="3221"/>
                  </a:lnTo>
                  <a:lnTo>
                    <a:pt x="632" y="3231"/>
                  </a:lnTo>
                  <a:lnTo>
                    <a:pt x="621" y="3239"/>
                  </a:lnTo>
                  <a:lnTo>
                    <a:pt x="610" y="3247"/>
                  </a:lnTo>
                  <a:lnTo>
                    <a:pt x="597" y="3253"/>
                  </a:lnTo>
                  <a:lnTo>
                    <a:pt x="586" y="3259"/>
                  </a:lnTo>
                  <a:lnTo>
                    <a:pt x="574" y="3264"/>
                  </a:lnTo>
                  <a:lnTo>
                    <a:pt x="561" y="3268"/>
                  </a:lnTo>
                  <a:lnTo>
                    <a:pt x="549" y="3271"/>
                  </a:lnTo>
                  <a:lnTo>
                    <a:pt x="537" y="3273"/>
                  </a:lnTo>
                  <a:lnTo>
                    <a:pt x="524" y="3274"/>
                  </a:lnTo>
                  <a:lnTo>
                    <a:pt x="521" y="3274"/>
                  </a:lnTo>
                  <a:lnTo>
                    <a:pt x="517" y="3274"/>
                  </a:lnTo>
                  <a:lnTo>
                    <a:pt x="516" y="3274"/>
                  </a:lnTo>
                  <a:lnTo>
                    <a:pt x="515" y="3274"/>
                  </a:lnTo>
                  <a:lnTo>
                    <a:pt x="509" y="3274"/>
                  </a:lnTo>
                  <a:lnTo>
                    <a:pt x="504" y="3274"/>
                  </a:lnTo>
                  <a:lnTo>
                    <a:pt x="490" y="3272"/>
                  </a:lnTo>
                  <a:lnTo>
                    <a:pt x="477" y="3270"/>
                  </a:lnTo>
                  <a:lnTo>
                    <a:pt x="463" y="3266"/>
                  </a:lnTo>
                  <a:lnTo>
                    <a:pt x="450" y="3262"/>
                  </a:lnTo>
                  <a:lnTo>
                    <a:pt x="438" y="3255"/>
                  </a:lnTo>
                  <a:lnTo>
                    <a:pt x="424" y="3249"/>
                  </a:lnTo>
                  <a:lnTo>
                    <a:pt x="412" y="3242"/>
                  </a:lnTo>
                  <a:lnTo>
                    <a:pt x="400" y="3233"/>
                  </a:lnTo>
                  <a:lnTo>
                    <a:pt x="386" y="3223"/>
                  </a:lnTo>
                  <a:lnTo>
                    <a:pt x="374" y="3213"/>
                  </a:lnTo>
                  <a:lnTo>
                    <a:pt x="361" y="3202"/>
                  </a:lnTo>
                  <a:lnTo>
                    <a:pt x="349" y="3189"/>
                  </a:lnTo>
                  <a:lnTo>
                    <a:pt x="338" y="3176"/>
                  </a:lnTo>
                  <a:lnTo>
                    <a:pt x="325" y="3162"/>
                  </a:lnTo>
                  <a:lnTo>
                    <a:pt x="314" y="3147"/>
                  </a:lnTo>
                  <a:lnTo>
                    <a:pt x="303" y="3131"/>
                  </a:lnTo>
                  <a:lnTo>
                    <a:pt x="290" y="3114"/>
                  </a:lnTo>
                  <a:lnTo>
                    <a:pt x="280" y="3097"/>
                  </a:lnTo>
                  <a:lnTo>
                    <a:pt x="269" y="3078"/>
                  </a:lnTo>
                  <a:lnTo>
                    <a:pt x="257" y="3058"/>
                  </a:lnTo>
                  <a:lnTo>
                    <a:pt x="247" y="3038"/>
                  </a:lnTo>
                  <a:lnTo>
                    <a:pt x="236" y="3017"/>
                  </a:lnTo>
                  <a:lnTo>
                    <a:pt x="225" y="2996"/>
                  </a:lnTo>
                  <a:lnTo>
                    <a:pt x="216" y="2973"/>
                  </a:lnTo>
                  <a:lnTo>
                    <a:pt x="206" y="2949"/>
                  </a:lnTo>
                  <a:lnTo>
                    <a:pt x="196" y="2925"/>
                  </a:lnTo>
                  <a:lnTo>
                    <a:pt x="186" y="2901"/>
                  </a:lnTo>
                  <a:lnTo>
                    <a:pt x="177" y="2875"/>
                  </a:lnTo>
                  <a:lnTo>
                    <a:pt x="160" y="2822"/>
                  </a:lnTo>
                  <a:lnTo>
                    <a:pt x="142" y="2766"/>
                  </a:lnTo>
                  <a:lnTo>
                    <a:pt x="128" y="2712"/>
                  </a:lnTo>
                  <a:lnTo>
                    <a:pt x="113" y="2655"/>
                  </a:lnTo>
                  <a:lnTo>
                    <a:pt x="100" y="2597"/>
                  </a:lnTo>
                  <a:lnTo>
                    <a:pt x="86" y="2535"/>
                  </a:lnTo>
                  <a:lnTo>
                    <a:pt x="75" y="2472"/>
                  </a:lnTo>
                  <a:lnTo>
                    <a:pt x="64" y="2407"/>
                  </a:lnTo>
                  <a:lnTo>
                    <a:pt x="53" y="2339"/>
                  </a:lnTo>
                  <a:lnTo>
                    <a:pt x="44" y="2270"/>
                  </a:lnTo>
                  <a:lnTo>
                    <a:pt x="36" y="2200"/>
                  </a:lnTo>
                  <a:lnTo>
                    <a:pt x="28" y="2127"/>
                  </a:lnTo>
                  <a:lnTo>
                    <a:pt x="22" y="2052"/>
                  </a:lnTo>
                  <a:lnTo>
                    <a:pt x="16" y="1977"/>
                  </a:lnTo>
                  <a:lnTo>
                    <a:pt x="12" y="1901"/>
                  </a:lnTo>
                  <a:lnTo>
                    <a:pt x="9" y="1822"/>
                  </a:lnTo>
                  <a:lnTo>
                    <a:pt x="7" y="1743"/>
                  </a:lnTo>
                  <a:lnTo>
                    <a:pt x="7" y="1663"/>
                  </a:lnTo>
                  <a:lnTo>
                    <a:pt x="7" y="1662"/>
                  </a:lnTo>
                  <a:lnTo>
                    <a:pt x="6" y="1662"/>
                  </a:lnTo>
                  <a:lnTo>
                    <a:pt x="6" y="1659"/>
                  </a:lnTo>
                  <a:lnTo>
                    <a:pt x="6" y="1657"/>
                  </a:lnTo>
                  <a:lnTo>
                    <a:pt x="5" y="1623"/>
                  </a:lnTo>
                  <a:lnTo>
                    <a:pt x="3" y="1590"/>
                  </a:lnTo>
                  <a:lnTo>
                    <a:pt x="2" y="1557"/>
                  </a:lnTo>
                  <a:lnTo>
                    <a:pt x="1" y="1524"/>
                  </a:lnTo>
                  <a:lnTo>
                    <a:pt x="1" y="1492"/>
                  </a:lnTo>
                  <a:lnTo>
                    <a:pt x="0" y="1460"/>
                  </a:lnTo>
                  <a:lnTo>
                    <a:pt x="0" y="1428"/>
                  </a:lnTo>
                  <a:lnTo>
                    <a:pt x="0" y="1397"/>
                  </a:lnTo>
                  <a:lnTo>
                    <a:pt x="0" y="1328"/>
                  </a:lnTo>
                  <a:lnTo>
                    <a:pt x="2" y="1261"/>
                  </a:lnTo>
                  <a:lnTo>
                    <a:pt x="4" y="1194"/>
                  </a:lnTo>
                  <a:lnTo>
                    <a:pt x="7" y="1128"/>
                  </a:lnTo>
                  <a:lnTo>
                    <a:pt x="10" y="1063"/>
                  </a:lnTo>
                  <a:lnTo>
                    <a:pt x="15" y="999"/>
                  </a:lnTo>
                  <a:lnTo>
                    <a:pt x="22" y="937"/>
                  </a:lnTo>
                  <a:lnTo>
                    <a:pt x="28" y="876"/>
                  </a:lnTo>
                  <a:lnTo>
                    <a:pt x="35" y="817"/>
                  </a:lnTo>
                  <a:lnTo>
                    <a:pt x="42" y="760"/>
                  </a:lnTo>
                  <a:lnTo>
                    <a:pt x="50" y="704"/>
                  </a:lnTo>
                  <a:lnTo>
                    <a:pt x="60" y="649"/>
                  </a:lnTo>
                  <a:lnTo>
                    <a:pt x="70" y="597"/>
                  </a:lnTo>
                  <a:lnTo>
                    <a:pt x="80" y="546"/>
                  </a:lnTo>
                  <a:lnTo>
                    <a:pt x="92" y="498"/>
                  </a:lnTo>
                  <a:lnTo>
                    <a:pt x="103" y="450"/>
                  </a:lnTo>
                  <a:lnTo>
                    <a:pt x="116" y="401"/>
                  </a:lnTo>
                  <a:lnTo>
                    <a:pt x="132" y="354"/>
                  </a:lnTo>
                  <a:lnTo>
                    <a:pt x="147" y="308"/>
                  </a:lnTo>
                  <a:lnTo>
                    <a:pt x="164" y="266"/>
                  </a:lnTo>
                  <a:lnTo>
                    <a:pt x="172" y="246"/>
                  </a:lnTo>
                  <a:lnTo>
                    <a:pt x="181" y="227"/>
                  </a:lnTo>
                  <a:lnTo>
                    <a:pt x="190" y="208"/>
                  </a:lnTo>
                  <a:lnTo>
                    <a:pt x="200" y="190"/>
                  </a:lnTo>
                  <a:lnTo>
                    <a:pt x="209" y="173"/>
                  </a:lnTo>
                  <a:lnTo>
                    <a:pt x="218" y="157"/>
                  </a:lnTo>
                  <a:lnTo>
                    <a:pt x="229" y="141"/>
                  </a:lnTo>
                  <a:lnTo>
                    <a:pt x="239" y="126"/>
                  </a:lnTo>
                  <a:lnTo>
                    <a:pt x="248" y="111"/>
                  </a:lnTo>
                  <a:lnTo>
                    <a:pt x="259" y="98"/>
                  </a:lnTo>
                  <a:lnTo>
                    <a:pt x="270" y="86"/>
                  </a:lnTo>
                  <a:lnTo>
                    <a:pt x="280" y="74"/>
                  </a:lnTo>
                  <a:lnTo>
                    <a:pt x="291" y="63"/>
                  </a:lnTo>
                  <a:lnTo>
                    <a:pt x="303" y="53"/>
                  </a:lnTo>
                  <a:lnTo>
                    <a:pt x="314" y="43"/>
                  </a:lnTo>
                  <a:lnTo>
                    <a:pt x="325" y="35"/>
                  </a:lnTo>
                  <a:lnTo>
                    <a:pt x="337" y="28"/>
                  </a:lnTo>
                  <a:lnTo>
                    <a:pt x="348" y="21"/>
                  </a:lnTo>
                  <a:lnTo>
                    <a:pt x="360" y="15"/>
                  </a:lnTo>
                  <a:lnTo>
                    <a:pt x="373" y="10"/>
                  </a:lnTo>
                  <a:lnTo>
                    <a:pt x="385" y="6"/>
                  </a:lnTo>
                  <a:lnTo>
                    <a:pt x="397" y="3"/>
                  </a:lnTo>
                  <a:lnTo>
                    <a:pt x="410" y="1"/>
                  </a:lnTo>
                  <a:lnTo>
                    <a:pt x="422" y="0"/>
                  </a:lnTo>
                  <a:lnTo>
                    <a:pt x="428" y="0"/>
                  </a:lnTo>
                  <a:lnTo>
                    <a:pt x="430" y="0"/>
                  </a:lnTo>
                  <a:close/>
                  <a:moveTo>
                    <a:pt x="431" y="171"/>
                  </a:moveTo>
                  <a:lnTo>
                    <a:pt x="430" y="171"/>
                  </a:lnTo>
                  <a:lnTo>
                    <a:pt x="425" y="172"/>
                  </a:lnTo>
                  <a:lnTo>
                    <a:pt x="420" y="173"/>
                  </a:lnTo>
                  <a:lnTo>
                    <a:pt x="415" y="175"/>
                  </a:lnTo>
                  <a:lnTo>
                    <a:pt x="410" y="178"/>
                  </a:lnTo>
                  <a:lnTo>
                    <a:pt x="401" y="186"/>
                  </a:lnTo>
                  <a:lnTo>
                    <a:pt x="390" y="195"/>
                  </a:lnTo>
                  <a:lnTo>
                    <a:pt x="380" y="207"/>
                  </a:lnTo>
                  <a:lnTo>
                    <a:pt x="370" y="223"/>
                  </a:lnTo>
                  <a:lnTo>
                    <a:pt x="359" y="240"/>
                  </a:lnTo>
                  <a:lnTo>
                    <a:pt x="349" y="260"/>
                  </a:lnTo>
                  <a:lnTo>
                    <a:pt x="339" y="281"/>
                  </a:lnTo>
                  <a:lnTo>
                    <a:pt x="328" y="306"/>
                  </a:lnTo>
                  <a:lnTo>
                    <a:pt x="318" y="333"/>
                  </a:lnTo>
                  <a:lnTo>
                    <a:pt x="308" y="361"/>
                  </a:lnTo>
                  <a:lnTo>
                    <a:pt x="298" y="392"/>
                  </a:lnTo>
                  <a:lnTo>
                    <a:pt x="287" y="424"/>
                  </a:lnTo>
                  <a:lnTo>
                    <a:pt x="278" y="459"/>
                  </a:lnTo>
                  <a:lnTo>
                    <a:pt x="268" y="495"/>
                  </a:lnTo>
                  <a:lnTo>
                    <a:pt x="257" y="538"/>
                  </a:lnTo>
                  <a:lnTo>
                    <a:pt x="246" y="584"/>
                  </a:lnTo>
                  <a:lnTo>
                    <a:pt x="237" y="632"/>
                  </a:lnTo>
                  <a:lnTo>
                    <a:pt x="228" y="682"/>
                  </a:lnTo>
                  <a:lnTo>
                    <a:pt x="219" y="734"/>
                  </a:lnTo>
                  <a:lnTo>
                    <a:pt x="211" y="786"/>
                  </a:lnTo>
                  <a:lnTo>
                    <a:pt x="204" y="842"/>
                  </a:lnTo>
                  <a:lnTo>
                    <a:pt x="197" y="898"/>
                  </a:lnTo>
                  <a:lnTo>
                    <a:pt x="191" y="957"/>
                  </a:lnTo>
                  <a:lnTo>
                    <a:pt x="186" y="1015"/>
                  </a:lnTo>
                  <a:lnTo>
                    <a:pt x="181" y="1076"/>
                  </a:lnTo>
                  <a:lnTo>
                    <a:pt x="178" y="1138"/>
                  </a:lnTo>
                  <a:lnTo>
                    <a:pt x="175" y="1201"/>
                  </a:lnTo>
                  <a:lnTo>
                    <a:pt x="173" y="1266"/>
                  </a:lnTo>
                  <a:lnTo>
                    <a:pt x="171" y="1331"/>
                  </a:lnTo>
                  <a:lnTo>
                    <a:pt x="171" y="1397"/>
                  </a:lnTo>
                  <a:lnTo>
                    <a:pt x="171" y="1429"/>
                  </a:lnTo>
                  <a:lnTo>
                    <a:pt x="171" y="1461"/>
                  </a:lnTo>
                  <a:lnTo>
                    <a:pt x="172" y="1492"/>
                  </a:lnTo>
                  <a:lnTo>
                    <a:pt x="173" y="1524"/>
                  </a:lnTo>
                  <a:lnTo>
                    <a:pt x="173" y="1554"/>
                  </a:lnTo>
                  <a:lnTo>
                    <a:pt x="174" y="1586"/>
                  </a:lnTo>
                  <a:lnTo>
                    <a:pt x="175" y="1617"/>
                  </a:lnTo>
                  <a:lnTo>
                    <a:pt x="177" y="1648"/>
                  </a:lnTo>
                  <a:lnTo>
                    <a:pt x="178" y="1659"/>
                  </a:lnTo>
                  <a:lnTo>
                    <a:pt x="178" y="1662"/>
                  </a:lnTo>
                  <a:lnTo>
                    <a:pt x="177" y="1662"/>
                  </a:lnTo>
                  <a:lnTo>
                    <a:pt x="178" y="1740"/>
                  </a:lnTo>
                  <a:lnTo>
                    <a:pt x="179" y="1816"/>
                  </a:lnTo>
                  <a:lnTo>
                    <a:pt x="182" y="1892"/>
                  </a:lnTo>
                  <a:lnTo>
                    <a:pt x="186" y="1965"/>
                  </a:lnTo>
                  <a:lnTo>
                    <a:pt x="191" y="2037"/>
                  </a:lnTo>
                  <a:lnTo>
                    <a:pt x="198" y="2108"/>
                  </a:lnTo>
                  <a:lnTo>
                    <a:pt x="205" y="2178"/>
                  </a:lnTo>
                  <a:lnTo>
                    <a:pt x="213" y="2246"/>
                  </a:lnTo>
                  <a:lnTo>
                    <a:pt x="221" y="2312"/>
                  </a:lnTo>
                  <a:lnTo>
                    <a:pt x="232" y="2376"/>
                  </a:lnTo>
                  <a:lnTo>
                    <a:pt x="242" y="2439"/>
                  </a:lnTo>
                  <a:lnTo>
                    <a:pt x="253" y="2499"/>
                  </a:lnTo>
                  <a:lnTo>
                    <a:pt x="266" y="2557"/>
                  </a:lnTo>
                  <a:lnTo>
                    <a:pt x="278" y="2613"/>
                  </a:lnTo>
                  <a:lnTo>
                    <a:pt x="292" y="2668"/>
                  </a:lnTo>
                  <a:lnTo>
                    <a:pt x="306" y="2719"/>
                  </a:lnTo>
                  <a:lnTo>
                    <a:pt x="319" y="2762"/>
                  </a:lnTo>
                  <a:lnTo>
                    <a:pt x="332" y="2802"/>
                  </a:lnTo>
                  <a:lnTo>
                    <a:pt x="344" y="2840"/>
                  </a:lnTo>
                  <a:lnTo>
                    <a:pt x="357" y="2876"/>
                  </a:lnTo>
                  <a:lnTo>
                    <a:pt x="371" y="2910"/>
                  </a:lnTo>
                  <a:lnTo>
                    <a:pt x="384" y="2941"/>
                  </a:lnTo>
                  <a:lnTo>
                    <a:pt x="396" y="2970"/>
                  </a:lnTo>
                  <a:lnTo>
                    <a:pt x="410" y="2996"/>
                  </a:lnTo>
                  <a:lnTo>
                    <a:pt x="423" y="3019"/>
                  </a:lnTo>
                  <a:lnTo>
                    <a:pt x="437" y="3040"/>
                  </a:lnTo>
                  <a:lnTo>
                    <a:pt x="449" y="3058"/>
                  </a:lnTo>
                  <a:lnTo>
                    <a:pt x="462" y="3073"/>
                  </a:lnTo>
                  <a:lnTo>
                    <a:pt x="469" y="3079"/>
                  </a:lnTo>
                  <a:lnTo>
                    <a:pt x="475" y="3085"/>
                  </a:lnTo>
                  <a:lnTo>
                    <a:pt x="481" y="3090"/>
                  </a:lnTo>
                  <a:lnTo>
                    <a:pt x="487" y="3095"/>
                  </a:lnTo>
                  <a:lnTo>
                    <a:pt x="493" y="3098"/>
                  </a:lnTo>
                  <a:lnTo>
                    <a:pt x="499" y="3100"/>
                  </a:lnTo>
                  <a:lnTo>
                    <a:pt x="506" y="3102"/>
                  </a:lnTo>
                  <a:lnTo>
                    <a:pt x="512" y="3103"/>
                  </a:lnTo>
                  <a:lnTo>
                    <a:pt x="515" y="3103"/>
                  </a:lnTo>
                  <a:lnTo>
                    <a:pt x="516" y="3103"/>
                  </a:lnTo>
                  <a:lnTo>
                    <a:pt x="521" y="3103"/>
                  </a:lnTo>
                  <a:lnTo>
                    <a:pt x="526" y="3101"/>
                  </a:lnTo>
                  <a:lnTo>
                    <a:pt x="531" y="3100"/>
                  </a:lnTo>
                  <a:lnTo>
                    <a:pt x="537" y="3097"/>
                  </a:lnTo>
                  <a:lnTo>
                    <a:pt x="541" y="3094"/>
                  </a:lnTo>
                  <a:lnTo>
                    <a:pt x="546" y="3089"/>
                  </a:lnTo>
                  <a:lnTo>
                    <a:pt x="551" y="3084"/>
                  </a:lnTo>
                  <a:lnTo>
                    <a:pt x="556" y="3079"/>
                  </a:lnTo>
                  <a:lnTo>
                    <a:pt x="566" y="3067"/>
                  </a:lnTo>
                  <a:lnTo>
                    <a:pt x="577" y="3052"/>
                  </a:lnTo>
                  <a:lnTo>
                    <a:pt x="587" y="3035"/>
                  </a:lnTo>
                  <a:lnTo>
                    <a:pt x="597" y="3015"/>
                  </a:lnTo>
                  <a:lnTo>
                    <a:pt x="608" y="2992"/>
                  </a:lnTo>
                  <a:lnTo>
                    <a:pt x="618" y="2969"/>
                  </a:lnTo>
                  <a:lnTo>
                    <a:pt x="628" y="2942"/>
                  </a:lnTo>
                  <a:lnTo>
                    <a:pt x="638" y="2913"/>
                  </a:lnTo>
                  <a:lnTo>
                    <a:pt x="649" y="2883"/>
                  </a:lnTo>
                  <a:lnTo>
                    <a:pt x="659" y="2850"/>
                  </a:lnTo>
                  <a:lnTo>
                    <a:pt x="668" y="2816"/>
                  </a:lnTo>
                  <a:lnTo>
                    <a:pt x="679" y="2779"/>
                  </a:lnTo>
                  <a:lnTo>
                    <a:pt x="690" y="2735"/>
                  </a:lnTo>
                  <a:lnTo>
                    <a:pt x="700" y="2689"/>
                  </a:lnTo>
                  <a:lnTo>
                    <a:pt x="710" y="2641"/>
                  </a:lnTo>
                  <a:lnTo>
                    <a:pt x="719" y="2591"/>
                  </a:lnTo>
                  <a:lnTo>
                    <a:pt x="728" y="2540"/>
                  </a:lnTo>
                  <a:lnTo>
                    <a:pt x="735" y="2486"/>
                  </a:lnTo>
                  <a:lnTo>
                    <a:pt x="744" y="2432"/>
                  </a:lnTo>
                  <a:lnTo>
                    <a:pt x="750" y="2375"/>
                  </a:lnTo>
                  <a:lnTo>
                    <a:pt x="756" y="2317"/>
                  </a:lnTo>
                  <a:lnTo>
                    <a:pt x="761" y="2258"/>
                  </a:lnTo>
                  <a:lnTo>
                    <a:pt x="765" y="2197"/>
                  </a:lnTo>
                  <a:lnTo>
                    <a:pt x="769" y="2135"/>
                  </a:lnTo>
                  <a:lnTo>
                    <a:pt x="772" y="2072"/>
                  </a:lnTo>
                  <a:lnTo>
                    <a:pt x="774" y="2007"/>
                  </a:lnTo>
                  <a:lnTo>
                    <a:pt x="775" y="1942"/>
                  </a:lnTo>
                  <a:lnTo>
                    <a:pt x="777" y="1876"/>
                  </a:lnTo>
                  <a:lnTo>
                    <a:pt x="775" y="1876"/>
                  </a:lnTo>
                  <a:lnTo>
                    <a:pt x="775" y="1844"/>
                  </a:lnTo>
                  <a:lnTo>
                    <a:pt x="775" y="1812"/>
                  </a:lnTo>
                  <a:lnTo>
                    <a:pt x="774" y="1781"/>
                  </a:lnTo>
                  <a:lnTo>
                    <a:pt x="774" y="1750"/>
                  </a:lnTo>
                  <a:lnTo>
                    <a:pt x="773" y="1718"/>
                  </a:lnTo>
                  <a:lnTo>
                    <a:pt x="772" y="1687"/>
                  </a:lnTo>
                  <a:lnTo>
                    <a:pt x="771" y="1657"/>
                  </a:lnTo>
                  <a:lnTo>
                    <a:pt x="769" y="1626"/>
                  </a:lnTo>
                  <a:lnTo>
                    <a:pt x="769" y="1620"/>
                  </a:lnTo>
                  <a:lnTo>
                    <a:pt x="769" y="1616"/>
                  </a:lnTo>
                  <a:lnTo>
                    <a:pt x="769" y="1612"/>
                  </a:lnTo>
                  <a:lnTo>
                    <a:pt x="769" y="1535"/>
                  </a:lnTo>
                  <a:lnTo>
                    <a:pt x="767" y="1459"/>
                  </a:lnTo>
                  <a:lnTo>
                    <a:pt x="764" y="1383"/>
                  </a:lnTo>
                  <a:lnTo>
                    <a:pt x="760" y="1309"/>
                  </a:lnTo>
                  <a:lnTo>
                    <a:pt x="755" y="1237"/>
                  </a:lnTo>
                  <a:lnTo>
                    <a:pt x="749" y="1166"/>
                  </a:lnTo>
                  <a:lnTo>
                    <a:pt x="741" y="1097"/>
                  </a:lnTo>
                  <a:lnTo>
                    <a:pt x="734" y="1029"/>
                  </a:lnTo>
                  <a:lnTo>
                    <a:pt x="725" y="963"/>
                  </a:lnTo>
                  <a:lnTo>
                    <a:pt x="715" y="898"/>
                  </a:lnTo>
                  <a:lnTo>
                    <a:pt x="704" y="836"/>
                  </a:lnTo>
                  <a:lnTo>
                    <a:pt x="693" y="775"/>
                  </a:lnTo>
                  <a:lnTo>
                    <a:pt x="681" y="717"/>
                  </a:lnTo>
                  <a:lnTo>
                    <a:pt x="668" y="661"/>
                  </a:lnTo>
                  <a:lnTo>
                    <a:pt x="655" y="607"/>
                  </a:lnTo>
                  <a:lnTo>
                    <a:pt x="641" y="556"/>
                  </a:lnTo>
                  <a:lnTo>
                    <a:pt x="628" y="513"/>
                  </a:lnTo>
                  <a:lnTo>
                    <a:pt x="615" y="473"/>
                  </a:lnTo>
                  <a:lnTo>
                    <a:pt x="602" y="435"/>
                  </a:lnTo>
                  <a:lnTo>
                    <a:pt x="589" y="399"/>
                  </a:lnTo>
                  <a:lnTo>
                    <a:pt x="576" y="365"/>
                  </a:lnTo>
                  <a:lnTo>
                    <a:pt x="563" y="334"/>
                  </a:lnTo>
                  <a:lnTo>
                    <a:pt x="550" y="305"/>
                  </a:lnTo>
                  <a:lnTo>
                    <a:pt x="537" y="279"/>
                  </a:lnTo>
                  <a:lnTo>
                    <a:pt x="523" y="256"/>
                  </a:lnTo>
                  <a:lnTo>
                    <a:pt x="511" y="235"/>
                  </a:lnTo>
                  <a:lnTo>
                    <a:pt x="497" y="216"/>
                  </a:lnTo>
                  <a:lnTo>
                    <a:pt x="485" y="202"/>
                  </a:lnTo>
                  <a:lnTo>
                    <a:pt x="473" y="190"/>
                  </a:lnTo>
                  <a:lnTo>
                    <a:pt x="459" y="180"/>
                  </a:lnTo>
                  <a:lnTo>
                    <a:pt x="453" y="177"/>
                  </a:lnTo>
                  <a:lnTo>
                    <a:pt x="448" y="174"/>
                  </a:lnTo>
                  <a:lnTo>
                    <a:pt x="442" y="172"/>
                  </a:lnTo>
                  <a:lnTo>
                    <a:pt x="436" y="171"/>
                  </a:lnTo>
                  <a:lnTo>
                    <a:pt x="431" y="17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5" name="Freeform 41"/>
            <p:cNvSpPr>
              <a:spLocks noChangeArrowheads="1"/>
            </p:cNvSpPr>
            <p:nvPr/>
          </p:nvSpPr>
          <p:spPr bwMode="auto">
            <a:xfrm>
              <a:off x="7475538" y="2085881"/>
              <a:ext cx="352425" cy="1719299"/>
            </a:xfrm>
            <a:custGeom>
              <a:avLst/>
              <a:gdLst>
                <a:gd name="T0" fmla="*/ 386 w 776"/>
                <a:gd name="T1" fmla="*/ 8 h 3102"/>
                <a:gd name="T2" fmla="*/ 444 w 776"/>
                <a:gd name="T3" fmla="*/ 48 h 3102"/>
                <a:gd name="T4" fmla="*/ 501 w 776"/>
                <a:gd name="T5" fmla="*/ 119 h 3102"/>
                <a:gd name="T6" fmla="*/ 556 w 776"/>
                <a:gd name="T7" fmla="*/ 220 h 3102"/>
                <a:gd name="T8" fmla="*/ 606 w 776"/>
                <a:gd name="T9" fmla="*/ 348 h 3102"/>
                <a:gd name="T10" fmla="*/ 652 w 776"/>
                <a:gd name="T11" fmla="*/ 499 h 3102"/>
                <a:gd name="T12" fmla="*/ 692 w 776"/>
                <a:gd name="T13" fmla="*/ 672 h 3102"/>
                <a:gd name="T14" fmla="*/ 724 w 776"/>
                <a:gd name="T15" fmla="*/ 864 h 3102"/>
                <a:gd name="T16" fmla="*/ 749 w 776"/>
                <a:gd name="T17" fmla="*/ 1073 h 3102"/>
                <a:gd name="T18" fmla="*/ 765 w 776"/>
                <a:gd name="T19" fmla="*/ 1296 h 3102"/>
                <a:gd name="T20" fmla="*/ 770 w 776"/>
                <a:gd name="T21" fmla="*/ 1530 h 3102"/>
                <a:gd name="T22" fmla="*/ 776 w 776"/>
                <a:gd name="T23" fmla="*/ 1765 h 3102"/>
                <a:gd name="T24" fmla="*/ 772 w 776"/>
                <a:gd name="T25" fmla="*/ 1991 h 3102"/>
                <a:gd name="T26" fmla="*/ 758 w 776"/>
                <a:gd name="T27" fmla="*/ 2203 h 3102"/>
                <a:gd name="T28" fmla="*/ 737 w 776"/>
                <a:gd name="T29" fmla="*/ 2401 h 3102"/>
                <a:gd name="T30" fmla="*/ 707 w 776"/>
                <a:gd name="T31" fmla="*/ 2580 h 3102"/>
                <a:gd name="T32" fmla="*/ 670 w 776"/>
                <a:gd name="T33" fmla="*/ 2737 h 3102"/>
                <a:gd name="T34" fmla="*/ 627 w 776"/>
                <a:gd name="T35" fmla="*/ 2870 h 3102"/>
                <a:gd name="T36" fmla="*/ 579 w 776"/>
                <a:gd name="T37" fmla="*/ 2977 h 3102"/>
                <a:gd name="T38" fmla="*/ 526 w 776"/>
                <a:gd name="T39" fmla="*/ 3052 h 3102"/>
                <a:gd name="T40" fmla="*/ 470 w 776"/>
                <a:gd name="T41" fmla="*/ 3094 h 3102"/>
                <a:gd name="T42" fmla="*/ 410 w 776"/>
                <a:gd name="T43" fmla="*/ 3100 h 3102"/>
                <a:gd name="T44" fmla="*/ 352 w 776"/>
                <a:gd name="T45" fmla="*/ 3071 h 3102"/>
                <a:gd name="T46" fmla="*/ 294 w 776"/>
                <a:gd name="T47" fmla="*/ 3011 h 3102"/>
                <a:gd name="T48" fmla="*/ 238 w 776"/>
                <a:gd name="T49" fmla="*/ 2919 h 3102"/>
                <a:gd name="T50" fmla="*/ 187 w 776"/>
                <a:gd name="T51" fmla="*/ 2800 h 3102"/>
                <a:gd name="T52" fmla="*/ 139 w 776"/>
                <a:gd name="T53" fmla="*/ 2656 h 3102"/>
                <a:gd name="T54" fmla="*/ 97 w 776"/>
                <a:gd name="T55" fmla="*/ 2490 h 3102"/>
                <a:gd name="T56" fmla="*/ 62 w 776"/>
                <a:gd name="T57" fmla="*/ 2304 h 3102"/>
                <a:gd name="T58" fmla="*/ 35 w 776"/>
                <a:gd name="T59" fmla="*/ 2100 h 3102"/>
                <a:gd name="T60" fmla="*/ 17 w 776"/>
                <a:gd name="T61" fmla="*/ 1882 h 3102"/>
                <a:gd name="T62" fmla="*/ 8 w 776"/>
                <a:gd name="T63" fmla="*/ 1652 h 3102"/>
                <a:gd name="T64" fmla="*/ 1 w 776"/>
                <a:gd name="T65" fmla="*/ 1415 h 3102"/>
                <a:gd name="T66" fmla="*/ 1 w 776"/>
                <a:gd name="T67" fmla="*/ 1186 h 3102"/>
                <a:gd name="T68" fmla="*/ 12 w 776"/>
                <a:gd name="T69" fmla="*/ 969 h 3102"/>
                <a:gd name="T70" fmla="*/ 31 w 776"/>
                <a:gd name="T71" fmla="*/ 765 h 3102"/>
                <a:gd name="T72" fmla="*/ 58 w 776"/>
                <a:gd name="T73" fmla="*/ 580 h 3102"/>
                <a:gd name="T74" fmla="*/ 93 w 776"/>
                <a:gd name="T75" fmla="*/ 415 h 3102"/>
                <a:gd name="T76" fmla="*/ 134 w 776"/>
                <a:gd name="T77" fmla="*/ 274 h 3102"/>
                <a:gd name="T78" fmla="*/ 181 w 776"/>
                <a:gd name="T79" fmla="*/ 158 h 3102"/>
                <a:gd name="T80" fmla="*/ 232 w 776"/>
                <a:gd name="T81" fmla="*/ 72 h 3102"/>
                <a:gd name="T82" fmla="*/ 288 w 776"/>
                <a:gd name="T83" fmla="*/ 18 h 3102"/>
                <a:gd name="T84" fmla="*/ 345 w 776"/>
                <a:gd name="T85" fmla="*/ 0 h 3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76" h="3102">
                  <a:moveTo>
                    <a:pt x="345" y="0"/>
                  </a:moveTo>
                  <a:lnTo>
                    <a:pt x="366" y="2"/>
                  </a:lnTo>
                  <a:lnTo>
                    <a:pt x="386" y="8"/>
                  </a:lnTo>
                  <a:lnTo>
                    <a:pt x="405" y="17"/>
                  </a:lnTo>
                  <a:lnTo>
                    <a:pt x="425" y="30"/>
                  </a:lnTo>
                  <a:lnTo>
                    <a:pt x="444" y="48"/>
                  </a:lnTo>
                  <a:lnTo>
                    <a:pt x="464" y="68"/>
                  </a:lnTo>
                  <a:lnTo>
                    <a:pt x="482" y="92"/>
                  </a:lnTo>
                  <a:lnTo>
                    <a:pt x="501" y="119"/>
                  </a:lnTo>
                  <a:lnTo>
                    <a:pt x="520" y="150"/>
                  </a:lnTo>
                  <a:lnTo>
                    <a:pt x="538" y="183"/>
                  </a:lnTo>
                  <a:lnTo>
                    <a:pt x="556" y="220"/>
                  </a:lnTo>
                  <a:lnTo>
                    <a:pt x="573" y="259"/>
                  </a:lnTo>
                  <a:lnTo>
                    <a:pt x="590" y="303"/>
                  </a:lnTo>
                  <a:lnTo>
                    <a:pt x="606" y="348"/>
                  </a:lnTo>
                  <a:lnTo>
                    <a:pt x="623" y="395"/>
                  </a:lnTo>
                  <a:lnTo>
                    <a:pt x="637" y="446"/>
                  </a:lnTo>
                  <a:lnTo>
                    <a:pt x="652" y="499"/>
                  </a:lnTo>
                  <a:lnTo>
                    <a:pt x="666" y="554"/>
                  </a:lnTo>
                  <a:lnTo>
                    <a:pt x="679" y="612"/>
                  </a:lnTo>
                  <a:lnTo>
                    <a:pt x="692" y="672"/>
                  </a:lnTo>
                  <a:lnTo>
                    <a:pt x="703" y="735"/>
                  </a:lnTo>
                  <a:lnTo>
                    <a:pt x="714" y="798"/>
                  </a:lnTo>
                  <a:lnTo>
                    <a:pt x="724" y="864"/>
                  </a:lnTo>
                  <a:lnTo>
                    <a:pt x="734" y="932"/>
                  </a:lnTo>
                  <a:lnTo>
                    <a:pt x="742" y="1001"/>
                  </a:lnTo>
                  <a:lnTo>
                    <a:pt x="749" y="1073"/>
                  </a:lnTo>
                  <a:lnTo>
                    <a:pt x="755" y="1146"/>
                  </a:lnTo>
                  <a:lnTo>
                    <a:pt x="761" y="1220"/>
                  </a:lnTo>
                  <a:lnTo>
                    <a:pt x="765" y="1296"/>
                  </a:lnTo>
                  <a:lnTo>
                    <a:pt x="768" y="1373"/>
                  </a:lnTo>
                  <a:lnTo>
                    <a:pt x="769" y="1451"/>
                  </a:lnTo>
                  <a:lnTo>
                    <a:pt x="770" y="1530"/>
                  </a:lnTo>
                  <a:lnTo>
                    <a:pt x="773" y="1610"/>
                  </a:lnTo>
                  <a:lnTo>
                    <a:pt x="775" y="1688"/>
                  </a:lnTo>
                  <a:lnTo>
                    <a:pt x="776" y="1765"/>
                  </a:lnTo>
                  <a:lnTo>
                    <a:pt x="776" y="1842"/>
                  </a:lnTo>
                  <a:lnTo>
                    <a:pt x="775" y="1917"/>
                  </a:lnTo>
                  <a:lnTo>
                    <a:pt x="772" y="1991"/>
                  </a:lnTo>
                  <a:lnTo>
                    <a:pt x="769" y="2063"/>
                  </a:lnTo>
                  <a:lnTo>
                    <a:pt x="765" y="2134"/>
                  </a:lnTo>
                  <a:lnTo>
                    <a:pt x="758" y="2203"/>
                  </a:lnTo>
                  <a:lnTo>
                    <a:pt x="752" y="2271"/>
                  </a:lnTo>
                  <a:lnTo>
                    <a:pt x="745" y="2337"/>
                  </a:lnTo>
                  <a:lnTo>
                    <a:pt x="737" y="2401"/>
                  </a:lnTo>
                  <a:lnTo>
                    <a:pt x="728" y="2463"/>
                  </a:lnTo>
                  <a:lnTo>
                    <a:pt x="717" y="2523"/>
                  </a:lnTo>
                  <a:lnTo>
                    <a:pt x="707" y="2580"/>
                  </a:lnTo>
                  <a:lnTo>
                    <a:pt x="696" y="2635"/>
                  </a:lnTo>
                  <a:lnTo>
                    <a:pt x="683" y="2688"/>
                  </a:lnTo>
                  <a:lnTo>
                    <a:pt x="670" y="2737"/>
                  </a:lnTo>
                  <a:lnTo>
                    <a:pt x="656" y="2785"/>
                  </a:lnTo>
                  <a:lnTo>
                    <a:pt x="642" y="2829"/>
                  </a:lnTo>
                  <a:lnTo>
                    <a:pt x="627" y="2870"/>
                  </a:lnTo>
                  <a:lnTo>
                    <a:pt x="611" y="2910"/>
                  </a:lnTo>
                  <a:lnTo>
                    <a:pt x="596" y="2945"/>
                  </a:lnTo>
                  <a:lnTo>
                    <a:pt x="579" y="2977"/>
                  </a:lnTo>
                  <a:lnTo>
                    <a:pt x="562" y="3005"/>
                  </a:lnTo>
                  <a:lnTo>
                    <a:pt x="544" y="3030"/>
                  </a:lnTo>
                  <a:lnTo>
                    <a:pt x="526" y="3052"/>
                  </a:lnTo>
                  <a:lnTo>
                    <a:pt x="508" y="3070"/>
                  </a:lnTo>
                  <a:lnTo>
                    <a:pt x="489" y="3084"/>
                  </a:lnTo>
                  <a:lnTo>
                    <a:pt x="470" y="3094"/>
                  </a:lnTo>
                  <a:lnTo>
                    <a:pt x="450" y="3100"/>
                  </a:lnTo>
                  <a:lnTo>
                    <a:pt x="431" y="3102"/>
                  </a:lnTo>
                  <a:lnTo>
                    <a:pt x="410" y="3100"/>
                  </a:lnTo>
                  <a:lnTo>
                    <a:pt x="391" y="3095"/>
                  </a:lnTo>
                  <a:lnTo>
                    <a:pt x="371" y="3085"/>
                  </a:lnTo>
                  <a:lnTo>
                    <a:pt x="352" y="3071"/>
                  </a:lnTo>
                  <a:lnTo>
                    <a:pt x="332" y="3055"/>
                  </a:lnTo>
                  <a:lnTo>
                    <a:pt x="312" y="3034"/>
                  </a:lnTo>
                  <a:lnTo>
                    <a:pt x="294" y="3011"/>
                  </a:lnTo>
                  <a:lnTo>
                    <a:pt x="275" y="2983"/>
                  </a:lnTo>
                  <a:lnTo>
                    <a:pt x="257" y="2953"/>
                  </a:lnTo>
                  <a:lnTo>
                    <a:pt x="238" y="2919"/>
                  </a:lnTo>
                  <a:lnTo>
                    <a:pt x="221" y="2883"/>
                  </a:lnTo>
                  <a:lnTo>
                    <a:pt x="203" y="2843"/>
                  </a:lnTo>
                  <a:lnTo>
                    <a:pt x="187" y="2800"/>
                  </a:lnTo>
                  <a:lnTo>
                    <a:pt x="170" y="2755"/>
                  </a:lnTo>
                  <a:lnTo>
                    <a:pt x="155" y="2708"/>
                  </a:lnTo>
                  <a:lnTo>
                    <a:pt x="139" y="2656"/>
                  </a:lnTo>
                  <a:lnTo>
                    <a:pt x="125" y="2603"/>
                  </a:lnTo>
                  <a:lnTo>
                    <a:pt x="111" y="2548"/>
                  </a:lnTo>
                  <a:lnTo>
                    <a:pt x="97" y="2490"/>
                  </a:lnTo>
                  <a:lnTo>
                    <a:pt x="85" y="2430"/>
                  </a:lnTo>
                  <a:lnTo>
                    <a:pt x="74" y="2368"/>
                  </a:lnTo>
                  <a:lnTo>
                    <a:pt x="62" y="2304"/>
                  </a:lnTo>
                  <a:lnTo>
                    <a:pt x="52" y="2239"/>
                  </a:lnTo>
                  <a:lnTo>
                    <a:pt x="44" y="2170"/>
                  </a:lnTo>
                  <a:lnTo>
                    <a:pt x="35" y="2100"/>
                  </a:lnTo>
                  <a:lnTo>
                    <a:pt x="28" y="2029"/>
                  </a:lnTo>
                  <a:lnTo>
                    <a:pt x="22" y="1957"/>
                  </a:lnTo>
                  <a:lnTo>
                    <a:pt x="17" y="1882"/>
                  </a:lnTo>
                  <a:lnTo>
                    <a:pt x="12" y="1807"/>
                  </a:lnTo>
                  <a:lnTo>
                    <a:pt x="10" y="1729"/>
                  </a:lnTo>
                  <a:lnTo>
                    <a:pt x="8" y="1652"/>
                  </a:lnTo>
                  <a:lnTo>
                    <a:pt x="7" y="1573"/>
                  </a:lnTo>
                  <a:lnTo>
                    <a:pt x="3" y="1493"/>
                  </a:lnTo>
                  <a:lnTo>
                    <a:pt x="1" y="1415"/>
                  </a:lnTo>
                  <a:lnTo>
                    <a:pt x="0" y="1338"/>
                  </a:lnTo>
                  <a:lnTo>
                    <a:pt x="0" y="1261"/>
                  </a:lnTo>
                  <a:lnTo>
                    <a:pt x="1" y="1186"/>
                  </a:lnTo>
                  <a:lnTo>
                    <a:pt x="5" y="1112"/>
                  </a:lnTo>
                  <a:lnTo>
                    <a:pt x="8" y="1039"/>
                  </a:lnTo>
                  <a:lnTo>
                    <a:pt x="12" y="969"/>
                  </a:lnTo>
                  <a:lnTo>
                    <a:pt x="17" y="898"/>
                  </a:lnTo>
                  <a:lnTo>
                    <a:pt x="24" y="831"/>
                  </a:lnTo>
                  <a:lnTo>
                    <a:pt x="31" y="765"/>
                  </a:lnTo>
                  <a:lnTo>
                    <a:pt x="40" y="702"/>
                  </a:lnTo>
                  <a:lnTo>
                    <a:pt x="49" y="640"/>
                  </a:lnTo>
                  <a:lnTo>
                    <a:pt x="58" y="580"/>
                  </a:lnTo>
                  <a:lnTo>
                    <a:pt x="69" y="522"/>
                  </a:lnTo>
                  <a:lnTo>
                    <a:pt x="81" y="468"/>
                  </a:lnTo>
                  <a:lnTo>
                    <a:pt x="93" y="415"/>
                  </a:lnTo>
                  <a:lnTo>
                    <a:pt x="106" y="364"/>
                  </a:lnTo>
                  <a:lnTo>
                    <a:pt x="120" y="318"/>
                  </a:lnTo>
                  <a:lnTo>
                    <a:pt x="134" y="274"/>
                  </a:lnTo>
                  <a:lnTo>
                    <a:pt x="149" y="231"/>
                  </a:lnTo>
                  <a:lnTo>
                    <a:pt x="164" y="193"/>
                  </a:lnTo>
                  <a:lnTo>
                    <a:pt x="181" y="158"/>
                  </a:lnTo>
                  <a:lnTo>
                    <a:pt x="197" y="126"/>
                  </a:lnTo>
                  <a:lnTo>
                    <a:pt x="215" y="97"/>
                  </a:lnTo>
                  <a:lnTo>
                    <a:pt x="232" y="72"/>
                  </a:lnTo>
                  <a:lnTo>
                    <a:pt x="250" y="50"/>
                  </a:lnTo>
                  <a:lnTo>
                    <a:pt x="268" y="33"/>
                  </a:lnTo>
                  <a:lnTo>
                    <a:pt x="288" y="18"/>
                  </a:lnTo>
                  <a:lnTo>
                    <a:pt x="306" y="8"/>
                  </a:lnTo>
                  <a:lnTo>
                    <a:pt x="326" y="2"/>
                  </a:lnTo>
                  <a:lnTo>
                    <a:pt x="34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8" name="Freeform 44"/>
            <p:cNvSpPr>
              <a:spLocks noChangeArrowheads="1"/>
            </p:cNvSpPr>
            <p:nvPr/>
          </p:nvSpPr>
          <p:spPr bwMode="auto">
            <a:xfrm>
              <a:off x="6064250" y="1339740"/>
              <a:ext cx="812800" cy="1233514"/>
            </a:xfrm>
            <a:custGeom>
              <a:avLst/>
              <a:gdLst>
                <a:gd name="T0" fmla="*/ 98 w 1811"/>
                <a:gd name="T1" fmla="*/ 40 h 2222"/>
                <a:gd name="T2" fmla="*/ 194 w 1811"/>
                <a:gd name="T3" fmla="*/ 3 h 2222"/>
                <a:gd name="T4" fmla="*/ 313 w 1811"/>
                <a:gd name="T5" fmla="*/ 11 h 2222"/>
                <a:gd name="T6" fmla="*/ 453 w 1811"/>
                <a:gd name="T7" fmla="*/ 63 h 2222"/>
                <a:gd name="T8" fmla="*/ 608 w 1811"/>
                <a:gd name="T9" fmla="*/ 158 h 2222"/>
                <a:gd name="T10" fmla="*/ 847 w 1811"/>
                <a:gd name="T11" fmla="*/ 355 h 2222"/>
                <a:gd name="T12" fmla="*/ 1100 w 1811"/>
                <a:gd name="T13" fmla="*/ 618 h 2222"/>
                <a:gd name="T14" fmla="*/ 1302 w 1811"/>
                <a:gd name="T15" fmla="*/ 868 h 2222"/>
                <a:gd name="T16" fmla="*/ 1447 w 1811"/>
                <a:gd name="T17" fmla="*/ 1074 h 2222"/>
                <a:gd name="T18" fmla="*/ 1622 w 1811"/>
                <a:gd name="T19" fmla="*/ 1371 h 2222"/>
                <a:gd name="T20" fmla="*/ 1744 w 1811"/>
                <a:gd name="T21" fmla="*/ 1639 h 2222"/>
                <a:gd name="T22" fmla="*/ 1807 w 1811"/>
                <a:gd name="T23" fmla="*/ 1893 h 2222"/>
                <a:gd name="T24" fmla="*/ 1808 w 1811"/>
                <a:gd name="T25" fmla="*/ 1998 h 2222"/>
                <a:gd name="T26" fmla="*/ 1789 w 1811"/>
                <a:gd name="T27" fmla="*/ 2087 h 2222"/>
                <a:gd name="T28" fmla="*/ 1747 w 1811"/>
                <a:gd name="T29" fmla="*/ 2155 h 2222"/>
                <a:gd name="T30" fmla="*/ 1713 w 1811"/>
                <a:gd name="T31" fmla="*/ 2186 h 2222"/>
                <a:gd name="T32" fmla="*/ 1669 w 1811"/>
                <a:gd name="T33" fmla="*/ 2209 h 2222"/>
                <a:gd name="T34" fmla="*/ 1609 w 1811"/>
                <a:gd name="T35" fmla="*/ 2222 h 2222"/>
                <a:gd name="T36" fmla="*/ 1473 w 1811"/>
                <a:gd name="T37" fmla="*/ 2200 h 2222"/>
                <a:gd name="T38" fmla="*/ 1302 w 1811"/>
                <a:gd name="T39" fmla="*/ 2120 h 2222"/>
                <a:gd name="T40" fmla="*/ 1133 w 1811"/>
                <a:gd name="T41" fmla="*/ 2003 h 2222"/>
                <a:gd name="T42" fmla="*/ 948 w 1811"/>
                <a:gd name="T43" fmla="*/ 1848 h 2222"/>
                <a:gd name="T44" fmla="*/ 775 w 1811"/>
                <a:gd name="T45" fmla="*/ 1674 h 2222"/>
                <a:gd name="T46" fmla="*/ 542 w 1811"/>
                <a:gd name="T47" fmla="*/ 1398 h 2222"/>
                <a:gd name="T48" fmla="*/ 436 w 1811"/>
                <a:gd name="T49" fmla="*/ 1255 h 2222"/>
                <a:gd name="T50" fmla="*/ 243 w 1811"/>
                <a:gd name="T51" fmla="*/ 952 h 2222"/>
                <a:gd name="T52" fmla="*/ 102 w 1811"/>
                <a:gd name="T53" fmla="*/ 671 h 2222"/>
                <a:gd name="T54" fmla="*/ 16 w 1811"/>
                <a:gd name="T55" fmla="*/ 411 h 2222"/>
                <a:gd name="T56" fmla="*/ 1 w 1811"/>
                <a:gd name="T57" fmla="*/ 294 h 2222"/>
                <a:gd name="T58" fmla="*/ 6 w 1811"/>
                <a:gd name="T59" fmla="*/ 194 h 2222"/>
                <a:gd name="T60" fmla="*/ 34 w 1811"/>
                <a:gd name="T61" fmla="*/ 113 h 2222"/>
                <a:gd name="T62" fmla="*/ 83 w 1811"/>
                <a:gd name="T63" fmla="*/ 50 h 2222"/>
                <a:gd name="T64" fmla="*/ 232 w 1811"/>
                <a:gd name="T65" fmla="*/ 171 h 2222"/>
                <a:gd name="T66" fmla="*/ 188 w 1811"/>
                <a:gd name="T67" fmla="*/ 187 h 2222"/>
                <a:gd name="T68" fmla="*/ 167 w 1811"/>
                <a:gd name="T69" fmla="*/ 244 h 2222"/>
                <a:gd name="T70" fmla="*/ 181 w 1811"/>
                <a:gd name="T71" fmla="*/ 377 h 2222"/>
                <a:gd name="T72" fmla="*/ 243 w 1811"/>
                <a:gd name="T73" fmla="*/ 566 h 2222"/>
                <a:gd name="T74" fmla="*/ 367 w 1811"/>
                <a:gd name="T75" fmla="*/ 825 h 2222"/>
                <a:gd name="T76" fmla="*/ 543 w 1811"/>
                <a:gd name="T77" fmla="*/ 1109 h 2222"/>
                <a:gd name="T78" fmla="*/ 676 w 1811"/>
                <a:gd name="T79" fmla="*/ 1293 h 2222"/>
                <a:gd name="T80" fmla="*/ 899 w 1811"/>
                <a:gd name="T81" fmla="*/ 1556 h 2222"/>
                <a:gd name="T82" fmla="*/ 1034 w 1811"/>
                <a:gd name="T83" fmla="*/ 1693 h 2222"/>
                <a:gd name="T84" fmla="*/ 1205 w 1811"/>
                <a:gd name="T85" fmla="*/ 1842 h 2222"/>
                <a:gd name="T86" fmla="*/ 1363 w 1811"/>
                <a:gd name="T87" fmla="*/ 1957 h 2222"/>
                <a:gd name="T88" fmla="*/ 1539 w 1811"/>
                <a:gd name="T89" fmla="*/ 2045 h 2222"/>
                <a:gd name="T90" fmla="*/ 1596 w 1811"/>
                <a:gd name="T91" fmla="*/ 2055 h 2222"/>
                <a:gd name="T92" fmla="*/ 1619 w 1811"/>
                <a:gd name="T93" fmla="*/ 2041 h 2222"/>
                <a:gd name="T94" fmla="*/ 1642 w 1811"/>
                <a:gd name="T95" fmla="*/ 1996 h 2222"/>
                <a:gd name="T96" fmla="*/ 1635 w 1811"/>
                <a:gd name="T97" fmla="*/ 1874 h 2222"/>
                <a:gd name="T98" fmla="*/ 1584 w 1811"/>
                <a:gd name="T99" fmla="*/ 1698 h 2222"/>
                <a:gd name="T100" fmla="*/ 1469 w 1811"/>
                <a:gd name="T101" fmla="*/ 1447 h 2222"/>
                <a:gd name="T102" fmla="*/ 1303 w 1811"/>
                <a:gd name="T103" fmla="*/ 1166 h 2222"/>
                <a:gd name="T104" fmla="*/ 1137 w 1811"/>
                <a:gd name="T105" fmla="*/ 933 h 2222"/>
                <a:gd name="T106" fmla="*/ 933 w 1811"/>
                <a:gd name="T107" fmla="*/ 687 h 2222"/>
                <a:gd name="T108" fmla="*/ 695 w 1811"/>
                <a:gd name="T109" fmla="*/ 448 h 2222"/>
                <a:gd name="T110" fmla="*/ 467 w 1811"/>
                <a:gd name="T111" fmla="*/ 269 h 2222"/>
                <a:gd name="T112" fmla="*/ 335 w 1811"/>
                <a:gd name="T113" fmla="*/ 197 h 2222"/>
                <a:gd name="T114" fmla="*/ 244 w 1811"/>
                <a:gd name="T115" fmla="*/ 172 h 2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11" h="2222">
                  <a:moveTo>
                    <a:pt x="91" y="45"/>
                  </a:moveTo>
                  <a:lnTo>
                    <a:pt x="92" y="44"/>
                  </a:lnTo>
                  <a:lnTo>
                    <a:pt x="98" y="40"/>
                  </a:lnTo>
                  <a:lnTo>
                    <a:pt x="112" y="31"/>
                  </a:lnTo>
                  <a:lnTo>
                    <a:pt x="127" y="23"/>
                  </a:lnTo>
                  <a:lnTo>
                    <a:pt x="143" y="16"/>
                  </a:lnTo>
                  <a:lnTo>
                    <a:pt x="159" y="11"/>
                  </a:lnTo>
                  <a:lnTo>
                    <a:pt x="177" y="6"/>
                  </a:lnTo>
                  <a:lnTo>
                    <a:pt x="194" y="3"/>
                  </a:lnTo>
                  <a:lnTo>
                    <a:pt x="212" y="1"/>
                  </a:lnTo>
                  <a:lnTo>
                    <a:pt x="232" y="0"/>
                  </a:lnTo>
                  <a:lnTo>
                    <a:pt x="251" y="1"/>
                  </a:lnTo>
                  <a:lnTo>
                    <a:pt x="271" y="3"/>
                  </a:lnTo>
                  <a:lnTo>
                    <a:pt x="291" y="6"/>
                  </a:lnTo>
                  <a:lnTo>
                    <a:pt x="313" y="11"/>
                  </a:lnTo>
                  <a:lnTo>
                    <a:pt x="336" y="17"/>
                  </a:lnTo>
                  <a:lnTo>
                    <a:pt x="357" y="24"/>
                  </a:lnTo>
                  <a:lnTo>
                    <a:pt x="381" y="32"/>
                  </a:lnTo>
                  <a:lnTo>
                    <a:pt x="405" y="41"/>
                  </a:lnTo>
                  <a:lnTo>
                    <a:pt x="428" y="52"/>
                  </a:lnTo>
                  <a:lnTo>
                    <a:pt x="453" y="63"/>
                  </a:lnTo>
                  <a:lnTo>
                    <a:pt x="478" y="77"/>
                  </a:lnTo>
                  <a:lnTo>
                    <a:pt x="503" y="91"/>
                  </a:lnTo>
                  <a:lnTo>
                    <a:pt x="529" y="105"/>
                  </a:lnTo>
                  <a:lnTo>
                    <a:pt x="555" y="122"/>
                  </a:lnTo>
                  <a:lnTo>
                    <a:pt x="582" y="139"/>
                  </a:lnTo>
                  <a:lnTo>
                    <a:pt x="608" y="158"/>
                  </a:lnTo>
                  <a:lnTo>
                    <a:pt x="647" y="186"/>
                  </a:lnTo>
                  <a:lnTo>
                    <a:pt x="686" y="216"/>
                  </a:lnTo>
                  <a:lnTo>
                    <a:pt x="725" y="247"/>
                  </a:lnTo>
                  <a:lnTo>
                    <a:pt x="765" y="281"/>
                  </a:lnTo>
                  <a:lnTo>
                    <a:pt x="806" y="317"/>
                  </a:lnTo>
                  <a:lnTo>
                    <a:pt x="847" y="355"/>
                  </a:lnTo>
                  <a:lnTo>
                    <a:pt x="889" y="394"/>
                  </a:lnTo>
                  <a:lnTo>
                    <a:pt x="931" y="435"/>
                  </a:lnTo>
                  <a:lnTo>
                    <a:pt x="973" y="479"/>
                  </a:lnTo>
                  <a:lnTo>
                    <a:pt x="1015" y="524"/>
                  </a:lnTo>
                  <a:lnTo>
                    <a:pt x="1058" y="570"/>
                  </a:lnTo>
                  <a:lnTo>
                    <a:pt x="1100" y="618"/>
                  </a:lnTo>
                  <a:lnTo>
                    <a:pt x="1143" y="668"/>
                  </a:lnTo>
                  <a:lnTo>
                    <a:pt x="1185" y="719"/>
                  </a:lnTo>
                  <a:lnTo>
                    <a:pt x="1228" y="771"/>
                  </a:lnTo>
                  <a:lnTo>
                    <a:pt x="1270" y="826"/>
                  </a:lnTo>
                  <a:lnTo>
                    <a:pt x="1273" y="830"/>
                  </a:lnTo>
                  <a:lnTo>
                    <a:pt x="1302" y="868"/>
                  </a:lnTo>
                  <a:lnTo>
                    <a:pt x="1340" y="920"/>
                  </a:lnTo>
                  <a:lnTo>
                    <a:pt x="1377" y="971"/>
                  </a:lnTo>
                  <a:lnTo>
                    <a:pt x="1412" y="1023"/>
                  </a:lnTo>
                  <a:lnTo>
                    <a:pt x="1447" y="1074"/>
                  </a:lnTo>
                  <a:lnTo>
                    <a:pt x="1479" y="1125"/>
                  </a:lnTo>
                  <a:lnTo>
                    <a:pt x="1511" y="1175"/>
                  </a:lnTo>
                  <a:lnTo>
                    <a:pt x="1541" y="1225"/>
                  </a:lnTo>
                  <a:lnTo>
                    <a:pt x="1569" y="1274"/>
                  </a:lnTo>
                  <a:lnTo>
                    <a:pt x="1596" y="1323"/>
                  </a:lnTo>
                  <a:lnTo>
                    <a:pt x="1622" y="1371"/>
                  </a:lnTo>
                  <a:lnTo>
                    <a:pt x="1647" y="1418"/>
                  </a:lnTo>
                  <a:lnTo>
                    <a:pt x="1669" y="1464"/>
                  </a:lnTo>
                  <a:lnTo>
                    <a:pt x="1690" y="1509"/>
                  </a:lnTo>
                  <a:lnTo>
                    <a:pt x="1710" y="1554"/>
                  </a:lnTo>
                  <a:lnTo>
                    <a:pt x="1728" y="1597"/>
                  </a:lnTo>
                  <a:lnTo>
                    <a:pt x="1744" y="1639"/>
                  </a:lnTo>
                  <a:lnTo>
                    <a:pt x="1760" y="1686"/>
                  </a:lnTo>
                  <a:lnTo>
                    <a:pt x="1773" y="1730"/>
                  </a:lnTo>
                  <a:lnTo>
                    <a:pt x="1786" y="1772"/>
                  </a:lnTo>
                  <a:lnTo>
                    <a:pt x="1795" y="1815"/>
                  </a:lnTo>
                  <a:lnTo>
                    <a:pt x="1802" y="1855"/>
                  </a:lnTo>
                  <a:lnTo>
                    <a:pt x="1807" y="1893"/>
                  </a:lnTo>
                  <a:lnTo>
                    <a:pt x="1808" y="1911"/>
                  </a:lnTo>
                  <a:lnTo>
                    <a:pt x="1811" y="1930"/>
                  </a:lnTo>
                  <a:lnTo>
                    <a:pt x="1811" y="1948"/>
                  </a:lnTo>
                  <a:lnTo>
                    <a:pt x="1811" y="1965"/>
                  </a:lnTo>
                  <a:lnTo>
                    <a:pt x="1809" y="1982"/>
                  </a:lnTo>
                  <a:lnTo>
                    <a:pt x="1808" y="1998"/>
                  </a:lnTo>
                  <a:lnTo>
                    <a:pt x="1806" y="2015"/>
                  </a:lnTo>
                  <a:lnTo>
                    <a:pt x="1804" y="2030"/>
                  </a:lnTo>
                  <a:lnTo>
                    <a:pt x="1801" y="2044"/>
                  </a:lnTo>
                  <a:lnTo>
                    <a:pt x="1798" y="2059"/>
                  </a:lnTo>
                  <a:lnTo>
                    <a:pt x="1793" y="2073"/>
                  </a:lnTo>
                  <a:lnTo>
                    <a:pt x="1789" y="2087"/>
                  </a:lnTo>
                  <a:lnTo>
                    <a:pt x="1783" y="2099"/>
                  </a:lnTo>
                  <a:lnTo>
                    <a:pt x="1778" y="2111"/>
                  </a:lnTo>
                  <a:lnTo>
                    <a:pt x="1770" y="2123"/>
                  </a:lnTo>
                  <a:lnTo>
                    <a:pt x="1763" y="2134"/>
                  </a:lnTo>
                  <a:lnTo>
                    <a:pt x="1755" y="2145"/>
                  </a:lnTo>
                  <a:lnTo>
                    <a:pt x="1747" y="2155"/>
                  </a:lnTo>
                  <a:lnTo>
                    <a:pt x="1737" y="2164"/>
                  </a:lnTo>
                  <a:lnTo>
                    <a:pt x="1727" y="2173"/>
                  </a:lnTo>
                  <a:lnTo>
                    <a:pt x="1723" y="2176"/>
                  </a:lnTo>
                  <a:lnTo>
                    <a:pt x="1722" y="2177"/>
                  </a:lnTo>
                  <a:lnTo>
                    <a:pt x="1717" y="2182"/>
                  </a:lnTo>
                  <a:lnTo>
                    <a:pt x="1713" y="2186"/>
                  </a:lnTo>
                  <a:lnTo>
                    <a:pt x="1704" y="2191"/>
                  </a:lnTo>
                  <a:lnTo>
                    <a:pt x="1696" y="2196"/>
                  </a:lnTo>
                  <a:lnTo>
                    <a:pt x="1688" y="2201"/>
                  </a:lnTo>
                  <a:lnTo>
                    <a:pt x="1679" y="2205"/>
                  </a:lnTo>
                  <a:lnTo>
                    <a:pt x="1669" y="2209"/>
                  </a:lnTo>
                  <a:lnTo>
                    <a:pt x="1660" y="2212"/>
                  </a:lnTo>
                  <a:lnTo>
                    <a:pt x="1651" y="2216"/>
                  </a:lnTo>
                  <a:lnTo>
                    <a:pt x="1641" y="2218"/>
                  </a:lnTo>
                  <a:lnTo>
                    <a:pt x="1630" y="2220"/>
                  </a:lnTo>
                  <a:lnTo>
                    <a:pt x="1620" y="2221"/>
                  </a:lnTo>
                  <a:lnTo>
                    <a:pt x="1609" y="2222"/>
                  </a:lnTo>
                  <a:lnTo>
                    <a:pt x="1597" y="2222"/>
                  </a:lnTo>
                  <a:lnTo>
                    <a:pt x="1575" y="2221"/>
                  </a:lnTo>
                  <a:lnTo>
                    <a:pt x="1551" y="2219"/>
                  </a:lnTo>
                  <a:lnTo>
                    <a:pt x="1525" y="2215"/>
                  </a:lnTo>
                  <a:lnTo>
                    <a:pt x="1499" y="2208"/>
                  </a:lnTo>
                  <a:lnTo>
                    <a:pt x="1473" y="2200"/>
                  </a:lnTo>
                  <a:lnTo>
                    <a:pt x="1446" y="2191"/>
                  </a:lnTo>
                  <a:lnTo>
                    <a:pt x="1417" y="2179"/>
                  </a:lnTo>
                  <a:lnTo>
                    <a:pt x="1388" y="2166"/>
                  </a:lnTo>
                  <a:lnTo>
                    <a:pt x="1358" y="2152"/>
                  </a:lnTo>
                  <a:lnTo>
                    <a:pt x="1328" y="2135"/>
                  </a:lnTo>
                  <a:lnTo>
                    <a:pt x="1302" y="2120"/>
                  </a:lnTo>
                  <a:lnTo>
                    <a:pt x="1275" y="2103"/>
                  </a:lnTo>
                  <a:lnTo>
                    <a:pt x="1247" y="2086"/>
                  </a:lnTo>
                  <a:lnTo>
                    <a:pt x="1219" y="2066"/>
                  </a:lnTo>
                  <a:lnTo>
                    <a:pt x="1190" y="2046"/>
                  </a:lnTo>
                  <a:lnTo>
                    <a:pt x="1162" y="2025"/>
                  </a:lnTo>
                  <a:lnTo>
                    <a:pt x="1133" y="2003"/>
                  </a:lnTo>
                  <a:lnTo>
                    <a:pt x="1103" y="1979"/>
                  </a:lnTo>
                  <a:lnTo>
                    <a:pt x="1072" y="1955"/>
                  </a:lnTo>
                  <a:lnTo>
                    <a:pt x="1042" y="1930"/>
                  </a:lnTo>
                  <a:lnTo>
                    <a:pt x="1011" y="1903"/>
                  </a:lnTo>
                  <a:lnTo>
                    <a:pt x="979" y="1875"/>
                  </a:lnTo>
                  <a:lnTo>
                    <a:pt x="948" y="1848"/>
                  </a:lnTo>
                  <a:lnTo>
                    <a:pt x="917" y="1818"/>
                  </a:lnTo>
                  <a:lnTo>
                    <a:pt x="886" y="1787"/>
                  </a:lnTo>
                  <a:lnTo>
                    <a:pt x="854" y="1756"/>
                  </a:lnTo>
                  <a:lnTo>
                    <a:pt x="814" y="1717"/>
                  </a:lnTo>
                  <a:lnTo>
                    <a:pt x="775" y="1674"/>
                  </a:lnTo>
                  <a:lnTo>
                    <a:pt x="736" y="1632"/>
                  </a:lnTo>
                  <a:lnTo>
                    <a:pt x="697" y="1588"/>
                  </a:lnTo>
                  <a:lnTo>
                    <a:pt x="658" y="1542"/>
                  </a:lnTo>
                  <a:lnTo>
                    <a:pt x="619" y="1495"/>
                  </a:lnTo>
                  <a:lnTo>
                    <a:pt x="580" y="1448"/>
                  </a:lnTo>
                  <a:lnTo>
                    <a:pt x="542" y="1398"/>
                  </a:lnTo>
                  <a:lnTo>
                    <a:pt x="541" y="1396"/>
                  </a:lnTo>
                  <a:lnTo>
                    <a:pt x="512" y="1359"/>
                  </a:lnTo>
                  <a:lnTo>
                    <a:pt x="512" y="1358"/>
                  </a:lnTo>
                  <a:lnTo>
                    <a:pt x="473" y="1306"/>
                  </a:lnTo>
                  <a:lnTo>
                    <a:pt x="436" y="1255"/>
                  </a:lnTo>
                  <a:lnTo>
                    <a:pt x="400" y="1203"/>
                  </a:lnTo>
                  <a:lnTo>
                    <a:pt x="366" y="1153"/>
                  </a:lnTo>
                  <a:lnTo>
                    <a:pt x="333" y="1101"/>
                  </a:lnTo>
                  <a:lnTo>
                    <a:pt x="302" y="1051"/>
                  </a:lnTo>
                  <a:lnTo>
                    <a:pt x="272" y="1001"/>
                  </a:lnTo>
                  <a:lnTo>
                    <a:pt x="243" y="952"/>
                  </a:lnTo>
                  <a:lnTo>
                    <a:pt x="215" y="903"/>
                  </a:lnTo>
                  <a:lnTo>
                    <a:pt x="189" y="855"/>
                  </a:lnTo>
                  <a:lnTo>
                    <a:pt x="166" y="807"/>
                  </a:lnTo>
                  <a:lnTo>
                    <a:pt x="143" y="761"/>
                  </a:lnTo>
                  <a:lnTo>
                    <a:pt x="121" y="716"/>
                  </a:lnTo>
                  <a:lnTo>
                    <a:pt x="102" y="671"/>
                  </a:lnTo>
                  <a:lnTo>
                    <a:pt x="84" y="628"/>
                  </a:lnTo>
                  <a:lnTo>
                    <a:pt x="68" y="585"/>
                  </a:lnTo>
                  <a:lnTo>
                    <a:pt x="51" y="539"/>
                  </a:lnTo>
                  <a:lnTo>
                    <a:pt x="38" y="495"/>
                  </a:lnTo>
                  <a:lnTo>
                    <a:pt x="26" y="452"/>
                  </a:lnTo>
                  <a:lnTo>
                    <a:pt x="16" y="411"/>
                  </a:lnTo>
                  <a:lnTo>
                    <a:pt x="12" y="390"/>
                  </a:lnTo>
                  <a:lnTo>
                    <a:pt x="9" y="370"/>
                  </a:lnTo>
                  <a:lnTo>
                    <a:pt x="6" y="351"/>
                  </a:lnTo>
                  <a:lnTo>
                    <a:pt x="4" y="331"/>
                  </a:lnTo>
                  <a:lnTo>
                    <a:pt x="2" y="313"/>
                  </a:lnTo>
                  <a:lnTo>
                    <a:pt x="1" y="294"/>
                  </a:lnTo>
                  <a:lnTo>
                    <a:pt x="0" y="277"/>
                  </a:lnTo>
                  <a:lnTo>
                    <a:pt x="1" y="259"/>
                  </a:lnTo>
                  <a:lnTo>
                    <a:pt x="1" y="243"/>
                  </a:lnTo>
                  <a:lnTo>
                    <a:pt x="2" y="226"/>
                  </a:lnTo>
                  <a:lnTo>
                    <a:pt x="4" y="210"/>
                  </a:lnTo>
                  <a:lnTo>
                    <a:pt x="6" y="194"/>
                  </a:lnTo>
                  <a:lnTo>
                    <a:pt x="9" y="180"/>
                  </a:lnTo>
                  <a:lnTo>
                    <a:pt x="13" y="165"/>
                  </a:lnTo>
                  <a:lnTo>
                    <a:pt x="17" y="151"/>
                  </a:lnTo>
                  <a:lnTo>
                    <a:pt x="22" y="137"/>
                  </a:lnTo>
                  <a:lnTo>
                    <a:pt x="28" y="125"/>
                  </a:lnTo>
                  <a:lnTo>
                    <a:pt x="34" y="113"/>
                  </a:lnTo>
                  <a:lnTo>
                    <a:pt x="40" y="100"/>
                  </a:lnTo>
                  <a:lnTo>
                    <a:pt x="48" y="89"/>
                  </a:lnTo>
                  <a:lnTo>
                    <a:pt x="55" y="79"/>
                  </a:lnTo>
                  <a:lnTo>
                    <a:pt x="65" y="68"/>
                  </a:lnTo>
                  <a:lnTo>
                    <a:pt x="74" y="59"/>
                  </a:lnTo>
                  <a:lnTo>
                    <a:pt x="83" y="50"/>
                  </a:lnTo>
                  <a:lnTo>
                    <a:pt x="85" y="50"/>
                  </a:lnTo>
                  <a:lnTo>
                    <a:pt x="89" y="46"/>
                  </a:lnTo>
                  <a:lnTo>
                    <a:pt x="91" y="45"/>
                  </a:lnTo>
                  <a:close/>
                  <a:moveTo>
                    <a:pt x="232" y="171"/>
                  </a:moveTo>
                  <a:lnTo>
                    <a:pt x="220" y="172"/>
                  </a:lnTo>
                  <a:lnTo>
                    <a:pt x="210" y="173"/>
                  </a:lnTo>
                  <a:lnTo>
                    <a:pt x="202" y="177"/>
                  </a:lnTo>
                  <a:lnTo>
                    <a:pt x="194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4" y="191"/>
                  </a:lnTo>
                  <a:lnTo>
                    <a:pt x="181" y="196"/>
                  </a:lnTo>
                  <a:lnTo>
                    <a:pt x="178" y="201"/>
                  </a:lnTo>
                  <a:lnTo>
                    <a:pt x="173" y="214"/>
                  </a:lnTo>
                  <a:lnTo>
                    <a:pt x="169" y="228"/>
                  </a:lnTo>
                  <a:lnTo>
                    <a:pt x="167" y="244"/>
                  </a:lnTo>
                  <a:lnTo>
                    <a:pt x="166" y="262"/>
                  </a:lnTo>
                  <a:lnTo>
                    <a:pt x="167" y="282"/>
                  </a:lnTo>
                  <a:lnTo>
                    <a:pt x="169" y="302"/>
                  </a:lnTo>
                  <a:lnTo>
                    <a:pt x="171" y="326"/>
                  </a:lnTo>
                  <a:lnTo>
                    <a:pt x="176" y="350"/>
                  </a:lnTo>
                  <a:lnTo>
                    <a:pt x="181" y="377"/>
                  </a:lnTo>
                  <a:lnTo>
                    <a:pt x="188" y="403"/>
                  </a:lnTo>
                  <a:lnTo>
                    <a:pt x="196" y="432"/>
                  </a:lnTo>
                  <a:lnTo>
                    <a:pt x="206" y="462"/>
                  </a:lnTo>
                  <a:lnTo>
                    <a:pt x="216" y="494"/>
                  </a:lnTo>
                  <a:lnTo>
                    <a:pt x="228" y="526"/>
                  </a:lnTo>
                  <a:lnTo>
                    <a:pt x="243" y="566"/>
                  </a:lnTo>
                  <a:lnTo>
                    <a:pt x="260" y="606"/>
                  </a:lnTo>
                  <a:lnTo>
                    <a:pt x="279" y="649"/>
                  </a:lnTo>
                  <a:lnTo>
                    <a:pt x="298" y="691"/>
                  </a:lnTo>
                  <a:lnTo>
                    <a:pt x="320" y="735"/>
                  </a:lnTo>
                  <a:lnTo>
                    <a:pt x="343" y="780"/>
                  </a:lnTo>
                  <a:lnTo>
                    <a:pt x="367" y="825"/>
                  </a:lnTo>
                  <a:lnTo>
                    <a:pt x="393" y="870"/>
                  </a:lnTo>
                  <a:lnTo>
                    <a:pt x="420" y="918"/>
                  </a:lnTo>
                  <a:lnTo>
                    <a:pt x="449" y="964"/>
                  </a:lnTo>
                  <a:lnTo>
                    <a:pt x="479" y="1013"/>
                  </a:lnTo>
                  <a:lnTo>
                    <a:pt x="510" y="1060"/>
                  </a:lnTo>
                  <a:lnTo>
                    <a:pt x="543" y="1109"/>
                  </a:lnTo>
                  <a:lnTo>
                    <a:pt x="577" y="1158"/>
                  </a:lnTo>
                  <a:lnTo>
                    <a:pt x="612" y="1206"/>
                  </a:lnTo>
                  <a:lnTo>
                    <a:pt x="648" y="1256"/>
                  </a:lnTo>
                  <a:lnTo>
                    <a:pt x="672" y="1288"/>
                  </a:lnTo>
                  <a:lnTo>
                    <a:pt x="676" y="1293"/>
                  </a:lnTo>
                  <a:lnTo>
                    <a:pt x="713" y="1339"/>
                  </a:lnTo>
                  <a:lnTo>
                    <a:pt x="750" y="1386"/>
                  </a:lnTo>
                  <a:lnTo>
                    <a:pt x="786" y="1430"/>
                  </a:lnTo>
                  <a:lnTo>
                    <a:pt x="824" y="1473"/>
                  </a:lnTo>
                  <a:lnTo>
                    <a:pt x="861" y="1516"/>
                  </a:lnTo>
                  <a:lnTo>
                    <a:pt x="899" y="1556"/>
                  </a:lnTo>
                  <a:lnTo>
                    <a:pt x="937" y="1596"/>
                  </a:lnTo>
                  <a:lnTo>
                    <a:pt x="974" y="1634"/>
                  </a:lnTo>
                  <a:lnTo>
                    <a:pt x="974" y="1635"/>
                  </a:lnTo>
                  <a:lnTo>
                    <a:pt x="1004" y="1664"/>
                  </a:lnTo>
                  <a:lnTo>
                    <a:pt x="1034" y="1693"/>
                  </a:lnTo>
                  <a:lnTo>
                    <a:pt x="1063" y="1720"/>
                  </a:lnTo>
                  <a:lnTo>
                    <a:pt x="1092" y="1747"/>
                  </a:lnTo>
                  <a:lnTo>
                    <a:pt x="1120" y="1772"/>
                  </a:lnTo>
                  <a:lnTo>
                    <a:pt x="1149" y="1797"/>
                  </a:lnTo>
                  <a:lnTo>
                    <a:pt x="1177" y="1820"/>
                  </a:lnTo>
                  <a:lnTo>
                    <a:pt x="1205" y="1842"/>
                  </a:lnTo>
                  <a:lnTo>
                    <a:pt x="1233" y="1864"/>
                  </a:lnTo>
                  <a:lnTo>
                    <a:pt x="1259" y="1885"/>
                  </a:lnTo>
                  <a:lnTo>
                    <a:pt x="1286" y="1904"/>
                  </a:lnTo>
                  <a:lnTo>
                    <a:pt x="1313" y="1923"/>
                  </a:lnTo>
                  <a:lnTo>
                    <a:pt x="1338" y="1940"/>
                  </a:lnTo>
                  <a:lnTo>
                    <a:pt x="1363" y="1957"/>
                  </a:lnTo>
                  <a:lnTo>
                    <a:pt x="1388" y="1971"/>
                  </a:lnTo>
                  <a:lnTo>
                    <a:pt x="1412" y="1986"/>
                  </a:lnTo>
                  <a:lnTo>
                    <a:pt x="1448" y="2005"/>
                  </a:lnTo>
                  <a:lnTo>
                    <a:pt x="1482" y="2022"/>
                  </a:lnTo>
                  <a:lnTo>
                    <a:pt x="1512" y="2035"/>
                  </a:lnTo>
                  <a:lnTo>
                    <a:pt x="1539" y="2045"/>
                  </a:lnTo>
                  <a:lnTo>
                    <a:pt x="1551" y="2050"/>
                  </a:lnTo>
                  <a:lnTo>
                    <a:pt x="1562" y="2052"/>
                  </a:lnTo>
                  <a:lnTo>
                    <a:pt x="1572" y="2055"/>
                  </a:lnTo>
                  <a:lnTo>
                    <a:pt x="1582" y="2056"/>
                  </a:lnTo>
                  <a:lnTo>
                    <a:pt x="1589" y="2056"/>
                  </a:lnTo>
                  <a:lnTo>
                    <a:pt x="1596" y="2055"/>
                  </a:lnTo>
                  <a:lnTo>
                    <a:pt x="1602" y="2053"/>
                  </a:lnTo>
                  <a:lnTo>
                    <a:pt x="1608" y="2051"/>
                  </a:lnTo>
                  <a:lnTo>
                    <a:pt x="1610" y="2049"/>
                  </a:lnTo>
                  <a:lnTo>
                    <a:pt x="1616" y="2043"/>
                  </a:lnTo>
                  <a:lnTo>
                    <a:pt x="1619" y="2041"/>
                  </a:lnTo>
                  <a:lnTo>
                    <a:pt x="1623" y="2037"/>
                  </a:lnTo>
                  <a:lnTo>
                    <a:pt x="1626" y="2033"/>
                  </a:lnTo>
                  <a:lnTo>
                    <a:pt x="1630" y="2028"/>
                  </a:lnTo>
                  <a:lnTo>
                    <a:pt x="1633" y="2023"/>
                  </a:lnTo>
                  <a:lnTo>
                    <a:pt x="1638" y="2010"/>
                  </a:lnTo>
                  <a:lnTo>
                    <a:pt x="1642" y="1996"/>
                  </a:lnTo>
                  <a:lnTo>
                    <a:pt x="1644" y="1981"/>
                  </a:lnTo>
                  <a:lnTo>
                    <a:pt x="1645" y="1962"/>
                  </a:lnTo>
                  <a:lnTo>
                    <a:pt x="1645" y="1942"/>
                  </a:lnTo>
                  <a:lnTo>
                    <a:pt x="1643" y="1922"/>
                  </a:lnTo>
                  <a:lnTo>
                    <a:pt x="1640" y="1899"/>
                  </a:lnTo>
                  <a:lnTo>
                    <a:pt x="1635" y="1874"/>
                  </a:lnTo>
                  <a:lnTo>
                    <a:pt x="1629" y="1849"/>
                  </a:lnTo>
                  <a:lnTo>
                    <a:pt x="1623" y="1821"/>
                  </a:lnTo>
                  <a:lnTo>
                    <a:pt x="1615" y="1792"/>
                  </a:lnTo>
                  <a:lnTo>
                    <a:pt x="1606" y="1762"/>
                  </a:lnTo>
                  <a:lnTo>
                    <a:pt x="1595" y="1731"/>
                  </a:lnTo>
                  <a:lnTo>
                    <a:pt x="1584" y="1698"/>
                  </a:lnTo>
                  <a:lnTo>
                    <a:pt x="1568" y="1659"/>
                  </a:lnTo>
                  <a:lnTo>
                    <a:pt x="1551" y="1619"/>
                  </a:lnTo>
                  <a:lnTo>
                    <a:pt x="1533" y="1576"/>
                  </a:lnTo>
                  <a:lnTo>
                    <a:pt x="1513" y="1534"/>
                  </a:lnTo>
                  <a:lnTo>
                    <a:pt x="1492" y="1491"/>
                  </a:lnTo>
                  <a:lnTo>
                    <a:pt x="1469" y="1447"/>
                  </a:lnTo>
                  <a:lnTo>
                    <a:pt x="1445" y="1401"/>
                  </a:lnTo>
                  <a:lnTo>
                    <a:pt x="1419" y="1355"/>
                  </a:lnTo>
                  <a:lnTo>
                    <a:pt x="1392" y="1308"/>
                  </a:lnTo>
                  <a:lnTo>
                    <a:pt x="1363" y="1262"/>
                  </a:lnTo>
                  <a:lnTo>
                    <a:pt x="1334" y="1214"/>
                  </a:lnTo>
                  <a:lnTo>
                    <a:pt x="1303" y="1166"/>
                  </a:lnTo>
                  <a:lnTo>
                    <a:pt x="1270" y="1118"/>
                  </a:lnTo>
                  <a:lnTo>
                    <a:pt x="1237" y="1069"/>
                  </a:lnTo>
                  <a:lnTo>
                    <a:pt x="1202" y="1020"/>
                  </a:lnTo>
                  <a:lnTo>
                    <a:pt x="1166" y="971"/>
                  </a:lnTo>
                  <a:lnTo>
                    <a:pt x="1137" y="933"/>
                  </a:lnTo>
                  <a:lnTo>
                    <a:pt x="1135" y="930"/>
                  </a:lnTo>
                  <a:lnTo>
                    <a:pt x="1095" y="879"/>
                  </a:lnTo>
                  <a:lnTo>
                    <a:pt x="1054" y="829"/>
                  </a:lnTo>
                  <a:lnTo>
                    <a:pt x="1014" y="780"/>
                  </a:lnTo>
                  <a:lnTo>
                    <a:pt x="973" y="733"/>
                  </a:lnTo>
                  <a:lnTo>
                    <a:pt x="933" y="687"/>
                  </a:lnTo>
                  <a:lnTo>
                    <a:pt x="893" y="642"/>
                  </a:lnTo>
                  <a:lnTo>
                    <a:pt x="853" y="600"/>
                  </a:lnTo>
                  <a:lnTo>
                    <a:pt x="813" y="559"/>
                  </a:lnTo>
                  <a:lnTo>
                    <a:pt x="773" y="520"/>
                  </a:lnTo>
                  <a:lnTo>
                    <a:pt x="734" y="483"/>
                  </a:lnTo>
                  <a:lnTo>
                    <a:pt x="695" y="448"/>
                  </a:lnTo>
                  <a:lnTo>
                    <a:pt x="657" y="414"/>
                  </a:lnTo>
                  <a:lnTo>
                    <a:pt x="620" y="382"/>
                  </a:lnTo>
                  <a:lnTo>
                    <a:pt x="583" y="352"/>
                  </a:lnTo>
                  <a:lnTo>
                    <a:pt x="546" y="324"/>
                  </a:lnTo>
                  <a:lnTo>
                    <a:pt x="511" y="298"/>
                  </a:lnTo>
                  <a:lnTo>
                    <a:pt x="467" y="269"/>
                  </a:lnTo>
                  <a:lnTo>
                    <a:pt x="427" y="244"/>
                  </a:lnTo>
                  <a:lnTo>
                    <a:pt x="408" y="232"/>
                  </a:lnTo>
                  <a:lnTo>
                    <a:pt x="389" y="222"/>
                  </a:lnTo>
                  <a:lnTo>
                    <a:pt x="371" y="213"/>
                  </a:lnTo>
                  <a:lnTo>
                    <a:pt x="352" y="204"/>
                  </a:lnTo>
                  <a:lnTo>
                    <a:pt x="335" y="197"/>
                  </a:lnTo>
                  <a:lnTo>
                    <a:pt x="318" y="190"/>
                  </a:lnTo>
                  <a:lnTo>
                    <a:pt x="302" y="185"/>
                  </a:lnTo>
                  <a:lnTo>
                    <a:pt x="286" y="180"/>
                  </a:lnTo>
                  <a:lnTo>
                    <a:pt x="272" y="177"/>
                  </a:lnTo>
                  <a:lnTo>
                    <a:pt x="257" y="173"/>
                  </a:lnTo>
                  <a:lnTo>
                    <a:pt x="244" y="172"/>
                  </a:lnTo>
                  <a:lnTo>
                    <a:pt x="232" y="171"/>
                  </a:lnTo>
                  <a:close/>
                  <a:moveTo>
                    <a:pt x="1610" y="2049"/>
                  </a:moveTo>
                  <a:lnTo>
                    <a:pt x="1612" y="2046"/>
                  </a:lnTo>
                  <a:lnTo>
                    <a:pt x="1610" y="20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69" name="Freeform 45"/>
            <p:cNvSpPr>
              <a:spLocks noChangeArrowheads="1"/>
            </p:cNvSpPr>
            <p:nvPr/>
          </p:nvSpPr>
          <p:spPr bwMode="auto">
            <a:xfrm>
              <a:off x="6100763" y="1393716"/>
              <a:ext cx="741362" cy="1136674"/>
            </a:xfrm>
            <a:custGeom>
              <a:avLst/>
              <a:gdLst>
                <a:gd name="T0" fmla="*/ 94 w 1643"/>
                <a:gd name="T1" fmla="*/ 7 h 2050"/>
                <a:gd name="T2" fmla="*/ 158 w 1643"/>
                <a:gd name="T3" fmla="*/ 0 h 2050"/>
                <a:gd name="T4" fmla="*/ 236 w 1643"/>
                <a:gd name="T5" fmla="*/ 14 h 2050"/>
                <a:gd name="T6" fmla="*/ 325 w 1643"/>
                <a:gd name="T7" fmla="*/ 50 h 2050"/>
                <a:gd name="T8" fmla="*/ 423 w 1643"/>
                <a:gd name="T9" fmla="*/ 106 h 2050"/>
                <a:gd name="T10" fmla="*/ 529 w 1643"/>
                <a:gd name="T11" fmla="*/ 180 h 2050"/>
                <a:gd name="T12" fmla="*/ 641 w 1643"/>
                <a:gd name="T13" fmla="*/ 272 h 2050"/>
                <a:gd name="T14" fmla="*/ 757 w 1643"/>
                <a:gd name="T15" fmla="*/ 381 h 2050"/>
                <a:gd name="T16" fmla="*/ 877 w 1643"/>
                <a:gd name="T17" fmla="*/ 504 h 2050"/>
                <a:gd name="T18" fmla="*/ 998 w 1643"/>
                <a:gd name="T19" fmla="*/ 641 h 2050"/>
                <a:gd name="T20" fmla="*/ 1118 w 1643"/>
                <a:gd name="T21" fmla="*/ 791 h 2050"/>
                <a:gd name="T22" fmla="*/ 1231 w 1643"/>
                <a:gd name="T23" fmla="*/ 946 h 2050"/>
                <a:gd name="T24" fmla="*/ 1333 w 1643"/>
                <a:gd name="T25" fmla="*/ 1099 h 2050"/>
                <a:gd name="T26" fmla="*/ 1422 w 1643"/>
                <a:gd name="T27" fmla="*/ 1248 h 2050"/>
                <a:gd name="T28" fmla="*/ 1497 w 1643"/>
                <a:gd name="T29" fmla="*/ 1390 h 2050"/>
                <a:gd name="T30" fmla="*/ 1557 w 1643"/>
                <a:gd name="T31" fmla="*/ 1524 h 2050"/>
                <a:gd name="T32" fmla="*/ 1602 w 1643"/>
                <a:gd name="T33" fmla="*/ 1648 h 2050"/>
                <a:gd name="T34" fmla="*/ 1631 w 1643"/>
                <a:gd name="T35" fmla="*/ 1758 h 2050"/>
                <a:gd name="T36" fmla="*/ 1643 w 1643"/>
                <a:gd name="T37" fmla="*/ 1855 h 2050"/>
                <a:gd name="T38" fmla="*/ 1637 w 1643"/>
                <a:gd name="T39" fmla="*/ 1935 h 2050"/>
                <a:gd name="T40" fmla="*/ 1611 w 1643"/>
                <a:gd name="T41" fmla="*/ 1995 h 2050"/>
                <a:gd name="T42" fmla="*/ 1571 w 1643"/>
                <a:gd name="T43" fmla="*/ 2035 h 2050"/>
                <a:gd name="T44" fmla="*/ 1519 w 1643"/>
                <a:gd name="T45" fmla="*/ 2050 h 2050"/>
                <a:gd name="T46" fmla="*/ 1450 w 1643"/>
                <a:gd name="T47" fmla="*/ 2043 h 2050"/>
                <a:gd name="T48" fmla="*/ 1367 w 1643"/>
                <a:gd name="T49" fmla="*/ 2014 h 2050"/>
                <a:gd name="T50" fmla="*/ 1271 w 1643"/>
                <a:gd name="T51" fmla="*/ 1965 h 2050"/>
                <a:gd name="T52" fmla="*/ 1166 w 1643"/>
                <a:gd name="T53" fmla="*/ 1897 h 2050"/>
                <a:gd name="T54" fmla="*/ 1052 w 1643"/>
                <a:gd name="T55" fmla="*/ 1810 h 2050"/>
                <a:gd name="T56" fmla="*/ 932 w 1643"/>
                <a:gd name="T57" fmla="*/ 1707 h 2050"/>
                <a:gd name="T58" fmla="*/ 810 w 1643"/>
                <a:gd name="T59" fmla="*/ 1588 h 2050"/>
                <a:gd name="T60" fmla="*/ 686 w 1643"/>
                <a:gd name="T61" fmla="*/ 1455 h 2050"/>
                <a:gd name="T62" fmla="*/ 565 w 1643"/>
                <a:gd name="T63" fmla="*/ 1310 h 2050"/>
                <a:gd name="T64" fmla="*/ 447 w 1643"/>
                <a:gd name="T65" fmla="*/ 1155 h 2050"/>
                <a:gd name="T66" fmla="*/ 342 w 1643"/>
                <a:gd name="T67" fmla="*/ 1002 h 2050"/>
                <a:gd name="T68" fmla="*/ 249 w 1643"/>
                <a:gd name="T69" fmla="*/ 851 h 2050"/>
                <a:gd name="T70" fmla="*/ 169 w 1643"/>
                <a:gd name="T71" fmla="*/ 706 h 2050"/>
                <a:gd name="T72" fmla="*/ 104 w 1643"/>
                <a:gd name="T73" fmla="*/ 569 h 2050"/>
                <a:gd name="T74" fmla="*/ 54 w 1643"/>
                <a:gd name="T75" fmla="*/ 442 h 2050"/>
                <a:gd name="T76" fmla="*/ 20 w 1643"/>
                <a:gd name="T77" fmla="*/ 327 h 2050"/>
                <a:gd name="T78" fmla="*/ 2 w 1643"/>
                <a:gd name="T79" fmla="*/ 225 h 2050"/>
                <a:gd name="T80" fmla="*/ 2 w 1643"/>
                <a:gd name="T81" fmla="*/ 140 h 2050"/>
                <a:gd name="T82" fmla="*/ 21 w 1643"/>
                <a:gd name="T83" fmla="*/ 73 h 2050"/>
                <a:gd name="T84" fmla="*/ 59 w 1643"/>
                <a:gd name="T85" fmla="*/ 26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43" h="2050">
                  <a:moveTo>
                    <a:pt x="59" y="26"/>
                  </a:moveTo>
                  <a:lnTo>
                    <a:pt x="75" y="15"/>
                  </a:lnTo>
                  <a:lnTo>
                    <a:pt x="94" y="7"/>
                  </a:lnTo>
                  <a:lnTo>
                    <a:pt x="114" y="2"/>
                  </a:lnTo>
                  <a:lnTo>
                    <a:pt x="135" y="0"/>
                  </a:lnTo>
                  <a:lnTo>
                    <a:pt x="158" y="0"/>
                  </a:lnTo>
                  <a:lnTo>
                    <a:pt x="183" y="2"/>
                  </a:lnTo>
                  <a:lnTo>
                    <a:pt x="208" y="7"/>
                  </a:lnTo>
                  <a:lnTo>
                    <a:pt x="236" y="14"/>
                  </a:lnTo>
                  <a:lnTo>
                    <a:pt x="264" y="24"/>
                  </a:lnTo>
                  <a:lnTo>
                    <a:pt x="294" y="36"/>
                  </a:lnTo>
                  <a:lnTo>
                    <a:pt x="325" y="50"/>
                  </a:lnTo>
                  <a:lnTo>
                    <a:pt x="357" y="66"/>
                  </a:lnTo>
                  <a:lnTo>
                    <a:pt x="390" y="85"/>
                  </a:lnTo>
                  <a:lnTo>
                    <a:pt x="423" y="106"/>
                  </a:lnTo>
                  <a:lnTo>
                    <a:pt x="458" y="129"/>
                  </a:lnTo>
                  <a:lnTo>
                    <a:pt x="493" y="153"/>
                  </a:lnTo>
                  <a:lnTo>
                    <a:pt x="529" y="180"/>
                  </a:lnTo>
                  <a:lnTo>
                    <a:pt x="566" y="209"/>
                  </a:lnTo>
                  <a:lnTo>
                    <a:pt x="603" y="240"/>
                  </a:lnTo>
                  <a:lnTo>
                    <a:pt x="641" y="272"/>
                  </a:lnTo>
                  <a:lnTo>
                    <a:pt x="679" y="307"/>
                  </a:lnTo>
                  <a:lnTo>
                    <a:pt x="718" y="343"/>
                  </a:lnTo>
                  <a:lnTo>
                    <a:pt x="757" y="381"/>
                  </a:lnTo>
                  <a:lnTo>
                    <a:pt x="797" y="420"/>
                  </a:lnTo>
                  <a:lnTo>
                    <a:pt x="838" y="462"/>
                  </a:lnTo>
                  <a:lnTo>
                    <a:pt x="877" y="504"/>
                  </a:lnTo>
                  <a:lnTo>
                    <a:pt x="917" y="548"/>
                  </a:lnTo>
                  <a:lnTo>
                    <a:pt x="958" y="594"/>
                  </a:lnTo>
                  <a:lnTo>
                    <a:pt x="998" y="641"/>
                  </a:lnTo>
                  <a:lnTo>
                    <a:pt x="1038" y="689"/>
                  </a:lnTo>
                  <a:lnTo>
                    <a:pt x="1078" y="740"/>
                  </a:lnTo>
                  <a:lnTo>
                    <a:pt x="1118" y="791"/>
                  </a:lnTo>
                  <a:lnTo>
                    <a:pt x="1157" y="843"/>
                  </a:lnTo>
                  <a:lnTo>
                    <a:pt x="1195" y="895"/>
                  </a:lnTo>
                  <a:lnTo>
                    <a:pt x="1231" y="946"/>
                  </a:lnTo>
                  <a:lnTo>
                    <a:pt x="1267" y="998"/>
                  </a:lnTo>
                  <a:lnTo>
                    <a:pt x="1300" y="1048"/>
                  </a:lnTo>
                  <a:lnTo>
                    <a:pt x="1333" y="1099"/>
                  </a:lnTo>
                  <a:lnTo>
                    <a:pt x="1364" y="1149"/>
                  </a:lnTo>
                  <a:lnTo>
                    <a:pt x="1394" y="1199"/>
                  </a:lnTo>
                  <a:lnTo>
                    <a:pt x="1422" y="1248"/>
                  </a:lnTo>
                  <a:lnTo>
                    <a:pt x="1448" y="1296"/>
                  </a:lnTo>
                  <a:lnTo>
                    <a:pt x="1473" y="1344"/>
                  </a:lnTo>
                  <a:lnTo>
                    <a:pt x="1497" y="1390"/>
                  </a:lnTo>
                  <a:lnTo>
                    <a:pt x="1518" y="1436"/>
                  </a:lnTo>
                  <a:lnTo>
                    <a:pt x="1538" y="1481"/>
                  </a:lnTo>
                  <a:lnTo>
                    <a:pt x="1557" y="1524"/>
                  </a:lnTo>
                  <a:lnTo>
                    <a:pt x="1574" y="1567"/>
                  </a:lnTo>
                  <a:lnTo>
                    <a:pt x="1588" y="1608"/>
                  </a:lnTo>
                  <a:lnTo>
                    <a:pt x="1602" y="1648"/>
                  </a:lnTo>
                  <a:lnTo>
                    <a:pt x="1613" y="1686"/>
                  </a:lnTo>
                  <a:lnTo>
                    <a:pt x="1624" y="1723"/>
                  </a:lnTo>
                  <a:lnTo>
                    <a:pt x="1631" y="1758"/>
                  </a:lnTo>
                  <a:lnTo>
                    <a:pt x="1637" y="1792"/>
                  </a:lnTo>
                  <a:lnTo>
                    <a:pt x="1641" y="1824"/>
                  </a:lnTo>
                  <a:lnTo>
                    <a:pt x="1643" y="1855"/>
                  </a:lnTo>
                  <a:lnTo>
                    <a:pt x="1642" y="1883"/>
                  </a:lnTo>
                  <a:lnTo>
                    <a:pt x="1640" y="1910"/>
                  </a:lnTo>
                  <a:lnTo>
                    <a:pt x="1637" y="1935"/>
                  </a:lnTo>
                  <a:lnTo>
                    <a:pt x="1631" y="1956"/>
                  </a:lnTo>
                  <a:lnTo>
                    <a:pt x="1622" y="1977"/>
                  </a:lnTo>
                  <a:lnTo>
                    <a:pt x="1611" y="1995"/>
                  </a:lnTo>
                  <a:lnTo>
                    <a:pt x="1599" y="2011"/>
                  </a:lnTo>
                  <a:lnTo>
                    <a:pt x="1584" y="2023"/>
                  </a:lnTo>
                  <a:lnTo>
                    <a:pt x="1571" y="2035"/>
                  </a:lnTo>
                  <a:lnTo>
                    <a:pt x="1556" y="2042"/>
                  </a:lnTo>
                  <a:lnTo>
                    <a:pt x="1539" y="2047"/>
                  </a:lnTo>
                  <a:lnTo>
                    <a:pt x="1519" y="2050"/>
                  </a:lnTo>
                  <a:lnTo>
                    <a:pt x="1499" y="2050"/>
                  </a:lnTo>
                  <a:lnTo>
                    <a:pt x="1475" y="2048"/>
                  </a:lnTo>
                  <a:lnTo>
                    <a:pt x="1450" y="2043"/>
                  </a:lnTo>
                  <a:lnTo>
                    <a:pt x="1425" y="2036"/>
                  </a:lnTo>
                  <a:lnTo>
                    <a:pt x="1397" y="2026"/>
                  </a:lnTo>
                  <a:lnTo>
                    <a:pt x="1367" y="2014"/>
                  </a:lnTo>
                  <a:lnTo>
                    <a:pt x="1337" y="2000"/>
                  </a:lnTo>
                  <a:lnTo>
                    <a:pt x="1305" y="1983"/>
                  </a:lnTo>
                  <a:lnTo>
                    <a:pt x="1271" y="1965"/>
                  </a:lnTo>
                  <a:lnTo>
                    <a:pt x="1237" y="1944"/>
                  </a:lnTo>
                  <a:lnTo>
                    <a:pt x="1202" y="1921"/>
                  </a:lnTo>
                  <a:lnTo>
                    <a:pt x="1166" y="1897"/>
                  </a:lnTo>
                  <a:lnTo>
                    <a:pt x="1128" y="1870"/>
                  </a:lnTo>
                  <a:lnTo>
                    <a:pt x="1091" y="1841"/>
                  </a:lnTo>
                  <a:lnTo>
                    <a:pt x="1052" y="1810"/>
                  </a:lnTo>
                  <a:lnTo>
                    <a:pt x="1013" y="1777"/>
                  </a:lnTo>
                  <a:lnTo>
                    <a:pt x="973" y="1743"/>
                  </a:lnTo>
                  <a:lnTo>
                    <a:pt x="932" y="1707"/>
                  </a:lnTo>
                  <a:lnTo>
                    <a:pt x="892" y="1669"/>
                  </a:lnTo>
                  <a:lnTo>
                    <a:pt x="851" y="1630"/>
                  </a:lnTo>
                  <a:lnTo>
                    <a:pt x="810" y="1588"/>
                  </a:lnTo>
                  <a:lnTo>
                    <a:pt x="769" y="1545"/>
                  </a:lnTo>
                  <a:lnTo>
                    <a:pt x="727" y="1502"/>
                  </a:lnTo>
                  <a:lnTo>
                    <a:pt x="686" y="1455"/>
                  </a:lnTo>
                  <a:lnTo>
                    <a:pt x="646" y="1408"/>
                  </a:lnTo>
                  <a:lnTo>
                    <a:pt x="605" y="1360"/>
                  </a:lnTo>
                  <a:lnTo>
                    <a:pt x="565" y="1310"/>
                  </a:lnTo>
                  <a:lnTo>
                    <a:pt x="524" y="1259"/>
                  </a:lnTo>
                  <a:lnTo>
                    <a:pt x="485" y="1207"/>
                  </a:lnTo>
                  <a:lnTo>
                    <a:pt x="447" y="1155"/>
                  </a:lnTo>
                  <a:lnTo>
                    <a:pt x="411" y="1104"/>
                  </a:lnTo>
                  <a:lnTo>
                    <a:pt x="376" y="1052"/>
                  </a:lnTo>
                  <a:lnTo>
                    <a:pt x="342" y="1002"/>
                  </a:lnTo>
                  <a:lnTo>
                    <a:pt x="309" y="950"/>
                  </a:lnTo>
                  <a:lnTo>
                    <a:pt x="278" y="901"/>
                  </a:lnTo>
                  <a:lnTo>
                    <a:pt x="249" y="851"/>
                  </a:lnTo>
                  <a:lnTo>
                    <a:pt x="221" y="802"/>
                  </a:lnTo>
                  <a:lnTo>
                    <a:pt x="195" y="753"/>
                  </a:lnTo>
                  <a:lnTo>
                    <a:pt x="169" y="706"/>
                  </a:lnTo>
                  <a:lnTo>
                    <a:pt x="146" y="660"/>
                  </a:lnTo>
                  <a:lnTo>
                    <a:pt x="125" y="614"/>
                  </a:lnTo>
                  <a:lnTo>
                    <a:pt x="104" y="569"/>
                  </a:lnTo>
                  <a:lnTo>
                    <a:pt x="86" y="526"/>
                  </a:lnTo>
                  <a:lnTo>
                    <a:pt x="69" y="483"/>
                  </a:lnTo>
                  <a:lnTo>
                    <a:pt x="54" y="442"/>
                  </a:lnTo>
                  <a:lnTo>
                    <a:pt x="40" y="402"/>
                  </a:lnTo>
                  <a:lnTo>
                    <a:pt x="29" y="364"/>
                  </a:lnTo>
                  <a:lnTo>
                    <a:pt x="20" y="327"/>
                  </a:lnTo>
                  <a:lnTo>
                    <a:pt x="12" y="291"/>
                  </a:lnTo>
                  <a:lnTo>
                    <a:pt x="6" y="258"/>
                  </a:lnTo>
                  <a:lnTo>
                    <a:pt x="2" y="225"/>
                  </a:lnTo>
                  <a:lnTo>
                    <a:pt x="0" y="195"/>
                  </a:lnTo>
                  <a:lnTo>
                    <a:pt x="0" y="166"/>
                  </a:lnTo>
                  <a:lnTo>
                    <a:pt x="2" y="140"/>
                  </a:lnTo>
                  <a:lnTo>
                    <a:pt x="6" y="115"/>
                  </a:lnTo>
                  <a:lnTo>
                    <a:pt x="13" y="93"/>
                  </a:lnTo>
                  <a:lnTo>
                    <a:pt x="21" y="73"/>
                  </a:lnTo>
                  <a:lnTo>
                    <a:pt x="31" y="54"/>
                  </a:lnTo>
                  <a:lnTo>
                    <a:pt x="43" y="39"/>
                  </a:lnTo>
                  <a:lnTo>
                    <a:pt x="59" y="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0" name="Freeform 46"/>
            <p:cNvSpPr>
              <a:spLocks noChangeArrowheads="1"/>
            </p:cNvSpPr>
            <p:nvPr/>
          </p:nvSpPr>
          <p:spPr bwMode="auto">
            <a:xfrm>
              <a:off x="5740400" y="1925541"/>
              <a:ext cx="1114425" cy="665176"/>
            </a:xfrm>
            <a:custGeom>
              <a:avLst/>
              <a:gdLst>
                <a:gd name="T0" fmla="*/ 28 w 2478"/>
                <a:gd name="T1" fmla="*/ 147 h 1202"/>
                <a:gd name="T2" fmla="*/ 69 w 2478"/>
                <a:gd name="T3" fmla="*/ 98 h 1202"/>
                <a:gd name="T4" fmla="*/ 155 w 2478"/>
                <a:gd name="T5" fmla="*/ 47 h 1202"/>
                <a:gd name="T6" fmla="*/ 342 w 2478"/>
                <a:gd name="T7" fmla="*/ 5 h 1202"/>
                <a:gd name="T8" fmla="*/ 570 w 2478"/>
                <a:gd name="T9" fmla="*/ 2 h 1202"/>
                <a:gd name="T10" fmla="*/ 830 w 2478"/>
                <a:gd name="T11" fmla="*/ 31 h 1202"/>
                <a:gd name="T12" fmla="*/ 1121 w 2478"/>
                <a:gd name="T13" fmla="*/ 89 h 1202"/>
                <a:gd name="T14" fmla="*/ 1323 w 2478"/>
                <a:gd name="T15" fmla="*/ 146 h 1202"/>
                <a:gd name="T16" fmla="*/ 1645 w 2478"/>
                <a:gd name="T17" fmla="*/ 263 h 1202"/>
                <a:gd name="T18" fmla="*/ 2008 w 2478"/>
                <a:gd name="T19" fmla="*/ 440 h 1202"/>
                <a:gd name="T20" fmla="*/ 2235 w 2478"/>
                <a:gd name="T21" fmla="*/ 587 h 1202"/>
                <a:gd name="T22" fmla="*/ 2365 w 2478"/>
                <a:gd name="T23" fmla="*/ 704 h 1202"/>
                <a:gd name="T24" fmla="*/ 2454 w 2478"/>
                <a:gd name="T25" fmla="*/ 830 h 1202"/>
                <a:gd name="T26" fmla="*/ 2477 w 2478"/>
                <a:gd name="T27" fmla="*/ 950 h 1202"/>
                <a:gd name="T28" fmla="*/ 2458 w 2478"/>
                <a:gd name="T29" fmla="*/ 1022 h 1202"/>
                <a:gd name="T30" fmla="*/ 2421 w 2478"/>
                <a:gd name="T31" fmla="*/ 1084 h 1202"/>
                <a:gd name="T32" fmla="*/ 2366 w 2478"/>
                <a:gd name="T33" fmla="*/ 1132 h 1202"/>
                <a:gd name="T34" fmla="*/ 2291 w 2478"/>
                <a:gd name="T35" fmla="*/ 1167 h 1202"/>
                <a:gd name="T36" fmla="*/ 2090 w 2478"/>
                <a:gd name="T37" fmla="*/ 1201 h 1202"/>
                <a:gd name="T38" fmla="*/ 1869 w 2478"/>
                <a:gd name="T39" fmla="*/ 1196 h 1202"/>
                <a:gd name="T40" fmla="*/ 1608 w 2478"/>
                <a:gd name="T41" fmla="*/ 1164 h 1202"/>
                <a:gd name="T42" fmla="*/ 1415 w 2478"/>
                <a:gd name="T43" fmla="*/ 1130 h 1202"/>
                <a:gd name="T44" fmla="*/ 1175 w 2478"/>
                <a:gd name="T45" fmla="*/ 1076 h 1202"/>
                <a:gd name="T46" fmla="*/ 1054 w 2478"/>
                <a:gd name="T47" fmla="*/ 1043 h 1202"/>
                <a:gd name="T48" fmla="*/ 897 w 2478"/>
                <a:gd name="T49" fmla="*/ 985 h 1202"/>
                <a:gd name="T50" fmla="*/ 634 w 2478"/>
                <a:gd name="T51" fmla="*/ 870 h 1202"/>
                <a:gd name="T52" fmla="*/ 389 w 2478"/>
                <a:gd name="T53" fmla="*/ 733 h 1202"/>
                <a:gd name="T54" fmla="*/ 194 w 2478"/>
                <a:gd name="T55" fmla="*/ 587 h 1202"/>
                <a:gd name="T56" fmla="*/ 61 w 2478"/>
                <a:gd name="T57" fmla="*/ 438 h 1202"/>
                <a:gd name="T58" fmla="*/ 18 w 2478"/>
                <a:gd name="T59" fmla="*/ 356 h 1202"/>
                <a:gd name="T60" fmla="*/ 0 w 2478"/>
                <a:gd name="T61" fmla="*/ 277 h 1202"/>
                <a:gd name="T62" fmla="*/ 7 w 2478"/>
                <a:gd name="T63" fmla="*/ 201 h 1202"/>
                <a:gd name="T64" fmla="*/ 178 w 2478"/>
                <a:gd name="T65" fmla="*/ 227 h 1202"/>
                <a:gd name="T66" fmla="*/ 170 w 2478"/>
                <a:gd name="T67" fmla="*/ 268 h 1202"/>
                <a:gd name="T68" fmla="*/ 204 w 2478"/>
                <a:gd name="T69" fmla="*/ 349 h 1202"/>
                <a:gd name="T70" fmla="*/ 293 w 2478"/>
                <a:gd name="T71" fmla="*/ 447 h 1202"/>
                <a:gd name="T72" fmla="*/ 451 w 2478"/>
                <a:gd name="T73" fmla="*/ 569 h 1202"/>
                <a:gd name="T74" fmla="*/ 672 w 2478"/>
                <a:gd name="T75" fmla="*/ 697 h 1202"/>
                <a:gd name="T76" fmla="*/ 935 w 2478"/>
                <a:gd name="T77" fmla="*/ 816 h 1202"/>
                <a:gd name="T78" fmla="*/ 1084 w 2478"/>
                <a:gd name="T79" fmla="*/ 873 h 1202"/>
                <a:gd name="T80" fmla="*/ 1294 w 2478"/>
                <a:gd name="T81" fmla="*/ 928 h 1202"/>
                <a:gd name="T82" fmla="*/ 1542 w 2478"/>
                <a:gd name="T83" fmla="*/ 979 h 1202"/>
                <a:gd name="T84" fmla="*/ 1840 w 2478"/>
                <a:gd name="T85" fmla="*/ 1021 h 1202"/>
                <a:gd name="T86" fmla="*/ 2051 w 2478"/>
                <a:gd name="T87" fmla="*/ 1031 h 1202"/>
                <a:gd name="T88" fmla="*/ 2186 w 2478"/>
                <a:gd name="T89" fmla="*/ 1019 h 1202"/>
                <a:gd name="T90" fmla="*/ 2269 w 2478"/>
                <a:gd name="T91" fmla="*/ 992 h 1202"/>
                <a:gd name="T92" fmla="*/ 2299 w 2478"/>
                <a:gd name="T93" fmla="*/ 957 h 1202"/>
                <a:gd name="T94" fmla="*/ 2308 w 2478"/>
                <a:gd name="T95" fmla="*/ 929 h 1202"/>
                <a:gd name="T96" fmla="*/ 2294 w 2478"/>
                <a:gd name="T97" fmla="*/ 884 h 1202"/>
                <a:gd name="T98" fmla="*/ 2189 w 2478"/>
                <a:gd name="T99" fmla="*/ 771 h 1202"/>
                <a:gd name="T100" fmla="*/ 1979 w 2478"/>
                <a:gd name="T101" fmla="*/ 620 h 1202"/>
                <a:gd name="T102" fmla="*/ 1637 w 2478"/>
                <a:gd name="T103" fmla="*/ 445 h 1202"/>
                <a:gd name="T104" fmla="*/ 1307 w 2478"/>
                <a:gd name="T105" fmla="*/ 320 h 1202"/>
                <a:gd name="T106" fmla="*/ 1112 w 2478"/>
                <a:gd name="T107" fmla="*/ 264 h 1202"/>
                <a:gd name="T108" fmla="*/ 851 w 2478"/>
                <a:gd name="T109" fmla="*/ 207 h 1202"/>
                <a:gd name="T110" fmla="*/ 601 w 2478"/>
                <a:gd name="T111" fmla="*/ 176 h 1202"/>
                <a:gd name="T112" fmla="*/ 374 w 2478"/>
                <a:gd name="T113" fmla="*/ 174 h 1202"/>
                <a:gd name="T114" fmla="*/ 239 w 2478"/>
                <a:gd name="T115" fmla="*/ 193 h 1202"/>
                <a:gd name="T116" fmla="*/ 182 w 2478"/>
                <a:gd name="T117" fmla="*/ 22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78" h="1202">
                  <a:moveTo>
                    <a:pt x="13" y="181"/>
                  </a:moveTo>
                  <a:lnTo>
                    <a:pt x="14" y="178"/>
                  </a:lnTo>
                  <a:lnTo>
                    <a:pt x="16" y="172"/>
                  </a:lnTo>
                  <a:lnTo>
                    <a:pt x="20" y="166"/>
                  </a:lnTo>
                  <a:lnTo>
                    <a:pt x="24" y="156"/>
                  </a:lnTo>
                  <a:lnTo>
                    <a:pt x="28" y="147"/>
                  </a:lnTo>
                  <a:lnTo>
                    <a:pt x="34" y="138"/>
                  </a:lnTo>
                  <a:lnTo>
                    <a:pt x="39" y="130"/>
                  </a:lnTo>
                  <a:lnTo>
                    <a:pt x="46" y="121"/>
                  </a:lnTo>
                  <a:lnTo>
                    <a:pt x="54" y="113"/>
                  </a:lnTo>
                  <a:lnTo>
                    <a:pt x="61" y="106"/>
                  </a:lnTo>
                  <a:lnTo>
                    <a:pt x="69" y="98"/>
                  </a:lnTo>
                  <a:lnTo>
                    <a:pt x="78" y="90"/>
                  </a:lnTo>
                  <a:lnTo>
                    <a:pt x="87" y="83"/>
                  </a:lnTo>
                  <a:lnTo>
                    <a:pt x="98" y="77"/>
                  </a:lnTo>
                  <a:lnTo>
                    <a:pt x="108" y="71"/>
                  </a:lnTo>
                  <a:lnTo>
                    <a:pt x="131" y="59"/>
                  </a:lnTo>
                  <a:lnTo>
                    <a:pt x="155" y="47"/>
                  </a:lnTo>
                  <a:lnTo>
                    <a:pt x="181" y="38"/>
                  </a:lnTo>
                  <a:lnTo>
                    <a:pt x="210" y="29"/>
                  </a:lnTo>
                  <a:lnTo>
                    <a:pt x="241" y="21"/>
                  </a:lnTo>
                  <a:lnTo>
                    <a:pt x="273" y="14"/>
                  </a:lnTo>
                  <a:lnTo>
                    <a:pt x="307" y="9"/>
                  </a:lnTo>
                  <a:lnTo>
                    <a:pt x="342" y="5"/>
                  </a:lnTo>
                  <a:lnTo>
                    <a:pt x="380" y="2"/>
                  </a:lnTo>
                  <a:lnTo>
                    <a:pt x="418" y="0"/>
                  </a:lnTo>
                  <a:lnTo>
                    <a:pt x="454" y="0"/>
                  </a:lnTo>
                  <a:lnTo>
                    <a:pt x="491" y="0"/>
                  </a:lnTo>
                  <a:lnTo>
                    <a:pt x="529" y="1"/>
                  </a:lnTo>
                  <a:lnTo>
                    <a:pt x="570" y="2"/>
                  </a:lnTo>
                  <a:lnTo>
                    <a:pt x="610" y="5"/>
                  </a:lnTo>
                  <a:lnTo>
                    <a:pt x="652" y="8"/>
                  </a:lnTo>
                  <a:lnTo>
                    <a:pt x="695" y="12"/>
                  </a:lnTo>
                  <a:lnTo>
                    <a:pt x="739" y="17"/>
                  </a:lnTo>
                  <a:lnTo>
                    <a:pt x="784" y="23"/>
                  </a:lnTo>
                  <a:lnTo>
                    <a:pt x="830" y="31"/>
                  </a:lnTo>
                  <a:lnTo>
                    <a:pt x="876" y="38"/>
                  </a:lnTo>
                  <a:lnTo>
                    <a:pt x="924" y="46"/>
                  </a:lnTo>
                  <a:lnTo>
                    <a:pt x="972" y="55"/>
                  </a:lnTo>
                  <a:lnTo>
                    <a:pt x="1021" y="66"/>
                  </a:lnTo>
                  <a:lnTo>
                    <a:pt x="1070" y="77"/>
                  </a:lnTo>
                  <a:lnTo>
                    <a:pt x="1121" y="89"/>
                  </a:lnTo>
                  <a:lnTo>
                    <a:pt x="1154" y="98"/>
                  </a:lnTo>
                  <a:lnTo>
                    <a:pt x="1187" y="107"/>
                  </a:lnTo>
                  <a:lnTo>
                    <a:pt x="1220" y="116"/>
                  </a:lnTo>
                  <a:lnTo>
                    <a:pt x="1254" y="126"/>
                  </a:lnTo>
                  <a:lnTo>
                    <a:pt x="1288" y="136"/>
                  </a:lnTo>
                  <a:lnTo>
                    <a:pt x="1323" y="146"/>
                  </a:lnTo>
                  <a:lnTo>
                    <a:pt x="1359" y="157"/>
                  </a:lnTo>
                  <a:lnTo>
                    <a:pt x="1393" y="169"/>
                  </a:lnTo>
                  <a:lnTo>
                    <a:pt x="1457" y="191"/>
                  </a:lnTo>
                  <a:lnTo>
                    <a:pt x="1521" y="214"/>
                  </a:lnTo>
                  <a:lnTo>
                    <a:pt x="1584" y="239"/>
                  </a:lnTo>
                  <a:lnTo>
                    <a:pt x="1645" y="263"/>
                  </a:lnTo>
                  <a:lnTo>
                    <a:pt x="1705" y="288"/>
                  </a:lnTo>
                  <a:lnTo>
                    <a:pt x="1762" y="314"/>
                  </a:lnTo>
                  <a:lnTo>
                    <a:pt x="1818" y="340"/>
                  </a:lnTo>
                  <a:lnTo>
                    <a:pt x="1872" y="367"/>
                  </a:lnTo>
                  <a:lnTo>
                    <a:pt x="1943" y="403"/>
                  </a:lnTo>
                  <a:lnTo>
                    <a:pt x="2008" y="440"/>
                  </a:lnTo>
                  <a:lnTo>
                    <a:pt x="2071" y="477"/>
                  </a:lnTo>
                  <a:lnTo>
                    <a:pt x="2130" y="514"/>
                  </a:lnTo>
                  <a:lnTo>
                    <a:pt x="2158" y="533"/>
                  </a:lnTo>
                  <a:lnTo>
                    <a:pt x="2185" y="551"/>
                  </a:lnTo>
                  <a:lnTo>
                    <a:pt x="2210" y="570"/>
                  </a:lnTo>
                  <a:lnTo>
                    <a:pt x="2235" y="587"/>
                  </a:lnTo>
                  <a:lnTo>
                    <a:pt x="2259" y="606"/>
                  </a:lnTo>
                  <a:lnTo>
                    <a:pt x="2281" y="624"/>
                  </a:lnTo>
                  <a:lnTo>
                    <a:pt x="2302" y="643"/>
                  </a:lnTo>
                  <a:lnTo>
                    <a:pt x="2323" y="661"/>
                  </a:lnTo>
                  <a:lnTo>
                    <a:pt x="2344" y="682"/>
                  </a:lnTo>
                  <a:lnTo>
                    <a:pt x="2365" y="704"/>
                  </a:lnTo>
                  <a:lnTo>
                    <a:pt x="2384" y="724"/>
                  </a:lnTo>
                  <a:lnTo>
                    <a:pt x="2402" y="746"/>
                  </a:lnTo>
                  <a:lnTo>
                    <a:pt x="2417" y="767"/>
                  </a:lnTo>
                  <a:lnTo>
                    <a:pt x="2432" y="788"/>
                  </a:lnTo>
                  <a:lnTo>
                    <a:pt x="2444" y="809"/>
                  </a:lnTo>
                  <a:lnTo>
                    <a:pt x="2454" y="830"/>
                  </a:lnTo>
                  <a:lnTo>
                    <a:pt x="2463" y="850"/>
                  </a:lnTo>
                  <a:lnTo>
                    <a:pt x="2470" y="871"/>
                  </a:lnTo>
                  <a:lnTo>
                    <a:pt x="2474" y="891"/>
                  </a:lnTo>
                  <a:lnTo>
                    <a:pt x="2477" y="911"/>
                  </a:lnTo>
                  <a:lnTo>
                    <a:pt x="2478" y="931"/>
                  </a:lnTo>
                  <a:lnTo>
                    <a:pt x="2477" y="950"/>
                  </a:lnTo>
                  <a:lnTo>
                    <a:pt x="2474" y="969"/>
                  </a:lnTo>
                  <a:lnTo>
                    <a:pt x="2469" y="987"/>
                  </a:lnTo>
                  <a:lnTo>
                    <a:pt x="2465" y="1000"/>
                  </a:lnTo>
                  <a:lnTo>
                    <a:pt x="2462" y="1011"/>
                  </a:lnTo>
                  <a:lnTo>
                    <a:pt x="2458" y="1022"/>
                  </a:lnTo>
                  <a:lnTo>
                    <a:pt x="2453" y="1034"/>
                  </a:lnTo>
                  <a:lnTo>
                    <a:pt x="2448" y="1045"/>
                  </a:lnTo>
                  <a:lnTo>
                    <a:pt x="2442" y="1055"/>
                  </a:lnTo>
                  <a:lnTo>
                    <a:pt x="2436" y="1065"/>
                  </a:lnTo>
                  <a:lnTo>
                    <a:pt x="2429" y="1075"/>
                  </a:lnTo>
                  <a:lnTo>
                    <a:pt x="2421" y="1084"/>
                  </a:lnTo>
                  <a:lnTo>
                    <a:pt x="2414" y="1092"/>
                  </a:lnTo>
                  <a:lnTo>
                    <a:pt x="2405" y="1101"/>
                  </a:lnTo>
                  <a:lnTo>
                    <a:pt x="2396" y="1109"/>
                  </a:lnTo>
                  <a:lnTo>
                    <a:pt x="2386" y="1117"/>
                  </a:lnTo>
                  <a:lnTo>
                    <a:pt x="2376" y="1124"/>
                  </a:lnTo>
                  <a:lnTo>
                    <a:pt x="2366" y="1132"/>
                  </a:lnTo>
                  <a:lnTo>
                    <a:pt x="2355" y="1138"/>
                  </a:lnTo>
                  <a:lnTo>
                    <a:pt x="2343" y="1145"/>
                  </a:lnTo>
                  <a:lnTo>
                    <a:pt x="2331" y="1150"/>
                  </a:lnTo>
                  <a:lnTo>
                    <a:pt x="2317" y="1156"/>
                  </a:lnTo>
                  <a:lnTo>
                    <a:pt x="2304" y="1162"/>
                  </a:lnTo>
                  <a:lnTo>
                    <a:pt x="2291" y="1167"/>
                  </a:lnTo>
                  <a:lnTo>
                    <a:pt x="2262" y="1176"/>
                  </a:lnTo>
                  <a:lnTo>
                    <a:pt x="2231" y="1183"/>
                  </a:lnTo>
                  <a:lnTo>
                    <a:pt x="2198" y="1189"/>
                  </a:lnTo>
                  <a:lnTo>
                    <a:pt x="2164" y="1195"/>
                  </a:lnTo>
                  <a:lnTo>
                    <a:pt x="2127" y="1199"/>
                  </a:lnTo>
                  <a:lnTo>
                    <a:pt x="2090" y="1201"/>
                  </a:lnTo>
                  <a:lnTo>
                    <a:pt x="2056" y="1202"/>
                  </a:lnTo>
                  <a:lnTo>
                    <a:pt x="2021" y="1202"/>
                  </a:lnTo>
                  <a:lnTo>
                    <a:pt x="1985" y="1202"/>
                  </a:lnTo>
                  <a:lnTo>
                    <a:pt x="1948" y="1201"/>
                  </a:lnTo>
                  <a:lnTo>
                    <a:pt x="1909" y="1199"/>
                  </a:lnTo>
                  <a:lnTo>
                    <a:pt x="1869" y="1196"/>
                  </a:lnTo>
                  <a:lnTo>
                    <a:pt x="1828" y="1192"/>
                  </a:lnTo>
                  <a:lnTo>
                    <a:pt x="1786" y="1188"/>
                  </a:lnTo>
                  <a:lnTo>
                    <a:pt x="1743" y="1183"/>
                  </a:lnTo>
                  <a:lnTo>
                    <a:pt x="1699" y="1177"/>
                  </a:lnTo>
                  <a:lnTo>
                    <a:pt x="1654" y="1171"/>
                  </a:lnTo>
                  <a:lnTo>
                    <a:pt x="1608" y="1164"/>
                  </a:lnTo>
                  <a:lnTo>
                    <a:pt x="1561" y="1156"/>
                  </a:lnTo>
                  <a:lnTo>
                    <a:pt x="1513" y="1148"/>
                  </a:lnTo>
                  <a:lnTo>
                    <a:pt x="1465" y="1139"/>
                  </a:lnTo>
                  <a:lnTo>
                    <a:pt x="1415" y="1130"/>
                  </a:lnTo>
                  <a:lnTo>
                    <a:pt x="1415" y="1129"/>
                  </a:lnTo>
                  <a:lnTo>
                    <a:pt x="1415" y="1130"/>
                  </a:lnTo>
                  <a:lnTo>
                    <a:pt x="1376" y="1121"/>
                  </a:lnTo>
                  <a:lnTo>
                    <a:pt x="1337" y="1113"/>
                  </a:lnTo>
                  <a:lnTo>
                    <a:pt x="1298" y="1105"/>
                  </a:lnTo>
                  <a:lnTo>
                    <a:pt x="1258" y="1096"/>
                  </a:lnTo>
                  <a:lnTo>
                    <a:pt x="1216" y="1086"/>
                  </a:lnTo>
                  <a:lnTo>
                    <a:pt x="1175" y="1076"/>
                  </a:lnTo>
                  <a:lnTo>
                    <a:pt x="1133" y="1067"/>
                  </a:lnTo>
                  <a:lnTo>
                    <a:pt x="1092" y="1055"/>
                  </a:lnTo>
                  <a:lnTo>
                    <a:pt x="1085" y="1053"/>
                  </a:lnTo>
                  <a:lnTo>
                    <a:pt x="1081" y="1052"/>
                  </a:lnTo>
                  <a:lnTo>
                    <a:pt x="1054" y="1043"/>
                  </a:lnTo>
                  <a:lnTo>
                    <a:pt x="1027" y="1034"/>
                  </a:lnTo>
                  <a:lnTo>
                    <a:pt x="1001" y="1024"/>
                  </a:lnTo>
                  <a:lnTo>
                    <a:pt x="974" y="1015"/>
                  </a:lnTo>
                  <a:lnTo>
                    <a:pt x="949" y="1005"/>
                  </a:lnTo>
                  <a:lnTo>
                    <a:pt x="923" y="996"/>
                  </a:lnTo>
                  <a:lnTo>
                    <a:pt x="897" y="985"/>
                  </a:lnTo>
                  <a:lnTo>
                    <a:pt x="872" y="976"/>
                  </a:lnTo>
                  <a:lnTo>
                    <a:pt x="822" y="955"/>
                  </a:lnTo>
                  <a:lnTo>
                    <a:pt x="773" y="935"/>
                  </a:lnTo>
                  <a:lnTo>
                    <a:pt x="726" y="913"/>
                  </a:lnTo>
                  <a:lnTo>
                    <a:pt x="680" y="891"/>
                  </a:lnTo>
                  <a:lnTo>
                    <a:pt x="634" y="870"/>
                  </a:lnTo>
                  <a:lnTo>
                    <a:pt x="590" y="847"/>
                  </a:lnTo>
                  <a:lnTo>
                    <a:pt x="547" y="825"/>
                  </a:lnTo>
                  <a:lnTo>
                    <a:pt x="506" y="802"/>
                  </a:lnTo>
                  <a:lnTo>
                    <a:pt x="466" y="779"/>
                  </a:lnTo>
                  <a:lnTo>
                    <a:pt x="426" y="755"/>
                  </a:lnTo>
                  <a:lnTo>
                    <a:pt x="389" y="733"/>
                  </a:lnTo>
                  <a:lnTo>
                    <a:pt x="353" y="709"/>
                  </a:lnTo>
                  <a:lnTo>
                    <a:pt x="319" y="685"/>
                  </a:lnTo>
                  <a:lnTo>
                    <a:pt x="286" y="662"/>
                  </a:lnTo>
                  <a:lnTo>
                    <a:pt x="255" y="638"/>
                  </a:lnTo>
                  <a:lnTo>
                    <a:pt x="226" y="614"/>
                  </a:lnTo>
                  <a:lnTo>
                    <a:pt x="194" y="587"/>
                  </a:lnTo>
                  <a:lnTo>
                    <a:pt x="165" y="561"/>
                  </a:lnTo>
                  <a:lnTo>
                    <a:pt x="137" y="533"/>
                  </a:lnTo>
                  <a:lnTo>
                    <a:pt x="112" y="506"/>
                  </a:lnTo>
                  <a:lnTo>
                    <a:pt x="90" y="478"/>
                  </a:lnTo>
                  <a:lnTo>
                    <a:pt x="70" y="451"/>
                  </a:lnTo>
                  <a:lnTo>
                    <a:pt x="61" y="438"/>
                  </a:lnTo>
                  <a:lnTo>
                    <a:pt x="51" y="424"/>
                  </a:lnTo>
                  <a:lnTo>
                    <a:pt x="44" y="411"/>
                  </a:lnTo>
                  <a:lnTo>
                    <a:pt x="37" y="397"/>
                  </a:lnTo>
                  <a:lnTo>
                    <a:pt x="30" y="383"/>
                  </a:lnTo>
                  <a:lnTo>
                    <a:pt x="24" y="370"/>
                  </a:lnTo>
                  <a:lnTo>
                    <a:pt x="18" y="356"/>
                  </a:lnTo>
                  <a:lnTo>
                    <a:pt x="13" y="343"/>
                  </a:lnTo>
                  <a:lnTo>
                    <a:pt x="9" y="331"/>
                  </a:lnTo>
                  <a:lnTo>
                    <a:pt x="6" y="317"/>
                  </a:lnTo>
                  <a:lnTo>
                    <a:pt x="4" y="304"/>
                  </a:lnTo>
                  <a:lnTo>
                    <a:pt x="2" y="290"/>
                  </a:lnTo>
                  <a:lnTo>
                    <a:pt x="0" y="277"/>
                  </a:lnTo>
                  <a:lnTo>
                    <a:pt x="0" y="265"/>
                  </a:lnTo>
                  <a:lnTo>
                    <a:pt x="0" y="251"/>
                  </a:lnTo>
                  <a:lnTo>
                    <a:pt x="1" y="239"/>
                  </a:lnTo>
                  <a:lnTo>
                    <a:pt x="2" y="227"/>
                  </a:lnTo>
                  <a:lnTo>
                    <a:pt x="4" y="213"/>
                  </a:lnTo>
                  <a:lnTo>
                    <a:pt x="7" y="201"/>
                  </a:lnTo>
                  <a:lnTo>
                    <a:pt x="11" y="188"/>
                  </a:lnTo>
                  <a:lnTo>
                    <a:pt x="12" y="186"/>
                  </a:lnTo>
                  <a:lnTo>
                    <a:pt x="12" y="185"/>
                  </a:lnTo>
                  <a:lnTo>
                    <a:pt x="13" y="181"/>
                  </a:lnTo>
                  <a:close/>
                  <a:moveTo>
                    <a:pt x="178" y="226"/>
                  </a:moveTo>
                  <a:lnTo>
                    <a:pt x="178" y="227"/>
                  </a:lnTo>
                  <a:lnTo>
                    <a:pt x="175" y="237"/>
                  </a:lnTo>
                  <a:lnTo>
                    <a:pt x="172" y="245"/>
                  </a:lnTo>
                  <a:lnTo>
                    <a:pt x="171" y="250"/>
                  </a:lnTo>
                  <a:lnTo>
                    <a:pt x="170" y="255"/>
                  </a:lnTo>
                  <a:lnTo>
                    <a:pt x="170" y="262"/>
                  </a:lnTo>
                  <a:lnTo>
                    <a:pt x="170" y="268"/>
                  </a:lnTo>
                  <a:lnTo>
                    <a:pt x="171" y="280"/>
                  </a:lnTo>
                  <a:lnTo>
                    <a:pt x="174" y="293"/>
                  </a:lnTo>
                  <a:lnTo>
                    <a:pt x="179" y="306"/>
                  </a:lnTo>
                  <a:lnTo>
                    <a:pt x="185" y="319"/>
                  </a:lnTo>
                  <a:lnTo>
                    <a:pt x="194" y="334"/>
                  </a:lnTo>
                  <a:lnTo>
                    <a:pt x="204" y="349"/>
                  </a:lnTo>
                  <a:lnTo>
                    <a:pt x="215" y="365"/>
                  </a:lnTo>
                  <a:lnTo>
                    <a:pt x="228" y="380"/>
                  </a:lnTo>
                  <a:lnTo>
                    <a:pt x="242" y="397"/>
                  </a:lnTo>
                  <a:lnTo>
                    <a:pt x="257" y="413"/>
                  </a:lnTo>
                  <a:lnTo>
                    <a:pt x="275" y="430"/>
                  </a:lnTo>
                  <a:lnTo>
                    <a:pt x="293" y="447"/>
                  </a:lnTo>
                  <a:lnTo>
                    <a:pt x="313" y="465"/>
                  </a:lnTo>
                  <a:lnTo>
                    <a:pt x="334" y="482"/>
                  </a:lnTo>
                  <a:lnTo>
                    <a:pt x="360" y="504"/>
                  </a:lnTo>
                  <a:lnTo>
                    <a:pt x="389" y="525"/>
                  </a:lnTo>
                  <a:lnTo>
                    <a:pt x="419" y="547"/>
                  </a:lnTo>
                  <a:lnTo>
                    <a:pt x="451" y="569"/>
                  </a:lnTo>
                  <a:lnTo>
                    <a:pt x="484" y="590"/>
                  </a:lnTo>
                  <a:lnTo>
                    <a:pt x="519" y="612"/>
                  </a:lnTo>
                  <a:lnTo>
                    <a:pt x="555" y="634"/>
                  </a:lnTo>
                  <a:lnTo>
                    <a:pt x="592" y="655"/>
                  </a:lnTo>
                  <a:lnTo>
                    <a:pt x="631" y="676"/>
                  </a:lnTo>
                  <a:lnTo>
                    <a:pt x="672" y="697"/>
                  </a:lnTo>
                  <a:lnTo>
                    <a:pt x="713" y="717"/>
                  </a:lnTo>
                  <a:lnTo>
                    <a:pt x="755" y="738"/>
                  </a:lnTo>
                  <a:lnTo>
                    <a:pt x="798" y="758"/>
                  </a:lnTo>
                  <a:lnTo>
                    <a:pt x="842" y="778"/>
                  </a:lnTo>
                  <a:lnTo>
                    <a:pt x="889" y="798"/>
                  </a:lnTo>
                  <a:lnTo>
                    <a:pt x="935" y="816"/>
                  </a:lnTo>
                  <a:lnTo>
                    <a:pt x="959" y="826"/>
                  </a:lnTo>
                  <a:lnTo>
                    <a:pt x="984" y="836"/>
                  </a:lnTo>
                  <a:lnTo>
                    <a:pt x="1008" y="845"/>
                  </a:lnTo>
                  <a:lnTo>
                    <a:pt x="1033" y="854"/>
                  </a:lnTo>
                  <a:lnTo>
                    <a:pt x="1059" y="864"/>
                  </a:lnTo>
                  <a:lnTo>
                    <a:pt x="1084" y="873"/>
                  </a:lnTo>
                  <a:lnTo>
                    <a:pt x="1109" y="881"/>
                  </a:lnTo>
                  <a:lnTo>
                    <a:pt x="1135" y="890"/>
                  </a:lnTo>
                  <a:lnTo>
                    <a:pt x="1174" y="900"/>
                  </a:lnTo>
                  <a:lnTo>
                    <a:pt x="1214" y="910"/>
                  </a:lnTo>
                  <a:lnTo>
                    <a:pt x="1254" y="919"/>
                  </a:lnTo>
                  <a:lnTo>
                    <a:pt x="1294" y="928"/>
                  </a:lnTo>
                  <a:lnTo>
                    <a:pt x="1333" y="937"/>
                  </a:lnTo>
                  <a:lnTo>
                    <a:pt x="1372" y="945"/>
                  </a:lnTo>
                  <a:lnTo>
                    <a:pt x="1410" y="953"/>
                  </a:lnTo>
                  <a:lnTo>
                    <a:pt x="1448" y="961"/>
                  </a:lnTo>
                  <a:lnTo>
                    <a:pt x="1542" y="979"/>
                  </a:lnTo>
                  <a:lnTo>
                    <a:pt x="1631" y="995"/>
                  </a:lnTo>
                  <a:lnTo>
                    <a:pt x="1675" y="1001"/>
                  </a:lnTo>
                  <a:lnTo>
                    <a:pt x="1718" y="1007"/>
                  </a:lnTo>
                  <a:lnTo>
                    <a:pt x="1759" y="1012"/>
                  </a:lnTo>
                  <a:lnTo>
                    <a:pt x="1799" y="1017"/>
                  </a:lnTo>
                  <a:lnTo>
                    <a:pt x="1840" y="1021"/>
                  </a:lnTo>
                  <a:lnTo>
                    <a:pt x="1878" y="1024"/>
                  </a:lnTo>
                  <a:lnTo>
                    <a:pt x="1915" y="1028"/>
                  </a:lnTo>
                  <a:lnTo>
                    <a:pt x="1951" y="1030"/>
                  </a:lnTo>
                  <a:lnTo>
                    <a:pt x="1985" y="1031"/>
                  </a:lnTo>
                  <a:lnTo>
                    <a:pt x="2019" y="1031"/>
                  </a:lnTo>
                  <a:lnTo>
                    <a:pt x="2051" y="1031"/>
                  </a:lnTo>
                  <a:lnTo>
                    <a:pt x="2082" y="1030"/>
                  </a:lnTo>
                  <a:lnTo>
                    <a:pt x="2104" y="1029"/>
                  </a:lnTo>
                  <a:lnTo>
                    <a:pt x="2127" y="1026"/>
                  </a:lnTo>
                  <a:lnTo>
                    <a:pt x="2147" y="1024"/>
                  </a:lnTo>
                  <a:lnTo>
                    <a:pt x="2167" y="1022"/>
                  </a:lnTo>
                  <a:lnTo>
                    <a:pt x="2186" y="1019"/>
                  </a:lnTo>
                  <a:lnTo>
                    <a:pt x="2203" y="1015"/>
                  </a:lnTo>
                  <a:lnTo>
                    <a:pt x="2220" y="1012"/>
                  </a:lnTo>
                  <a:lnTo>
                    <a:pt x="2234" y="1008"/>
                  </a:lnTo>
                  <a:lnTo>
                    <a:pt x="2247" y="1003"/>
                  </a:lnTo>
                  <a:lnTo>
                    <a:pt x="2259" y="998"/>
                  </a:lnTo>
                  <a:lnTo>
                    <a:pt x="2269" y="992"/>
                  </a:lnTo>
                  <a:lnTo>
                    <a:pt x="2278" y="986"/>
                  </a:lnTo>
                  <a:lnTo>
                    <a:pt x="2286" y="980"/>
                  </a:lnTo>
                  <a:lnTo>
                    <a:pt x="2292" y="973"/>
                  </a:lnTo>
                  <a:lnTo>
                    <a:pt x="2296" y="966"/>
                  </a:lnTo>
                  <a:lnTo>
                    <a:pt x="2299" y="957"/>
                  </a:lnTo>
                  <a:lnTo>
                    <a:pt x="2300" y="954"/>
                  </a:lnTo>
                  <a:lnTo>
                    <a:pt x="2303" y="944"/>
                  </a:lnTo>
                  <a:lnTo>
                    <a:pt x="2307" y="935"/>
                  </a:lnTo>
                  <a:lnTo>
                    <a:pt x="2307" y="934"/>
                  </a:lnTo>
                  <a:lnTo>
                    <a:pt x="2308" y="929"/>
                  </a:lnTo>
                  <a:lnTo>
                    <a:pt x="2308" y="922"/>
                  </a:lnTo>
                  <a:lnTo>
                    <a:pt x="2307" y="915"/>
                  </a:lnTo>
                  <a:lnTo>
                    <a:pt x="2306" y="908"/>
                  </a:lnTo>
                  <a:lnTo>
                    <a:pt x="2303" y="901"/>
                  </a:lnTo>
                  <a:lnTo>
                    <a:pt x="2299" y="892"/>
                  </a:lnTo>
                  <a:lnTo>
                    <a:pt x="2294" y="884"/>
                  </a:lnTo>
                  <a:lnTo>
                    <a:pt x="2288" y="875"/>
                  </a:lnTo>
                  <a:lnTo>
                    <a:pt x="2272" y="855"/>
                  </a:lnTo>
                  <a:lnTo>
                    <a:pt x="2254" y="834"/>
                  </a:lnTo>
                  <a:lnTo>
                    <a:pt x="2232" y="811"/>
                  </a:lnTo>
                  <a:lnTo>
                    <a:pt x="2206" y="786"/>
                  </a:lnTo>
                  <a:lnTo>
                    <a:pt x="2189" y="771"/>
                  </a:lnTo>
                  <a:lnTo>
                    <a:pt x="2169" y="754"/>
                  </a:lnTo>
                  <a:lnTo>
                    <a:pt x="2150" y="738"/>
                  </a:lnTo>
                  <a:lnTo>
                    <a:pt x="2128" y="721"/>
                  </a:lnTo>
                  <a:lnTo>
                    <a:pt x="2083" y="687"/>
                  </a:lnTo>
                  <a:lnTo>
                    <a:pt x="2032" y="654"/>
                  </a:lnTo>
                  <a:lnTo>
                    <a:pt x="1979" y="620"/>
                  </a:lnTo>
                  <a:lnTo>
                    <a:pt x="1922" y="586"/>
                  </a:lnTo>
                  <a:lnTo>
                    <a:pt x="1860" y="553"/>
                  </a:lnTo>
                  <a:lnTo>
                    <a:pt x="1796" y="519"/>
                  </a:lnTo>
                  <a:lnTo>
                    <a:pt x="1745" y="495"/>
                  </a:lnTo>
                  <a:lnTo>
                    <a:pt x="1691" y="470"/>
                  </a:lnTo>
                  <a:lnTo>
                    <a:pt x="1637" y="445"/>
                  </a:lnTo>
                  <a:lnTo>
                    <a:pt x="1580" y="420"/>
                  </a:lnTo>
                  <a:lnTo>
                    <a:pt x="1521" y="398"/>
                  </a:lnTo>
                  <a:lnTo>
                    <a:pt x="1463" y="375"/>
                  </a:lnTo>
                  <a:lnTo>
                    <a:pt x="1402" y="352"/>
                  </a:lnTo>
                  <a:lnTo>
                    <a:pt x="1340" y="331"/>
                  </a:lnTo>
                  <a:lnTo>
                    <a:pt x="1307" y="320"/>
                  </a:lnTo>
                  <a:lnTo>
                    <a:pt x="1274" y="310"/>
                  </a:lnTo>
                  <a:lnTo>
                    <a:pt x="1242" y="301"/>
                  </a:lnTo>
                  <a:lnTo>
                    <a:pt x="1209" y="290"/>
                  </a:lnTo>
                  <a:lnTo>
                    <a:pt x="1176" y="281"/>
                  </a:lnTo>
                  <a:lnTo>
                    <a:pt x="1144" y="272"/>
                  </a:lnTo>
                  <a:lnTo>
                    <a:pt x="1112" y="264"/>
                  </a:lnTo>
                  <a:lnTo>
                    <a:pt x="1079" y="255"/>
                  </a:lnTo>
                  <a:lnTo>
                    <a:pt x="1033" y="244"/>
                  </a:lnTo>
                  <a:lnTo>
                    <a:pt x="986" y="234"/>
                  </a:lnTo>
                  <a:lnTo>
                    <a:pt x="940" y="224"/>
                  </a:lnTo>
                  <a:lnTo>
                    <a:pt x="895" y="215"/>
                  </a:lnTo>
                  <a:lnTo>
                    <a:pt x="851" y="207"/>
                  </a:lnTo>
                  <a:lnTo>
                    <a:pt x="806" y="200"/>
                  </a:lnTo>
                  <a:lnTo>
                    <a:pt x="764" y="194"/>
                  </a:lnTo>
                  <a:lnTo>
                    <a:pt x="722" y="187"/>
                  </a:lnTo>
                  <a:lnTo>
                    <a:pt x="681" y="183"/>
                  </a:lnTo>
                  <a:lnTo>
                    <a:pt x="641" y="179"/>
                  </a:lnTo>
                  <a:lnTo>
                    <a:pt x="601" y="176"/>
                  </a:lnTo>
                  <a:lnTo>
                    <a:pt x="563" y="173"/>
                  </a:lnTo>
                  <a:lnTo>
                    <a:pt x="526" y="172"/>
                  </a:lnTo>
                  <a:lnTo>
                    <a:pt x="491" y="171"/>
                  </a:lnTo>
                  <a:lnTo>
                    <a:pt x="456" y="171"/>
                  </a:lnTo>
                  <a:lnTo>
                    <a:pt x="423" y="171"/>
                  </a:lnTo>
                  <a:lnTo>
                    <a:pt x="374" y="174"/>
                  </a:lnTo>
                  <a:lnTo>
                    <a:pt x="329" y="177"/>
                  </a:lnTo>
                  <a:lnTo>
                    <a:pt x="308" y="180"/>
                  </a:lnTo>
                  <a:lnTo>
                    <a:pt x="288" y="182"/>
                  </a:lnTo>
                  <a:lnTo>
                    <a:pt x="271" y="185"/>
                  </a:lnTo>
                  <a:lnTo>
                    <a:pt x="254" y="188"/>
                  </a:lnTo>
                  <a:lnTo>
                    <a:pt x="239" y="193"/>
                  </a:lnTo>
                  <a:lnTo>
                    <a:pt x="226" y="197"/>
                  </a:lnTo>
                  <a:lnTo>
                    <a:pt x="213" y="201"/>
                  </a:lnTo>
                  <a:lnTo>
                    <a:pt x="203" y="205"/>
                  </a:lnTo>
                  <a:lnTo>
                    <a:pt x="195" y="210"/>
                  </a:lnTo>
                  <a:lnTo>
                    <a:pt x="187" y="215"/>
                  </a:lnTo>
                  <a:lnTo>
                    <a:pt x="182" y="220"/>
                  </a:lnTo>
                  <a:lnTo>
                    <a:pt x="178" y="226"/>
                  </a:lnTo>
                  <a:close/>
                  <a:moveTo>
                    <a:pt x="178" y="227"/>
                  </a:moveTo>
                  <a:lnTo>
                    <a:pt x="177" y="231"/>
                  </a:lnTo>
                  <a:lnTo>
                    <a:pt x="178" y="22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1" name="Freeform 47"/>
            <p:cNvSpPr>
              <a:spLocks noChangeArrowheads="1"/>
            </p:cNvSpPr>
            <p:nvPr/>
          </p:nvSpPr>
          <p:spPr bwMode="auto">
            <a:xfrm>
              <a:off x="5776913" y="1979517"/>
              <a:ext cx="1042987" cy="568337"/>
            </a:xfrm>
            <a:custGeom>
              <a:avLst/>
              <a:gdLst>
                <a:gd name="T0" fmla="*/ 24 w 2308"/>
                <a:gd name="T1" fmla="*/ 93 h 1031"/>
                <a:gd name="T2" fmla="*/ 67 w 2308"/>
                <a:gd name="T3" fmla="*/ 56 h 1031"/>
                <a:gd name="T4" fmla="*/ 136 w 2308"/>
                <a:gd name="T5" fmla="*/ 28 h 1031"/>
                <a:gd name="T6" fmla="*/ 228 w 2308"/>
                <a:gd name="T7" fmla="*/ 10 h 1031"/>
                <a:gd name="T8" fmla="*/ 339 w 2308"/>
                <a:gd name="T9" fmla="*/ 0 h 1031"/>
                <a:gd name="T10" fmla="*/ 467 w 2308"/>
                <a:gd name="T11" fmla="*/ 2 h 1031"/>
                <a:gd name="T12" fmla="*/ 610 w 2308"/>
                <a:gd name="T13" fmla="*/ 14 h 1031"/>
                <a:gd name="T14" fmla="*/ 766 w 2308"/>
                <a:gd name="T15" fmla="*/ 35 h 1031"/>
                <a:gd name="T16" fmla="*/ 932 w 2308"/>
                <a:gd name="T17" fmla="*/ 67 h 1031"/>
                <a:gd name="T18" fmla="*/ 1104 w 2308"/>
                <a:gd name="T19" fmla="*/ 111 h 1031"/>
                <a:gd name="T20" fmla="*/ 1282 w 2308"/>
                <a:gd name="T21" fmla="*/ 165 h 1031"/>
                <a:gd name="T22" fmla="*/ 1455 w 2308"/>
                <a:gd name="T23" fmla="*/ 228 h 1031"/>
                <a:gd name="T24" fmla="*/ 1619 w 2308"/>
                <a:gd name="T25" fmla="*/ 296 h 1031"/>
                <a:gd name="T26" fmla="*/ 1769 w 2308"/>
                <a:gd name="T27" fmla="*/ 368 h 1031"/>
                <a:gd name="T28" fmla="*/ 1905 w 2308"/>
                <a:gd name="T29" fmla="*/ 443 h 1031"/>
                <a:gd name="T30" fmla="*/ 2024 w 2308"/>
                <a:gd name="T31" fmla="*/ 518 h 1031"/>
                <a:gd name="T32" fmla="*/ 2125 w 2308"/>
                <a:gd name="T33" fmla="*/ 592 h 1031"/>
                <a:gd name="T34" fmla="*/ 2206 w 2308"/>
                <a:gd name="T35" fmla="*/ 664 h 1031"/>
                <a:gd name="T36" fmla="*/ 2264 w 2308"/>
                <a:gd name="T37" fmla="*/ 733 h 1031"/>
                <a:gd name="T38" fmla="*/ 2299 w 2308"/>
                <a:gd name="T39" fmla="*/ 797 h 1031"/>
                <a:gd name="T40" fmla="*/ 2308 w 2308"/>
                <a:gd name="T41" fmla="*/ 854 h 1031"/>
                <a:gd name="T42" fmla="*/ 2293 w 2308"/>
                <a:gd name="T43" fmla="*/ 906 h 1031"/>
                <a:gd name="T44" fmla="*/ 2259 w 2308"/>
                <a:gd name="T45" fmla="*/ 956 h 1031"/>
                <a:gd name="T46" fmla="*/ 2202 w 2308"/>
                <a:gd name="T47" fmla="*/ 992 h 1031"/>
                <a:gd name="T48" fmla="*/ 2121 w 2308"/>
                <a:gd name="T49" fmla="*/ 1016 h 1031"/>
                <a:gd name="T50" fmla="*/ 2020 w 2308"/>
                <a:gd name="T51" fmla="*/ 1029 h 1031"/>
                <a:gd name="T52" fmla="*/ 1901 w 2308"/>
                <a:gd name="T53" fmla="*/ 1031 h 1031"/>
                <a:gd name="T54" fmla="*/ 1765 w 2308"/>
                <a:gd name="T55" fmla="*/ 1023 h 1031"/>
                <a:gd name="T56" fmla="*/ 1613 w 2308"/>
                <a:gd name="T57" fmla="*/ 1005 h 1031"/>
                <a:gd name="T58" fmla="*/ 1450 w 2308"/>
                <a:gd name="T59" fmla="*/ 980 h 1031"/>
                <a:gd name="T60" fmla="*/ 1275 w 2308"/>
                <a:gd name="T61" fmla="*/ 946 h 1031"/>
                <a:gd name="T62" fmla="*/ 1090 w 2308"/>
                <a:gd name="T63" fmla="*/ 903 h 1031"/>
                <a:gd name="T64" fmla="*/ 910 w 2308"/>
                <a:gd name="T65" fmla="*/ 847 h 1031"/>
                <a:gd name="T66" fmla="*/ 743 w 2308"/>
                <a:gd name="T67" fmla="*/ 780 h 1031"/>
                <a:gd name="T68" fmla="*/ 588 w 2308"/>
                <a:gd name="T69" fmla="*/ 709 h 1031"/>
                <a:gd name="T70" fmla="*/ 446 w 2308"/>
                <a:gd name="T71" fmla="*/ 634 h 1031"/>
                <a:gd name="T72" fmla="*/ 322 w 2308"/>
                <a:gd name="T73" fmla="*/ 557 h 1031"/>
                <a:gd name="T74" fmla="*/ 215 w 2308"/>
                <a:gd name="T75" fmla="*/ 480 h 1031"/>
                <a:gd name="T76" fmla="*/ 126 w 2308"/>
                <a:gd name="T77" fmla="*/ 402 h 1031"/>
                <a:gd name="T78" fmla="*/ 60 w 2308"/>
                <a:gd name="T79" fmla="*/ 327 h 1031"/>
                <a:gd name="T80" fmla="*/ 18 w 2308"/>
                <a:gd name="T81" fmla="*/ 254 h 1031"/>
                <a:gd name="T82" fmla="*/ 0 w 2308"/>
                <a:gd name="T83" fmla="*/ 186 h 1031"/>
                <a:gd name="T84" fmla="*/ 10 w 2308"/>
                <a:gd name="T85" fmla="*/ 123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08" h="1031">
                  <a:moveTo>
                    <a:pt x="10" y="123"/>
                  </a:moveTo>
                  <a:lnTo>
                    <a:pt x="15" y="108"/>
                  </a:lnTo>
                  <a:lnTo>
                    <a:pt x="24" y="93"/>
                  </a:lnTo>
                  <a:lnTo>
                    <a:pt x="35" y="80"/>
                  </a:lnTo>
                  <a:lnTo>
                    <a:pt x="51" y="67"/>
                  </a:lnTo>
                  <a:lnTo>
                    <a:pt x="67" y="56"/>
                  </a:lnTo>
                  <a:lnTo>
                    <a:pt x="88" y="46"/>
                  </a:lnTo>
                  <a:lnTo>
                    <a:pt x="111" y="36"/>
                  </a:lnTo>
                  <a:lnTo>
                    <a:pt x="136" y="28"/>
                  </a:lnTo>
                  <a:lnTo>
                    <a:pt x="165" y="21"/>
                  </a:lnTo>
                  <a:lnTo>
                    <a:pt x="195" y="15"/>
                  </a:lnTo>
                  <a:lnTo>
                    <a:pt x="228" y="10"/>
                  </a:lnTo>
                  <a:lnTo>
                    <a:pt x="263" y="5"/>
                  </a:lnTo>
                  <a:lnTo>
                    <a:pt x="300" y="2"/>
                  </a:lnTo>
                  <a:lnTo>
                    <a:pt x="339" y="0"/>
                  </a:lnTo>
                  <a:lnTo>
                    <a:pt x="379" y="0"/>
                  </a:lnTo>
                  <a:lnTo>
                    <a:pt x="423" y="0"/>
                  </a:lnTo>
                  <a:lnTo>
                    <a:pt x="467" y="2"/>
                  </a:lnTo>
                  <a:lnTo>
                    <a:pt x="513" y="4"/>
                  </a:lnTo>
                  <a:lnTo>
                    <a:pt x="562" y="9"/>
                  </a:lnTo>
                  <a:lnTo>
                    <a:pt x="610" y="14"/>
                  </a:lnTo>
                  <a:lnTo>
                    <a:pt x="661" y="20"/>
                  </a:lnTo>
                  <a:lnTo>
                    <a:pt x="713" y="27"/>
                  </a:lnTo>
                  <a:lnTo>
                    <a:pt x="766" y="35"/>
                  </a:lnTo>
                  <a:lnTo>
                    <a:pt x="820" y="45"/>
                  </a:lnTo>
                  <a:lnTo>
                    <a:pt x="875" y="56"/>
                  </a:lnTo>
                  <a:lnTo>
                    <a:pt x="932" y="67"/>
                  </a:lnTo>
                  <a:lnTo>
                    <a:pt x="988" y="81"/>
                  </a:lnTo>
                  <a:lnTo>
                    <a:pt x="1046" y="95"/>
                  </a:lnTo>
                  <a:lnTo>
                    <a:pt x="1104" y="111"/>
                  </a:lnTo>
                  <a:lnTo>
                    <a:pt x="1162" y="128"/>
                  </a:lnTo>
                  <a:lnTo>
                    <a:pt x="1222" y="146"/>
                  </a:lnTo>
                  <a:lnTo>
                    <a:pt x="1282" y="165"/>
                  </a:lnTo>
                  <a:lnTo>
                    <a:pt x="1340" y="186"/>
                  </a:lnTo>
                  <a:lnTo>
                    <a:pt x="1398" y="206"/>
                  </a:lnTo>
                  <a:lnTo>
                    <a:pt x="1455" y="228"/>
                  </a:lnTo>
                  <a:lnTo>
                    <a:pt x="1510" y="250"/>
                  </a:lnTo>
                  <a:lnTo>
                    <a:pt x="1565" y="273"/>
                  </a:lnTo>
                  <a:lnTo>
                    <a:pt x="1619" y="296"/>
                  </a:lnTo>
                  <a:lnTo>
                    <a:pt x="1670" y="320"/>
                  </a:lnTo>
                  <a:lnTo>
                    <a:pt x="1721" y="344"/>
                  </a:lnTo>
                  <a:lnTo>
                    <a:pt x="1769" y="368"/>
                  </a:lnTo>
                  <a:lnTo>
                    <a:pt x="1816" y="393"/>
                  </a:lnTo>
                  <a:lnTo>
                    <a:pt x="1861" y="418"/>
                  </a:lnTo>
                  <a:lnTo>
                    <a:pt x="1905" y="443"/>
                  </a:lnTo>
                  <a:lnTo>
                    <a:pt x="1946" y="467"/>
                  </a:lnTo>
                  <a:lnTo>
                    <a:pt x="1986" y="492"/>
                  </a:lnTo>
                  <a:lnTo>
                    <a:pt x="2024" y="518"/>
                  </a:lnTo>
                  <a:lnTo>
                    <a:pt x="2060" y="543"/>
                  </a:lnTo>
                  <a:lnTo>
                    <a:pt x="2093" y="567"/>
                  </a:lnTo>
                  <a:lnTo>
                    <a:pt x="2125" y="592"/>
                  </a:lnTo>
                  <a:lnTo>
                    <a:pt x="2154" y="617"/>
                  </a:lnTo>
                  <a:lnTo>
                    <a:pt x="2181" y="640"/>
                  </a:lnTo>
                  <a:lnTo>
                    <a:pt x="2206" y="664"/>
                  </a:lnTo>
                  <a:lnTo>
                    <a:pt x="2228" y="688"/>
                  </a:lnTo>
                  <a:lnTo>
                    <a:pt x="2248" y="711"/>
                  </a:lnTo>
                  <a:lnTo>
                    <a:pt x="2264" y="733"/>
                  </a:lnTo>
                  <a:lnTo>
                    <a:pt x="2279" y="755"/>
                  </a:lnTo>
                  <a:lnTo>
                    <a:pt x="2290" y="777"/>
                  </a:lnTo>
                  <a:lnTo>
                    <a:pt x="2299" y="797"/>
                  </a:lnTo>
                  <a:lnTo>
                    <a:pt x="2305" y="817"/>
                  </a:lnTo>
                  <a:lnTo>
                    <a:pt x="2308" y="835"/>
                  </a:lnTo>
                  <a:lnTo>
                    <a:pt x="2308" y="854"/>
                  </a:lnTo>
                  <a:lnTo>
                    <a:pt x="2305" y="871"/>
                  </a:lnTo>
                  <a:lnTo>
                    <a:pt x="2298" y="888"/>
                  </a:lnTo>
                  <a:lnTo>
                    <a:pt x="2293" y="906"/>
                  </a:lnTo>
                  <a:lnTo>
                    <a:pt x="2285" y="925"/>
                  </a:lnTo>
                  <a:lnTo>
                    <a:pt x="2274" y="940"/>
                  </a:lnTo>
                  <a:lnTo>
                    <a:pt x="2259" y="956"/>
                  </a:lnTo>
                  <a:lnTo>
                    <a:pt x="2243" y="969"/>
                  </a:lnTo>
                  <a:lnTo>
                    <a:pt x="2223" y="982"/>
                  </a:lnTo>
                  <a:lnTo>
                    <a:pt x="2202" y="992"/>
                  </a:lnTo>
                  <a:lnTo>
                    <a:pt x="2177" y="1001"/>
                  </a:lnTo>
                  <a:lnTo>
                    <a:pt x="2150" y="1010"/>
                  </a:lnTo>
                  <a:lnTo>
                    <a:pt x="2121" y="1016"/>
                  </a:lnTo>
                  <a:lnTo>
                    <a:pt x="2090" y="1022"/>
                  </a:lnTo>
                  <a:lnTo>
                    <a:pt x="2056" y="1026"/>
                  </a:lnTo>
                  <a:lnTo>
                    <a:pt x="2020" y="1029"/>
                  </a:lnTo>
                  <a:lnTo>
                    <a:pt x="1982" y="1031"/>
                  </a:lnTo>
                  <a:lnTo>
                    <a:pt x="1943" y="1031"/>
                  </a:lnTo>
                  <a:lnTo>
                    <a:pt x="1901" y="1031"/>
                  </a:lnTo>
                  <a:lnTo>
                    <a:pt x="1858" y="1030"/>
                  </a:lnTo>
                  <a:lnTo>
                    <a:pt x="1812" y="1027"/>
                  </a:lnTo>
                  <a:lnTo>
                    <a:pt x="1765" y="1023"/>
                  </a:lnTo>
                  <a:lnTo>
                    <a:pt x="1716" y="1019"/>
                  </a:lnTo>
                  <a:lnTo>
                    <a:pt x="1666" y="1013"/>
                  </a:lnTo>
                  <a:lnTo>
                    <a:pt x="1613" y="1005"/>
                  </a:lnTo>
                  <a:lnTo>
                    <a:pt x="1560" y="998"/>
                  </a:lnTo>
                  <a:lnTo>
                    <a:pt x="1505" y="989"/>
                  </a:lnTo>
                  <a:lnTo>
                    <a:pt x="1450" y="980"/>
                  </a:lnTo>
                  <a:lnTo>
                    <a:pt x="1392" y="969"/>
                  </a:lnTo>
                  <a:lnTo>
                    <a:pt x="1334" y="958"/>
                  </a:lnTo>
                  <a:lnTo>
                    <a:pt x="1275" y="946"/>
                  </a:lnTo>
                  <a:lnTo>
                    <a:pt x="1214" y="932"/>
                  </a:lnTo>
                  <a:lnTo>
                    <a:pt x="1152" y="918"/>
                  </a:lnTo>
                  <a:lnTo>
                    <a:pt x="1090" y="903"/>
                  </a:lnTo>
                  <a:lnTo>
                    <a:pt x="1027" y="888"/>
                  </a:lnTo>
                  <a:lnTo>
                    <a:pt x="968" y="867"/>
                  </a:lnTo>
                  <a:lnTo>
                    <a:pt x="910" y="847"/>
                  </a:lnTo>
                  <a:lnTo>
                    <a:pt x="853" y="825"/>
                  </a:lnTo>
                  <a:lnTo>
                    <a:pt x="798" y="802"/>
                  </a:lnTo>
                  <a:lnTo>
                    <a:pt x="743" y="780"/>
                  </a:lnTo>
                  <a:lnTo>
                    <a:pt x="690" y="756"/>
                  </a:lnTo>
                  <a:lnTo>
                    <a:pt x="638" y="732"/>
                  </a:lnTo>
                  <a:lnTo>
                    <a:pt x="588" y="709"/>
                  </a:lnTo>
                  <a:lnTo>
                    <a:pt x="539" y="684"/>
                  </a:lnTo>
                  <a:lnTo>
                    <a:pt x="492" y="659"/>
                  </a:lnTo>
                  <a:lnTo>
                    <a:pt x="446" y="634"/>
                  </a:lnTo>
                  <a:lnTo>
                    <a:pt x="403" y="609"/>
                  </a:lnTo>
                  <a:lnTo>
                    <a:pt x="361" y="583"/>
                  </a:lnTo>
                  <a:lnTo>
                    <a:pt x="322" y="557"/>
                  </a:lnTo>
                  <a:lnTo>
                    <a:pt x="284" y="531"/>
                  </a:lnTo>
                  <a:lnTo>
                    <a:pt x="248" y="505"/>
                  </a:lnTo>
                  <a:lnTo>
                    <a:pt x="215" y="480"/>
                  </a:lnTo>
                  <a:lnTo>
                    <a:pt x="183" y="454"/>
                  </a:lnTo>
                  <a:lnTo>
                    <a:pt x="154" y="428"/>
                  </a:lnTo>
                  <a:lnTo>
                    <a:pt x="126" y="402"/>
                  </a:lnTo>
                  <a:lnTo>
                    <a:pt x="102" y="377"/>
                  </a:lnTo>
                  <a:lnTo>
                    <a:pt x="80" y="352"/>
                  </a:lnTo>
                  <a:lnTo>
                    <a:pt x="60" y="327"/>
                  </a:lnTo>
                  <a:lnTo>
                    <a:pt x="44" y="302"/>
                  </a:lnTo>
                  <a:lnTo>
                    <a:pt x="29" y="278"/>
                  </a:lnTo>
                  <a:lnTo>
                    <a:pt x="18" y="254"/>
                  </a:lnTo>
                  <a:lnTo>
                    <a:pt x="9" y="230"/>
                  </a:lnTo>
                  <a:lnTo>
                    <a:pt x="2" y="208"/>
                  </a:lnTo>
                  <a:lnTo>
                    <a:pt x="0" y="186"/>
                  </a:lnTo>
                  <a:lnTo>
                    <a:pt x="0" y="164"/>
                  </a:lnTo>
                  <a:lnTo>
                    <a:pt x="4" y="143"/>
                  </a:lnTo>
                  <a:lnTo>
                    <a:pt x="10" y="1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2" name="Freeform 48"/>
            <p:cNvSpPr>
              <a:spLocks noChangeArrowheads="1"/>
            </p:cNvSpPr>
            <p:nvPr/>
          </p:nvSpPr>
          <p:spPr bwMode="auto">
            <a:xfrm>
              <a:off x="5905500" y="1606446"/>
              <a:ext cx="971550" cy="966808"/>
            </a:xfrm>
            <a:custGeom>
              <a:avLst/>
              <a:gdLst>
                <a:gd name="T0" fmla="*/ 96 w 2156"/>
                <a:gd name="T1" fmla="*/ 48 h 1738"/>
                <a:gd name="T2" fmla="*/ 173 w 2156"/>
                <a:gd name="T3" fmla="*/ 14 h 1738"/>
                <a:gd name="T4" fmla="*/ 264 w 2156"/>
                <a:gd name="T5" fmla="*/ 0 h 1738"/>
                <a:gd name="T6" fmla="*/ 431 w 2156"/>
                <a:gd name="T7" fmla="*/ 18 h 1738"/>
                <a:gd name="T8" fmla="*/ 599 w 2156"/>
                <a:gd name="T9" fmla="*/ 67 h 1738"/>
                <a:gd name="T10" fmla="*/ 863 w 2156"/>
                <a:gd name="T11" fmla="*/ 188 h 1738"/>
                <a:gd name="T12" fmla="*/ 1155 w 2156"/>
                <a:gd name="T13" fmla="*/ 366 h 1738"/>
                <a:gd name="T14" fmla="*/ 1353 w 2156"/>
                <a:gd name="T15" fmla="*/ 510 h 1738"/>
                <a:gd name="T16" fmla="*/ 1409 w 2156"/>
                <a:gd name="T17" fmla="*/ 557 h 1738"/>
                <a:gd name="T18" fmla="*/ 1561 w 2156"/>
                <a:gd name="T19" fmla="*/ 692 h 1738"/>
                <a:gd name="T20" fmla="*/ 1700 w 2156"/>
                <a:gd name="T21" fmla="*/ 825 h 1738"/>
                <a:gd name="T22" fmla="*/ 1900 w 2156"/>
                <a:gd name="T23" fmla="*/ 1044 h 1738"/>
                <a:gd name="T24" fmla="*/ 2024 w 2156"/>
                <a:gd name="T25" fmla="*/ 1209 h 1738"/>
                <a:gd name="T26" fmla="*/ 2109 w 2156"/>
                <a:gd name="T27" fmla="*/ 1359 h 1738"/>
                <a:gd name="T28" fmla="*/ 2152 w 2156"/>
                <a:gd name="T29" fmla="*/ 1492 h 1738"/>
                <a:gd name="T30" fmla="*/ 2149 w 2156"/>
                <a:gd name="T31" fmla="*/ 1602 h 1738"/>
                <a:gd name="T32" fmla="*/ 2129 w 2156"/>
                <a:gd name="T33" fmla="*/ 1647 h 1738"/>
                <a:gd name="T34" fmla="*/ 2074 w 2156"/>
                <a:gd name="T35" fmla="*/ 1696 h 1738"/>
                <a:gd name="T36" fmla="*/ 1994 w 2156"/>
                <a:gd name="T37" fmla="*/ 1729 h 1738"/>
                <a:gd name="T38" fmla="*/ 1895 w 2156"/>
                <a:gd name="T39" fmla="*/ 1738 h 1738"/>
                <a:gd name="T40" fmla="*/ 1779 w 2156"/>
                <a:gd name="T41" fmla="*/ 1726 h 1738"/>
                <a:gd name="T42" fmla="*/ 1538 w 2156"/>
                <a:gd name="T43" fmla="*/ 1654 h 1738"/>
                <a:gd name="T44" fmla="*/ 1264 w 2156"/>
                <a:gd name="T45" fmla="*/ 1525 h 1738"/>
                <a:gd name="T46" fmla="*/ 972 w 2156"/>
                <a:gd name="T47" fmla="*/ 1346 h 1738"/>
                <a:gd name="T48" fmla="*/ 822 w 2156"/>
                <a:gd name="T49" fmla="*/ 1238 h 1738"/>
                <a:gd name="T50" fmla="*/ 511 w 2156"/>
                <a:gd name="T51" fmla="*/ 975 h 1738"/>
                <a:gd name="T52" fmla="*/ 338 w 2156"/>
                <a:gd name="T53" fmla="*/ 801 h 1738"/>
                <a:gd name="T54" fmla="*/ 197 w 2156"/>
                <a:gd name="T55" fmla="*/ 635 h 1738"/>
                <a:gd name="T56" fmla="*/ 91 w 2156"/>
                <a:gd name="T57" fmla="*/ 484 h 1738"/>
                <a:gd name="T58" fmla="*/ 18 w 2156"/>
                <a:gd name="T59" fmla="*/ 329 h 1738"/>
                <a:gd name="T60" fmla="*/ 2 w 2156"/>
                <a:gd name="T61" fmla="*/ 195 h 1738"/>
                <a:gd name="T62" fmla="*/ 25 w 2156"/>
                <a:gd name="T63" fmla="*/ 122 h 1738"/>
                <a:gd name="T64" fmla="*/ 49 w 2156"/>
                <a:gd name="T65" fmla="*/ 91 h 1738"/>
                <a:gd name="T66" fmla="*/ 365 w 2156"/>
                <a:gd name="T67" fmla="*/ 178 h 1738"/>
                <a:gd name="T68" fmla="*/ 242 w 2156"/>
                <a:gd name="T69" fmla="*/ 171 h 1738"/>
                <a:gd name="T70" fmla="*/ 186 w 2156"/>
                <a:gd name="T71" fmla="*/ 194 h 1738"/>
                <a:gd name="T72" fmla="*/ 172 w 2156"/>
                <a:gd name="T73" fmla="*/ 211 h 1738"/>
                <a:gd name="T74" fmla="*/ 166 w 2156"/>
                <a:gd name="T75" fmla="*/ 226 h 1738"/>
                <a:gd name="T76" fmla="*/ 183 w 2156"/>
                <a:gd name="T77" fmla="*/ 291 h 1738"/>
                <a:gd name="T78" fmla="*/ 266 w 2156"/>
                <a:gd name="T79" fmla="*/ 441 h 1738"/>
                <a:gd name="T80" fmla="*/ 374 w 2156"/>
                <a:gd name="T81" fmla="*/ 583 h 1738"/>
                <a:gd name="T82" fmla="*/ 542 w 2156"/>
                <a:gd name="T83" fmla="*/ 766 h 1738"/>
                <a:gd name="T84" fmla="*/ 769 w 2156"/>
                <a:gd name="T85" fmla="*/ 976 h 1738"/>
                <a:gd name="T86" fmla="*/ 927 w 2156"/>
                <a:gd name="T87" fmla="*/ 1103 h 1738"/>
                <a:gd name="T88" fmla="*/ 1206 w 2156"/>
                <a:gd name="T89" fmla="*/ 1293 h 1738"/>
                <a:gd name="T90" fmla="*/ 1475 w 2156"/>
                <a:gd name="T91" fmla="*/ 1439 h 1738"/>
                <a:gd name="T92" fmla="*/ 1702 w 2156"/>
                <a:gd name="T93" fmla="*/ 1531 h 1738"/>
                <a:gd name="T94" fmla="*/ 1862 w 2156"/>
                <a:gd name="T95" fmla="*/ 1569 h 1738"/>
                <a:gd name="T96" fmla="*/ 1967 w 2156"/>
                <a:gd name="T97" fmla="*/ 1563 h 1738"/>
                <a:gd name="T98" fmla="*/ 1992 w 2156"/>
                <a:gd name="T99" fmla="*/ 1531 h 1738"/>
                <a:gd name="T100" fmla="*/ 1978 w 2156"/>
                <a:gd name="T101" fmla="*/ 1460 h 1738"/>
                <a:gd name="T102" fmla="*/ 1909 w 2156"/>
                <a:gd name="T103" fmla="*/ 1331 h 1738"/>
                <a:gd name="T104" fmla="*/ 1709 w 2156"/>
                <a:gd name="T105" fmla="*/ 1083 h 1738"/>
                <a:gd name="T106" fmla="*/ 1536 w 2156"/>
                <a:gd name="T107" fmla="*/ 904 h 1738"/>
                <a:gd name="T108" fmla="*/ 1398 w 2156"/>
                <a:gd name="T109" fmla="*/ 775 h 1738"/>
                <a:gd name="T110" fmla="*/ 1246 w 2156"/>
                <a:gd name="T111" fmla="*/ 643 h 1738"/>
                <a:gd name="T112" fmla="*/ 1109 w 2156"/>
                <a:gd name="T113" fmla="*/ 542 h 1738"/>
                <a:gd name="T114" fmla="*/ 831 w 2156"/>
                <a:gd name="T115" fmla="*/ 365 h 1738"/>
                <a:gd name="T116" fmla="*/ 579 w 2156"/>
                <a:gd name="T117" fmla="*/ 244 h 1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6" h="1738">
                  <a:moveTo>
                    <a:pt x="49" y="91"/>
                  </a:moveTo>
                  <a:lnTo>
                    <a:pt x="57" y="82"/>
                  </a:lnTo>
                  <a:lnTo>
                    <a:pt x="67" y="73"/>
                  </a:lnTo>
                  <a:lnTo>
                    <a:pt x="76" y="63"/>
                  </a:lnTo>
                  <a:lnTo>
                    <a:pt x="86" y="55"/>
                  </a:lnTo>
                  <a:lnTo>
                    <a:pt x="96" y="48"/>
                  </a:lnTo>
                  <a:lnTo>
                    <a:pt x="108" y="41"/>
                  </a:lnTo>
                  <a:lnTo>
                    <a:pt x="120" y="34"/>
                  </a:lnTo>
                  <a:lnTo>
                    <a:pt x="132" y="28"/>
                  </a:lnTo>
                  <a:lnTo>
                    <a:pt x="145" y="23"/>
                  </a:lnTo>
                  <a:lnTo>
                    <a:pt x="158" y="18"/>
                  </a:lnTo>
                  <a:lnTo>
                    <a:pt x="173" y="14"/>
                  </a:lnTo>
                  <a:lnTo>
                    <a:pt x="186" y="11"/>
                  </a:lnTo>
                  <a:lnTo>
                    <a:pt x="201" y="8"/>
                  </a:lnTo>
                  <a:lnTo>
                    <a:pt x="216" y="5"/>
                  </a:lnTo>
                  <a:lnTo>
                    <a:pt x="232" y="4"/>
                  </a:lnTo>
                  <a:lnTo>
                    <a:pt x="248" y="1"/>
                  </a:lnTo>
                  <a:lnTo>
                    <a:pt x="264" y="0"/>
                  </a:lnTo>
                  <a:lnTo>
                    <a:pt x="282" y="0"/>
                  </a:lnTo>
                  <a:lnTo>
                    <a:pt x="298" y="0"/>
                  </a:lnTo>
                  <a:lnTo>
                    <a:pt x="317" y="1"/>
                  </a:lnTo>
                  <a:lnTo>
                    <a:pt x="353" y="5"/>
                  </a:lnTo>
                  <a:lnTo>
                    <a:pt x="391" y="10"/>
                  </a:lnTo>
                  <a:lnTo>
                    <a:pt x="431" y="18"/>
                  </a:lnTo>
                  <a:lnTo>
                    <a:pt x="472" y="27"/>
                  </a:lnTo>
                  <a:lnTo>
                    <a:pt x="515" y="40"/>
                  </a:lnTo>
                  <a:lnTo>
                    <a:pt x="559" y="53"/>
                  </a:lnTo>
                  <a:lnTo>
                    <a:pt x="599" y="67"/>
                  </a:lnTo>
                  <a:lnTo>
                    <a:pt x="640" y="84"/>
                  </a:lnTo>
                  <a:lnTo>
                    <a:pt x="682" y="101"/>
                  </a:lnTo>
                  <a:lnTo>
                    <a:pt x="727" y="120"/>
                  </a:lnTo>
                  <a:lnTo>
                    <a:pt x="771" y="142"/>
                  </a:lnTo>
                  <a:lnTo>
                    <a:pt x="816" y="164"/>
                  </a:lnTo>
                  <a:lnTo>
                    <a:pt x="863" y="188"/>
                  </a:lnTo>
                  <a:lnTo>
                    <a:pt x="910" y="214"/>
                  </a:lnTo>
                  <a:lnTo>
                    <a:pt x="957" y="242"/>
                  </a:lnTo>
                  <a:lnTo>
                    <a:pt x="1006" y="271"/>
                  </a:lnTo>
                  <a:lnTo>
                    <a:pt x="1055" y="300"/>
                  </a:lnTo>
                  <a:lnTo>
                    <a:pt x="1105" y="332"/>
                  </a:lnTo>
                  <a:lnTo>
                    <a:pt x="1155" y="366"/>
                  </a:lnTo>
                  <a:lnTo>
                    <a:pt x="1206" y="400"/>
                  </a:lnTo>
                  <a:lnTo>
                    <a:pt x="1256" y="437"/>
                  </a:lnTo>
                  <a:lnTo>
                    <a:pt x="1308" y="475"/>
                  </a:lnTo>
                  <a:lnTo>
                    <a:pt x="1311" y="478"/>
                  </a:lnTo>
                  <a:lnTo>
                    <a:pt x="1350" y="507"/>
                  </a:lnTo>
                  <a:lnTo>
                    <a:pt x="1353" y="510"/>
                  </a:lnTo>
                  <a:lnTo>
                    <a:pt x="1355" y="512"/>
                  </a:lnTo>
                  <a:lnTo>
                    <a:pt x="1356" y="512"/>
                  </a:lnTo>
                  <a:lnTo>
                    <a:pt x="1382" y="534"/>
                  </a:lnTo>
                  <a:lnTo>
                    <a:pt x="1409" y="557"/>
                  </a:lnTo>
                  <a:lnTo>
                    <a:pt x="1434" y="580"/>
                  </a:lnTo>
                  <a:lnTo>
                    <a:pt x="1461" y="601"/>
                  </a:lnTo>
                  <a:lnTo>
                    <a:pt x="1486" y="624"/>
                  </a:lnTo>
                  <a:lnTo>
                    <a:pt x="1512" y="647"/>
                  </a:lnTo>
                  <a:lnTo>
                    <a:pt x="1536" y="669"/>
                  </a:lnTo>
                  <a:lnTo>
                    <a:pt x="1561" y="692"/>
                  </a:lnTo>
                  <a:lnTo>
                    <a:pt x="1585" y="715"/>
                  </a:lnTo>
                  <a:lnTo>
                    <a:pt x="1608" y="736"/>
                  </a:lnTo>
                  <a:lnTo>
                    <a:pt x="1632" y="759"/>
                  </a:lnTo>
                  <a:lnTo>
                    <a:pt x="1655" y="781"/>
                  </a:lnTo>
                  <a:lnTo>
                    <a:pt x="1677" y="803"/>
                  </a:lnTo>
                  <a:lnTo>
                    <a:pt x="1700" y="825"/>
                  </a:lnTo>
                  <a:lnTo>
                    <a:pt x="1722" y="847"/>
                  </a:lnTo>
                  <a:lnTo>
                    <a:pt x="1743" y="868"/>
                  </a:lnTo>
                  <a:lnTo>
                    <a:pt x="1799" y="928"/>
                  </a:lnTo>
                  <a:lnTo>
                    <a:pt x="1852" y="986"/>
                  </a:lnTo>
                  <a:lnTo>
                    <a:pt x="1876" y="1015"/>
                  </a:lnTo>
                  <a:lnTo>
                    <a:pt x="1900" y="1044"/>
                  </a:lnTo>
                  <a:lnTo>
                    <a:pt x="1923" y="1071"/>
                  </a:lnTo>
                  <a:lnTo>
                    <a:pt x="1945" y="1099"/>
                  </a:lnTo>
                  <a:lnTo>
                    <a:pt x="1966" y="1127"/>
                  </a:lnTo>
                  <a:lnTo>
                    <a:pt x="1986" y="1155"/>
                  </a:lnTo>
                  <a:lnTo>
                    <a:pt x="2005" y="1182"/>
                  </a:lnTo>
                  <a:lnTo>
                    <a:pt x="2024" y="1209"/>
                  </a:lnTo>
                  <a:lnTo>
                    <a:pt x="2040" y="1234"/>
                  </a:lnTo>
                  <a:lnTo>
                    <a:pt x="2056" y="1260"/>
                  </a:lnTo>
                  <a:lnTo>
                    <a:pt x="2071" y="1286"/>
                  </a:lnTo>
                  <a:lnTo>
                    <a:pt x="2085" y="1311"/>
                  </a:lnTo>
                  <a:lnTo>
                    <a:pt x="2098" y="1335"/>
                  </a:lnTo>
                  <a:lnTo>
                    <a:pt x="2109" y="1359"/>
                  </a:lnTo>
                  <a:lnTo>
                    <a:pt x="2119" y="1383"/>
                  </a:lnTo>
                  <a:lnTo>
                    <a:pt x="2128" y="1405"/>
                  </a:lnTo>
                  <a:lnTo>
                    <a:pt x="2136" y="1428"/>
                  </a:lnTo>
                  <a:lnTo>
                    <a:pt x="2142" y="1450"/>
                  </a:lnTo>
                  <a:lnTo>
                    <a:pt x="2148" y="1471"/>
                  </a:lnTo>
                  <a:lnTo>
                    <a:pt x="2152" y="1492"/>
                  </a:lnTo>
                  <a:lnTo>
                    <a:pt x="2154" y="1512"/>
                  </a:lnTo>
                  <a:lnTo>
                    <a:pt x="2156" y="1531"/>
                  </a:lnTo>
                  <a:lnTo>
                    <a:pt x="2156" y="1550"/>
                  </a:lnTo>
                  <a:lnTo>
                    <a:pt x="2155" y="1568"/>
                  </a:lnTo>
                  <a:lnTo>
                    <a:pt x="2152" y="1586"/>
                  </a:lnTo>
                  <a:lnTo>
                    <a:pt x="2149" y="1602"/>
                  </a:lnTo>
                  <a:lnTo>
                    <a:pt x="2144" y="1618"/>
                  </a:lnTo>
                  <a:lnTo>
                    <a:pt x="2137" y="1633"/>
                  </a:lnTo>
                  <a:lnTo>
                    <a:pt x="2133" y="1640"/>
                  </a:lnTo>
                  <a:lnTo>
                    <a:pt x="2129" y="1647"/>
                  </a:lnTo>
                  <a:lnTo>
                    <a:pt x="2125" y="1652"/>
                  </a:lnTo>
                  <a:lnTo>
                    <a:pt x="2116" y="1662"/>
                  </a:lnTo>
                  <a:lnTo>
                    <a:pt x="2107" y="1671"/>
                  </a:lnTo>
                  <a:lnTo>
                    <a:pt x="2097" y="1681"/>
                  </a:lnTo>
                  <a:lnTo>
                    <a:pt x="2085" y="1689"/>
                  </a:lnTo>
                  <a:lnTo>
                    <a:pt x="2074" y="1696"/>
                  </a:lnTo>
                  <a:lnTo>
                    <a:pt x="2063" y="1703"/>
                  </a:lnTo>
                  <a:lnTo>
                    <a:pt x="2049" y="1710"/>
                  </a:lnTo>
                  <a:lnTo>
                    <a:pt x="2037" y="1716"/>
                  </a:lnTo>
                  <a:lnTo>
                    <a:pt x="2022" y="1721"/>
                  </a:lnTo>
                  <a:lnTo>
                    <a:pt x="2009" y="1725"/>
                  </a:lnTo>
                  <a:lnTo>
                    <a:pt x="1994" y="1729"/>
                  </a:lnTo>
                  <a:lnTo>
                    <a:pt x="1978" y="1732"/>
                  </a:lnTo>
                  <a:lnTo>
                    <a:pt x="1963" y="1734"/>
                  </a:lnTo>
                  <a:lnTo>
                    <a:pt x="1946" y="1736"/>
                  </a:lnTo>
                  <a:lnTo>
                    <a:pt x="1930" y="1737"/>
                  </a:lnTo>
                  <a:lnTo>
                    <a:pt x="1912" y="1738"/>
                  </a:lnTo>
                  <a:lnTo>
                    <a:pt x="1895" y="1738"/>
                  </a:lnTo>
                  <a:lnTo>
                    <a:pt x="1876" y="1737"/>
                  </a:lnTo>
                  <a:lnTo>
                    <a:pt x="1858" y="1736"/>
                  </a:lnTo>
                  <a:lnTo>
                    <a:pt x="1839" y="1734"/>
                  </a:lnTo>
                  <a:lnTo>
                    <a:pt x="1820" y="1732"/>
                  </a:lnTo>
                  <a:lnTo>
                    <a:pt x="1800" y="1729"/>
                  </a:lnTo>
                  <a:lnTo>
                    <a:pt x="1779" y="1726"/>
                  </a:lnTo>
                  <a:lnTo>
                    <a:pt x="1759" y="1722"/>
                  </a:lnTo>
                  <a:lnTo>
                    <a:pt x="1717" y="1713"/>
                  </a:lnTo>
                  <a:lnTo>
                    <a:pt x="1672" y="1700"/>
                  </a:lnTo>
                  <a:lnTo>
                    <a:pt x="1627" y="1687"/>
                  </a:lnTo>
                  <a:lnTo>
                    <a:pt x="1582" y="1670"/>
                  </a:lnTo>
                  <a:lnTo>
                    <a:pt x="1538" y="1654"/>
                  </a:lnTo>
                  <a:lnTo>
                    <a:pt x="1495" y="1636"/>
                  </a:lnTo>
                  <a:lnTo>
                    <a:pt x="1451" y="1617"/>
                  </a:lnTo>
                  <a:lnTo>
                    <a:pt x="1406" y="1596"/>
                  </a:lnTo>
                  <a:lnTo>
                    <a:pt x="1359" y="1573"/>
                  </a:lnTo>
                  <a:lnTo>
                    <a:pt x="1312" y="1550"/>
                  </a:lnTo>
                  <a:lnTo>
                    <a:pt x="1264" y="1525"/>
                  </a:lnTo>
                  <a:lnTo>
                    <a:pt x="1217" y="1498"/>
                  </a:lnTo>
                  <a:lnTo>
                    <a:pt x="1169" y="1469"/>
                  </a:lnTo>
                  <a:lnTo>
                    <a:pt x="1119" y="1441"/>
                  </a:lnTo>
                  <a:lnTo>
                    <a:pt x="1071" y="1410"/>
                  </a:lnTo>
                  <a:lnTo>
                    <a:pt x="1021" y="1379"/>
                  </a:lnTo>
                  <a:lnTo>
                    <a:pt x="972" y="1346"/>
                  </a:lnTo>
                  <a:lnTo>
                    <a:pt x="922" y="1312"/>
                  </a:lnTo>
                  <a:lnTo>
                    <a:pt x="874" y="1277"/>
                  </a:lnTo>
                  <a:lnTo>
                    <a:pt x="825" y="1241"/>
                  </a:lnTo>
                  <a:lnTo>
                    <a:pt x="823" y="1238"/>
                  </a:lnTo>
                  <a:lnTo>
                    <a:pt x="822" y="1237"/>
                  </a:lnTo>
                  <a:lnTo>
                    <a:pt x="822" y="1238"/>
                  </a:lnTo>
                  <a:lnTo>
                    <a:pt x="766" y="1194"/>
                  </a:lnTo>
                  <a:lnTo>
                    <a:pt x="712" y="1151"/>
                  </a:lnTo>
                  <a:lnTo>
                    <a:pt x="660" y="1107"/>
                  </a:lnTo>
                  <a:lnTo>
                    <a:pt x="608" y="1062"/>
                  </a:lnTo>
                  <a:lnTo>
                    <a:pt x="559" y="1019"/>
                  </a:lnTo>
                  <a:lnTo>
                    <a:pt x="511" y="975"/>
                  </a:lnTo>
                  <a:lnTo>
                    <a:pt x="466" y="931"/>
                  </a:lnTo>
                  <a:lnTo>
                    <a:pt x="422" y="888"/>
                  </a:lnTo>
                  <a:lnTo>
                    <a:pt x="393" y="859"/>
                  </a:lnTo>
                  <a:lnTo>
                    <a:pt x="365" y="830"/>
                  </a:lnTo>
                  <a:lnTo>
                    <a:pt x="338" y="801"/>
                  </a:lnTo>
                  <a:lnTo>
                    <a:pt x="313" y="774"/>
                  </a:lnTo>
                  <a:lnTo>
                    <a:pt x="288" y="746"/>
                  </a:lnTo>
                  <a:lnTo>
                    <a:pt x="263" y="718"/>
                  </a:lnTo>
                  <a:lnTo>
                    <a:pt x="241" y="690"/>
                  </a:lnTo>
                  <a:lnTo>
                    <a:pt x="218" y="662"/>
                  </a:lnTo>
                  <a:lnTo>
                    <a:pt x="197" y="635"/>
                  </a:lnTo>
                  <a:lnTo>
                    <a:pt x="177" y="610"/>
                  </a:lnTo>
                  <a:lnTo>
                    <a:pt x="158" y="584"/>
                  </a:lnTo>
                  <a:lnTo>
                    <a:pt x="140" y="558"/>
                  </a:lnTo>
                  <a:lnTo>
                    <a:pt x="122" y="533"/>
                  </a:lnTo>
                  <a:lnTo>
                    <a:pt x="107" y="509"/>
                  </a:lnTo>
                  <a:lnTo>
                    <a:pt x="91" y="484"/>
                  </a:lnTo>
                  <a:lnTo>
                    <a:pt x="78" y="460"/>
                  </a:lnTo>
                  <a:lnTo>
                    <a:pt x="62" y="433"/>
                  </a:lnTo>
                  <a:lnTo>
                    <a:pt x="49" y="407"/>
                  </a:lnTo>
                  <a:lnTo>
                    <a:pt x="38" y="380"/>
                  </a:lnTo>
                  <a:lnTo>
                    <a:pt x="27" y="354"/>
                  </a:lnTo>
                  <a:lnTo>
                    <a:pt x="18" y="329"/>
                  </a:lnTo>
                  <a:lnTo>
                    <a:pt x="11" y="305"/>
                  </a:lnTo>
                  <a:lnTo>
                    <a:pt x="6" y="281"/>
                  </a:lnTo>
                  <a:lnTo>
                    <a:pt x="3" y="258"/>
                  </a:lnTo>
                  <a:lnTo>
                    <a:pt x="1" y="236"/>
                  </a:lnTo>
                  <a:lnTo>
                    <a:pt x="0" y="215"/>
                  </a:lnTo>
                  <a:lnTo>
                    <a:pt x="2" y="195"/>
                  </a:lnTo>
                  <a:lnTo>
                    <a:pt x="5" y="175"/>
                  </a:lnTo>
                  <a:lnTo>
                    <a:pt x="7" y="165"/>
                  </a:lnTo>
                  <a:lnTo>
                    <a:pt x="10" y="157"/>
                  </a:lnTo>
                  <a:lnTo>
                    <a:pt x="13" y="148"/>
                  </a:lnTo>
                  <a:lnTo>
                    <a:pt x="17" y="139"/>
                  </a:lnTo>
                  <a:lnTo>
                    <a:pt x="25" y="122"/>
                  </a:lnTo>
                  <a:lnTo>
                    <a:pt x="36" y="107"/>
                  </a:lnTo>
                  <a:lnTo>
                    <a:pt x="37" y="106"/>
                  </a:lnTo>
                  <a:lnTo>
                    <a:pt x="37" y="105"/>
                  </a:lnTo>
                  <a:lnTo>
                    <a:pt x="43" y="98"/>
                  </a:lnTo>
                  <a:lnTo>
                    <a:pt x="49" y="91"/>
                  </a:lnTo>
                  <a:close/>
                  <a:moveTo>
                    <a:pt x="504" y="215"/>
                  </a:moveTo>
                  <a:lnTo>
                    <a:pt x="473" y="206"/>
                  </a:lnTo>
                  <a:lnTo>
                    <a:pt x="445" y="197"/>
                  </a:lnTo>
                  <a:lnTo>
                    <a:pt x="417" y="189"/>
                  </a:lnTo>
                  <a:lnTo>
                    <a:pt x="390" y="183"/>
                  </a:lnTo>
                  <a:lnTo>
                    <a:pt x="365" y="178"/>
                  </a:lnTo>
                  <a:lnTo>
                    <a:pt x="340" y="174"/>
                  </a:lnTo>
                  <a:lnTo>
                    <a:pt x="318" y="171"/>
                  </a:lnTo>
                  <a:lnTo>
                    <a:pt x="297" y="168"/>
                  </a:lnTo>
                  <a:lnTo>
                    <a:pt x="277" y="168"/>
                  </a:lnTo>
                  <a:lnTo>
                    <a:pt x="259" y="168"/>
                  </a:lnTo>
                  <a:lnTo>
                    <a:pt x="242" y="171"/>
                  </a:lnTo>
                  <a:lnTo>
                    <a:pt x="227" y="174"/>
                  </a:lnTo>
                  <a:lnTo>
                    <a:pt x="213" y="178"/>
                  </a:lnTo>
                  <a:lnTo>
                    <a:pt x="201" y="183"/>
                  </a:lnTo>
                  <a:lnTo>
                    <a:pt x="195" y="186"/>
                  </a:lnTo>
                  <a:lnTo>
                    <a:pt x="191" y="190"/>
                  </a:lnTo>
                  <a:lnTo>
                    <a:pt x="186" y="194"/>
                  </a:lnTo>
                  <a:lnTo>
                    <a:pt x="183" y="198"/>
                  </a:lnTo>
                  <a:lnTo>
                    <a:pt x="178" y="205"/>
                  </a:lnTo>
                  <a:lnTo>
                    <a:pt x="172" y="211"/>
                  </a:lnTo>
                  <a:lnTo>
                    <a:pt x="173" y="210"/>
                  </a:lnTo>
                  <a:lnTo>
                    <a:pt x="172" y="211"/>
                  </a:lnTo>
                  <a:lnTo>
                    <a:pt x="170" y="215"/>
                  </a:lnTo>
                  <a:lnTo>
                    <a:pt x="167" y="220"/>
                  </a:lnTo>
                  <a:lnTo>
                    <a:pt x="166" y="226"/>
                  </a:lnTo>
                  <a:lnTo>
                    <a:pt x="166" y="232"/>
                  </a:lnTo>
                  <a:lnTo>
                    <a:pt x="167" y="241"/>
                  </a:lnTo>
                  <a:lnTo>
                    <a:pt x="170" y="249"/>
                  </a:lnTo>
                  <a:lnTo>
                    <a:pt x="172" y="258"/>
                  </a:lnTo>
                  <a:lnTo>
                    <a:pt x="175" y="268"/>
                  </a:lnTo>
                  <a:lnTo>
                    <a:pt x="183" y="291"/>
                  </a:lnTo>
                  <a:lnTo>
                    <a:pt x="195" y="316"/>
                  </a:lnTo>
                  <a:lnTo>
                    <a:pt x="210" y="345"/>
                  </a:lnTo>
                  <a:lnTo>
                    <a:pt x="226" y="376"/>
                  </a:lnTo>
                  <a:lnTo>
                    <a:pt x="239" y="396"/>
                  </a:lnTo>
                  <a:lnTo>
                    <a:pt x="252" y="418"/>
                  </a:lnTo>
                  <a:lnTo>
                    <a:pt x="266" y="441"/>
                  </a:lnTo>
                  <a:lnTo>
                    <a:pt x="282" y="463"/>
                  </a:lnTo>
                  <a:lnTo>
                    <a:pt x="298" y="486"/>
                  </a:lnTo>
                  <a:lnTo>
                    <a:pt x="316" y="510"/>
                  </a:lnTo>
                  <a:lnTo>
                    <a:pt x="334" y="533"/>
                  </a:lnTo>
                  <a:lnTo>
                    <a:pt x="354" y="558"/>
                  </a:lnTo>
                  <a:lnTo>
                    <a:pt x="374" y="583"/>
                  </a:lnTo>
                  <a:lnTo>
                    <a:pt x="396" y="609"/>
                  </a:lnTo>
                  <a:lnTo>
                    <a:pt x="418" y="634"/>
                  </a:lnTo>
                  <a:lnTo>
                    <a:pt x="441" y="660"/>
                  </a:lnTo>
                  <a:lnTo>
                    <a:pt x="490" y="713"/>
                  </a:lnTo>
                  <a:lnTo>
                    <a:pt x="542" y="766"/>
                  </a:lnTo>
                  <a:lnTo>
                    <a:pt x="542" y="767"/>
                  </a:lnTo>
                  <a:lnTo>
                    <a:pt x="585" y="808"/>
                  </a:lnTo>
                  <a:lnTo>
                    <a:pt x="628" y="850"/>
                  </a:lnTo>
                  <a:lnTo>
                    <a:pt x="673" y="891"/>
                  </a:lnTo>
                  <a:lnTo>
                    <a:pt x="721" y="933"/>
                  </a:lnTo>
                  <a:lnTo>
                    <a:pt x="769" y="976"/>
                  </a:lnTo>
                  <a:lnTo>
                    <a:pt x="818" y="1017"/>
                  </a:lnTo>
                  <a:lnTo>
                    <a:pt x="870" y="1059"/>
                  </a:lnTo>
                  <a:lnTo>
                    <a:pt x="923" y="1100"/>
                  </a:lnTo>
                  <a:lnTo>
                    <a:pt x="927" y="1102"/>
                  </a:lnTo>
                  <a:lnTo>
                    <a:pt x="927" y="1103"/>
                  </a:lnTo>
                  <a:lnTo>
                    <a:pt x="973" y="1137"/>
                  </a:lnTo>
                  <a:lnTo>
                    <a:pt x="1020" y="1170"/>
                  </a:lnTo>
                  <a:lnTo>
                    <a:pt x="1067" y="1203"/>
                  </a:lnTo>
                  <a:lnTo>
                    <a:pt x="1113" y="1234"/>
                  </a:lnTo>
                  <a:lnTo>
                    <a:pt x="1159" y="1264"/>
                  </a:lnTo>
                  <a:lnTo>
                    <a:pt x="1206" y="1293"/>
                  </a:lnTo>
                  <a:lnTo>
                    <a:pt x="1252" y="1321"/>
                  </a:lnTo>
                  <a:lnTo>
                    <a:pt x="1297" y="1347"/>
                  </a:lnTo>
                  <a:lnTo>
                    <a:pt x="1343" y="1372"/>
                  </a:lnTo>
                  <a:lnTo>
                    <a:pt x="1387" y="1396"/>
                  </a:lnTo>
                  <a:lnTo>
                    <a:pt x="1431" y="1419"/>
                  </a:lnTo>
                  <a:lnTo>
                    <a:pt x="1475" y="1439"/>
                  </a:lnTo>
                  <a:lnTo>
                    <a:pt x="1517" y="1459"/>
                  </a:lnTo>
                  <a:lnTo>
                    <a:pt x="1559" y="1478"/>
                  </a:lnTo>
                  <a:lnTo>
                    <a:pt x="1600" y="1494"/>
                  </a:lnTo>
                  <a:lnTo>
                    <a:pt x="1639" y="1510"/>
                  </a:lnTo>
                  <a:lnTo>
                    <a:pt x="1671" y="1521"/>
                  </a:lnTo>
                  <a:lnTo>
                    <a:pt x="1702" y="1531"/>
                  </a:lnTo>
                  <a:lnTo>
                    <a:pt x="1732" y="1541"/>
                  </a:lnTo>
                  <a:lnTo>
                    <a:pt x="1761" y="1549"/>
                  </a:lnTo>
                  <a:lnTo>
                    <a:pt x="1789" y="1556"/>
                  </a:lnTo>
                  <a:lnTo>
                    <a:pt x="1814" y="1561"/>
                  </a:lnTo>
                  <a:lnTo>
                    <a:pt x="1839" y="1566"/>
                  </a:lnTo>
                  <a:lnTo>
                    <a:pt x="1862" y="1569"/>
                  </a:lnTo>
                  <a:lnTo>
                    <a:pt x="1883" y="1571"/>
                  </a:lnTo>
                  <a:lnTo>
                    <a:pt x="1904" y="1572"/>
                  </a:lnTo>
                  <a:lnTo>
                    <a:pt x="1923" y="1572"/>
                  </a:lnTo>
                  <a:lnTo>
                    <a:pt x="1939" y="1570"/>
                  </a:lnTo>
                  <a:lnTo>
                    <a:pt x="1955" y="1567"/>
                  </a:lnTo>
                  <a:lnTo>
                    <a:pt x="1967" y="1563"/>
                  </a:lnTo>
                  <a:lnTo>
                    <a:pt x="1973" y="1560"/>
                  </a:lnTo>
                  <a:lnTo>
                    <a:pt x="1978" y="1557"/>
                  </a:lnTo>
                  <a:lnTo>
                    <a:pt x="1983" y="1554"/>
                  </a:lnTo>
                  <a:lnTo>
                    <a:pt x="1987" y="1550"/>
                  </a:lnTo>
                  <a:lnTo>
                    <a:pt x="1990" y="1541"/>
                  </a:lnTo>
                  <a:lnTo>
                    <a:pt x="1992" y="1531"/>
                  </a:lnTo>
                  <a:lnTo>
                    <a:pt x="1992" y="1521"/>
                  </a:lnTo>
                  <a:lnTo>
                    <a:pt x="1992" y="1511"/>
                  </a:lnTo>
                  <a:lnTo>
                    <a:pt x="1990" y="1499"/>
                  </a:lnTo>
                  <a:lnTo>
                    <a:pt x="1986" y="1487"/>
                  </a:lnTo>
                  <a:lnTo>
                    <a:pt x="1983" y="1473"/>
                  </a:lnTo>
                  <a:lnTo>
                    <a:pt x="1978" y="1460"/>
                  </a:lnTo>
                  <a:lnTo>
                    <a:pt x="1973" y="1446"/>
                  </a:lnTo>
                  <a:lnTo>
                    <a:pt x="1967" y="1431"/>
                  </a:lnTo>
                  <a:lnTo>
                    <a:pt x="1960" y="1417"/>
                  </a:lnTo>
                  <a:lnTo>
                    <a:pt x="1951" y="1400"/>
                  </a:lnTo>
                  <a:lnTo>
                    <a:pt x="1932" y="1367"/>
                  </a:lnTo>
                  <a:lnTo>
                    <a:pt x="1909" y="1331"/>
                  </a:lnTo>
                  <a:lnTo>
                    <a:pt x="1883" y="1294"/>
                  </a:lnTo>
                  <a:lnTo>
                    <a:pt x="1855" y="1255"/>
                  </a:lnTo>
                  <a:lnTo>
                    <a:pt x="1823" y="1215"/>
                  </a:lnTo>
                  <a:lnTo>
                    <a:pt x="1788" y="1171"/>
                  </a:lnTo>
                  <a:lnTo>
                    <a:pt x="1750" y="1128"/>
                  </a:lnTo>
                  <a:lnTo>
                    <a:pt x="1709" y="1083"/>
                  </a:lnTo>
                  <a:lnTo>
                    <a:pt x="1666" y="1036"/>
                  </a:lnTo>
                  <a:lnTo>
                    <a:pt x="1621" y="988"/>
                  </a:lnTo>
                  <a:lnTo>
                    <a:pt x="1600" y="967"/>
                  </a:lnTo>
                  <a:lnTo>
                    <a:pt x="1580" y="947"/>
                  </a:lnTo>
                  <a:lnTo>
                    <a:pt x="1558" y="926"/>
                  </a:lnTo>
                  <a:lnTo>
                    <a:pt x="1536" y="904"/>
                  </a:lnTo>
                  <a:lnTo>
                    <a:pt x="1515" y="883"/>
                  </a:lnTo>
                  <a:lnTo>
                    <a:pt x="1492" y="861"/>
                  </a:lnTo>
                  <a:lnTo>
                    <a:pt x="1468" y="840"/>
                  </a:lnTo>
                  <a:lnTo>
                    <a:pt x="1446" y="818"/>
                  </a:lnTo>
                  <a:lnTo>
                    <a:pt x="1422" y="796"/>
                  </a:lnTo>
                  <a:lnTo>
                    <a:pt x="1398" y="775"/>
                  </a:lnTo>
                  <a:lnTo>
                    <a:pt x="1374" y="753"/>
                  </a:lnTo>
                  <a:lnTo>
                    <a:pt x="1349" y="731"/>
                  </a:lnTo>
                  <a:lnTo>
                    <a:pt x="1324" y="710"/>
                  </a:lnTo>
                  <a:lnTo>
                    <a:pt x="1298" y="687"/>
                  </a:lnTo>
                  <a:lnTo>
                    <a:pt x="1273" y="665"/>
                  </a:lnTo>
                  <a:lnTo>
                    <a:pt x="1246" y="643"/>
                  </a:lnTo>
                  <a:lnTo>
                    <a:pt x="1244" y="641"/>
                  </a:lnTo>
                  <a:lnTo>
                    <a:pt x="1209" y="614"/>
                  </a:lnTo>
                  <a:lnTo>
                    <a:pt x="1206" y="612"/>
                  </a:lnTo>
                  <a:lnTo>
                    <a:pt x="1157" y="577"/>
                  </a:lnTo>
                  <a:lnTo>
                    <a:pt x="1109" y="542"/>
                  </a:lnTo>
                  <a:lnTo>
                    <a:pt x="1061" y="509"/>
                  </a:lnTo>
                  <a:lnTo>
                    <a:pt x="1014" y="478"/>
                  </a:lnTo>
                  <a:lnTo>
                    <a:pt x="967" y="447"/>
                  </a:lnTo>
                  <a:lnTo>
                    <a:pt x="921" y="419"/>
                  </a:lnTo>
                  <a:lnTo>
                    <a:pt x="876" y="391"/>
                  </a:lnTo>
                  <a:lnTo>
                    <a:pt x="831" y="365"/>
                  </a:lnTo>
                  <a:lnTo>
                    <a:pt x="786" y="342"/>
                  </a:lnTo>
                  <a:lnTo>
                    <a:pt x="743" y="319"/>
                  </a:lnTo>
                  <a:lnTo>
                    <a:pt x="701" y="297"/>
                  </a:lnTo>
                  <a:lnTo>
                    <a:pt x="660" y="278"/>
                  </a:lnTo>
                  <a:lnTo>
                    <a:pt x="619" y="260"/>
                  </a:lnTo>
                  <a:lnTo>
                    <a:pt x="579" y="244"/>
                  </a:lnTo>
                  <a:lnTo>
                    <a:pt x="541" y="228"/>
                  </a:lnTo>
                  <a:lnTo>
                    <a:pt x="504" y="216"/>
                  </a:lnTo>
                  <a:lnTo>
                    <a:pt x="504" y="2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3" name="Freeform 49"/>
            <p:cNvSpPr>
              <a:spLocks noChangeArrowheads="1"/>
            </p:cNvSpPr>
            <p:nvPr/>
          </p:nvSpPr>
          <p:spPr bwMode="auto">
            <a:xfrm>
              <a:off x="5942013" y="1650897"/>
              <a:ext cx="892175" cy="869968"/>
            </a:xfrm>
            <a:custGeom>
              <a:avLst/>
              <a:gdLst>
                <a:gd name="T0" fmla="*/ 55 w 1988"/>
                <a:gd name="T1" fmla="*/ 37 h 1569"/>
                <a:gd name="T2" fmla="*/ 112 w 1988"/>
                <a:gd name="T3" fmla="*/ 10 h 1569"/>
                <a:gd name="T4" fmla="*/ 188 w 1988"/>
                <a:gd name="T5" fmla="*/ 0 h 1569"/>
                <a:gd name="T6" fmla="*/ 278 w 1988"/>
                <a:gd name="T7" fmla="*/ 7 h 1569"/>
                <a:gd name="T8" fmla="*/ 383 w 1988"/>
                <a:gd name="T9" fmla="*/ 30 h 1569"/>
                <a:gd name="T10" fmla="*/ 501 w 1988"/>
                <a:gd name="T11" fmla="*/ 69 h 1569"/>
                <a:gd name="T12" fmla="*/ 628 w 1988"/>
                <a:gd name="T13" fmla="*/ 124 h 1569"/>
                <a:gd name="T14" fmla="*/ 765 w 1988"/>
                <a:gd name="T15" fmla="*/ 194 h 1569"/>
                <a:gd name="T16" fmla="*/ 910 w 1988"/>
                <a:gd name="T17" fmla="*/ 278 h 1569"/>
                <a:gd name="T18" fmla="*/ 1059 w 1988"/>
                <a:gd name="T19" fmla="*/ 377 h 1569"/>
                <a:gd name="T20" fmla="*/ 1213 w 1988"/>
                <a:gd name="T21" fmla="*/ 490 h 1569"/>
                <a:gd name="T22" fmla="*/ 1351 w 1988"/>
                <a:gd name="T23" fmla="*/ 609 h 1569"/>
                <a:gd name="T24" fmla="*/ 1479 w 1988"/>
                <a:gd name="T25" fmla="*/ 728 h 1569"/>
                <a:gd name="T26" fmla="*/ 1596 w 1988"/>
                <a:gd name="T27" fmla="*/ 843 h 1569"/>
                <a:gd name="T28" fmla="*/ 1700 w 1988"/>
                <a:gd name="T29" fmla="*/ 955 h 1569"/>
                <a:gd name="T30" fmla="*/ 1790 w 1988"/>
                <a:gd name="T31" fmla="*/ 1062 h 1569"/>
                <a:gd name="T32" fmla="*/ 1864 w 1988"/>
                <a:gd name="T33" fmla="*/ 1162 h 1569"/>
                <a:gd name="T34" fmla="*/ 1923 w 1988"/>
                <a:gd name="T35" fmla="*/ 1254 h 1569"/>
                <a:gd name="T36" fmla="*/ 1964 w 1988"/>
                <a:gd name="T37" fmla="*/ 1339 h 1569"/>
                <a:gd name="T38" fmla="*/ 1985 w 1988"/>
                <a:gd name="T39" fmla="*/ 1413 h 1569"/>
                <a:gd name="T40" fmla="*/ 1987 w 1988"/>
                <a:gd name="T41" fmla="*/ 1475 h 1569"/>
                <a:gd name="T42" fmla="*/ 1962 w 1988"/>
                <a:gd name="T43" fmla="*/ 1526 h 1569"/>
                <a:gd name="T44" fmla="*/ 1909 w 1988"/>
                <a:gd name="T45" fmla="*/ 1557 h 1569"/>
                <a:gd name="T46" fmla="*/ 1837 w 1988"/>
                <a:gd name="T47" fmla="*/ 1569 h 1569"/>
                <a:gd name="T48" fmla="*/ 1747 w 1988"/>
                <a:gd name="T49" fmla="*/ 1564 h 1569"/>
                <a:gd name="T50" fmla="*/ 1642 w 1988"/>
                <a:gd name="T51" fmla="*/ 1542 h 1569"/>
                <a:gd name="T52" fmla="*/ 1525 w 1988"/>
                <a:gd name="T53" fmla="*/ 1505 h 1569"/>
                <a:gd name="T54" fmla="*/ 1399 w 1988"/>
                <a:gd name="T55" fmla="*/ 1453 h 1569"/>
                <a:gd name="T56" fmla="*/ 1264 w 1988"/>
                <a:gd name="T57" fmla="*/ 1387 h 1569"/>
                <a:gd name="T58" fmla="*/ 1124 w 1988"/>
                <a:gd name="T59" fmla="*/ 1310 h 1569"/>
                <a:gd name="T60" fmla="*/ 981 w 1988"/>
                <a:gd name="T61" fmla="*/ 1220 h 1569"/>
                <a:gd name="T62" fmla="*/ 836 w 1988"/>
                <a:gd name="T63" fmla="*/ 1120 h 1569"/>
                <a:gd name="T64" fmla="*/ 688 w 1988"/>
                <a:gd name="T65" fmla="*/ 1005 h 1569"/>
                <a:gd name="T66" fmla="*/ 547 w 1988"/>
                <a:gd name="T67" fmla="*/ 884 h 1569"/>
                <a:gd name="T68" fmla="*/ 419 w 1988"/>
                <a:gd name="T69" fmla="*/ 765 h 1569"/>
                <a:gd name="T70" fmla="*/ 306 w 1988"/>
                <a:gd name="T71" fmla="*/ 647 h 1569"/>
                <a:gd name="T72" fmla="*/ 209 w 1988"/>
                <a:gd name="T73" fmla="*/ 535 h 1569"/>
                <a:gd name="T74" fmla="*/ 128 w 1988"/>
                <a:gd name="T75" fmla="*/ 429 h 1569"/>
                <a:gd name="T76" fmla="*/ 66 w 1988"/>
                <a:gd name="T77" fmla="*/ 332 h 1569"/>
                <a:gd name="T78" fmla="*/ 24 w 1988"/>
                <a:gd name="T79" fmla="*/ 245 h 1569"/>
                <a:gd name="T80" fmla="*/ 2 w 1988"/>
                <a:gd name="T81" fmla="*/ 170 h 1569"/>
                <a:gd name="T82" fmla="*/ 2 w 1988"/>
                <a:gd name="T83" fmla="*/ 109 h 1569"/>
                <a:gd name="T84" fmla="*/ 26 w 1988"/>
                <a:gd name="T85" fmla="*/ 65 h 1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88" h="1569">
                  <a:moveTo>
                    <a:pt x="26" y="65"/>
                  </a:moveTo>
                  <a:lnTo>
                    <a:pt x="39" y="50"/>
                  </a:lnTo>
                  <a:lnTo>
                    <a:pt x="55" y="37"/>
                  </a:lnTo>
                  <a:lnTo>
                    <a:pt x="71" y="26"/>
                  </a:lnTo>
                  <a:lnTo>
                    <a:pt x="91" y="16"/>
                  </a:lnTo>
                  <a:lnTo>
                    <a:pt x="112" y="10"/>
                  </a:lnTo>
                  <a:lnTo>
                    <a:pt x="135" y="5"/>
                  </a:lnTo>
                  <a:lnTo>
                    <a:pt x="161" y="1"/>
                  </a:lnTo>
                  <a:lnTo>
                    <a:pt x="188" y="0"/>
                  </a:lnTo>
                  <a:lnTo>
                    <a:pt x="216" y="0"/>
                  </a:lnTo>
                  <a:lnTo>
                    <a:pt x="246" y="3"/>
                  </a:lnTo>
                  <a:lnTo>
                    <a:pt x="278" y="7"/>
                  </a:lnTo>
                  <a:lnTo>
                    <a:pt x="312" y="12"/>
                  </a:lnTo>
                  <a:lnTo>
                    <a:pt x="347" y="21"/>
                  </a:lnTo>
                  <a:lnTo>
                    <a:pt x="383" y="30"/>
                  </a:lnTo>
                  <a:lnTo>
                    <a:pt x="421" y="41"/>
                  </a:lnTo>
                  <a:lnTo>
                    <a:pt x="460" y="55"/>
                  </a:lnTo>
                  <a:lnTo>
                    <a:pt x="501" y="69"/>
                  </a:lnTo>
                  <a:lnTo>
                    <a:pt x="542" y="86"/>
                  </a:lnTo>
                  <a:lnTo>
                    <a:pt x="585" y="104"/>
                  </a:lnTo>
                  <a:lnTo>
                    <a:pt x="628" y="124"/>
                  </a:lnTo>
                  <a:lnTo>
                    <a:pt x="674" y="145"/>
                  </a:lnTo>
                  <a:lnTo>
                    <a:pt x="719" y="169"/>
                  </a:lnTo>
                  <a:lnTo>
                    <a:pt x="765" y="194"/>
                  </a:lnTo>
                  <a:lnTo>
                    <a:pt x="813" y="221"/>
                  </a:lnTo>
                  <a:lnTo>
                    <a:pt x="861" y="248"/>
                  </a:lnTo>
                  <a:lnTo>
                    <a:pt x="910" y="278"/>
                  </a:lnTo>
                  <a:lnTo>
                    <a:pt x="959" y="310"/>
                  </a:lnTo>
                  <a:lnTo>
                    <a:pt x="1009" y="343"/>
                  </a:lnTo>
                  <a:lnTo>
                    <a:pt x="1059" y="377"/>
                  </a:lnTo>
                  <a:lnTo>
                    <a:pt x="1110" y="413"/>
                  </a:lnTo>
                  <a:lnTo>
                    <a:pt x="1162" y="451"/>
                  </a:lnTo>
                  <a:lnTo>
                    <a:pt x="1213" y="490"/>
                  </a:lnTo>
                  <a:lnTo>
                    <a:pt x="1260" y="530"/>
                  </a:lnTo>
                  <a:lnTo>
                    <a:pt x="1306" y="570"/>
                  </a:lnTo>
                  <a:lnTo>
                    <a:pt x="1351" y="609"/>
                  </a:lnTo>
                  <a:lnTo>
                    <a:pt x="1396" y="649"/>
                  </a:lnTo>
                  <a:lnTo>
                    <a:pt x="1438" y="689"/>
                  </a:lnTo>
                  <a:lnTo>
                    <a:pt x="1479" y="728"/>
                  </a:lnTo>
                  <a:lnTo>
                    <a:pt x="1519" y="767"/>
                  </a:lnTo>
                  <a:lnTo>
                    <a:pt x="1558" y="805"/>
                  </a:lnTo>
                  <a:lnTo>
                    <a:pt x="1596" y="843"/>
                  </a:lnTo>
                  <a:lnTo>
                    <a:pt x="1633" y="881"/>
                  </a:lnTo>
                  <a:lnTo>
                    <a:pt x="1667" y="918"/>
                  </a:lnTo>
                  <a:lnTo>
                    <a:pt x="1700" y="955"/>
                  </a:lnTo>
                  <a:lnTo>
                    <a:pt x="1731" y="992"/>
                  </a:lnTo>
                  <a:lnTo>
                    <a:pt x="1761" y="1027"/>
                  </a:lnTo>
                  <a:lnTo>
                    <a:pt x="1790" y="1062"/>
                  </a:lnTo>
                  <a:lnTo>
                    <a:pt x="1817" y="1096"/>
                  </a:lnTo>
                  <a:lnTo>
                    <a:pt x="1842" y="1130"/>
                  </a:lnTo>
                  <a:lnTo>
                    <a:pt x="1864" y="1162"/>
                  </a:lnTo>
                  <a:lnTo>
                    <a:pt x="1886" y="1194"/>
                  </a:lnTo>
                  <a:lnTo>
                    <a:pt x="1906" y="1225"/>
                  </a:lnTo>
                  <a:lnTo>
                    <a:pt x="1923" y="1254"/>
                  </a:lnTo>
                  <a:lnTo>
                    <a:pt x="1939" y="1284"/>
                  </a:lnTo>
                  <a:lnTo>
                    <a:pt x="1952" y="1312"/>
                  </a:lnTo>
                  <a:lnTo>
                    <a:pt x="1964" y="1339"/>
                  </a:lnTo>
                  <a:lnTo>
                    <a:pt x="1974" y="1365"/>
                  </a:lnTo>
                  <a:lnTo>
                    <a:pt x="1981" y="1390"/>
                  </a:lnTo>
                  <a:lnTo>
                    <a:pt x="1985" y="1413"/>
                  </a:lnTo>
                  <a:lnTo>
                    <a:pt x="1988" y="1435"/>
                  </a:lnTo>
                  <a:lnTo>
                    <a:pt x="1988" y="1457"/>
                  </a:lnTo>
                  <a:lnTo>
                    <a:pt x="1987" y="1475"/>
                  </a:lnTo>
                  <a:lnTo>
                    <a:pt x="1983" y="1494"/>
                  </a:lnTo>
                  <a:lnTo>
                    <a:pt x="1976" y="1510"/>
                  </a:lnTo>
                  <a:lnTo>
                    <a:pt x="1962" y="1526"/>
                  </a:lnTo>
                  <a:lnTo>
                    <a:pt x="1947" y="1538"/>
                  </a:lnTo>
                  <a:lnTo>
                    <a:pt x="1929" y="1548"/>
                  </a:lnTo>
                  <a:lnTo>
                    <a:pt x="1909" y="1557"/>
                  </a:lnTo>
                  <a:lnTo>
                    <a:pt x="1887" y="1563"/>
                  </a:lnTo>
                  <a:lnTo>
                    <a:pt x="1862" y="1567"/>
                  </a:lnTo>
                  <a:lnTo>
                    <a:pt x="1837" y="1569"/>
                  </a:lnTo>
                  <a:lnTo>
                    <a:pt x="1808" y="1569"/>
                  </a:lnTo>
                  <a:lnTo>
                    <a:pt x="1778" y="1568"/>
                  </a:lnTo>
                  <a:lnTo>
                    <a:pt x="1747" y="1564"/>
                  </a:lnTo>
                  <a:lnTo>
                    <a:pt x="1713" y="1559"/>
                  </a:lnTo>
                  <a:lnTo>
                    <a:pt x="1679" y="1551"/>
                  </a:lnTo>
                  <a:lnTo>
                    <a:pt x="1642" y="1542"/>
                  </a:lnTo>
                  <a:lnTo>
                    <a:pt x="1605" y="1532"/>
                  </a:lnTo>
                  <a:lnTo>
                    <a:pt x="1566" y="1519"/>
                  </a:lnTo>
                  <a:lnTo>
                    <a:pt x="1525" y="1505"/>
                  </a:lnTo>
                  <a:lnTo>
                    <a:pt x="1484" y="1490"/>
                  </a:lnTo>
                  <a:lnTo>
                    <a:pt x="1442" y="1472"/>
                  </a:lnTo>
                  <a:lnTo>
                    <a:pt x="1399" y="1453"/>
                  </a:lnTo>
                  <a:lnTo>
                    <a:pt x="1355" y="1433"/>
                  </a:lnTo>
                  <a:lnTo>
                    <a:pt x="1309" y="1411"/>
                  </a:lnTo>
                  <a:lnTo>
                    <a:pt x="1264" y="1387"/>
                  </a:lnTo>
                  <a:lnTo>
                    <a:pt x="1218" y="1363"/>
                  </a:lnTo>
                  <a:lnTo>
                    <a:pt x="1171" y="1337"/>
                  </a:lnTo>
                  <a:lnTo>
                    <a:pt x="1124" y="1310"/>
                  </a:lnTo>
                  <a:lnTo>
                    <a:pt x="1076" y="1281"/>
                  </a:lnTo>
                  <a:lnTo>
                    <a:pt x="1029" y="1251"/>
                  </a:lnTo>
                  <a:lnTo>
                    <a:pt x="981" y="1220"/>
                  </a:lnTo>
                  <a:lnTo>
                    <a:pt x="932" y="1189"/>
                  </a:lnTo>
                  <a:lnTo>
                    <a:pt x="885" y="1156"/>
                  </a:lnTo>
                  <a:lnTo>
                    <a:pt x="836" y="1120"/>
                  </a:lnTo>
                  <a:lnTo>
                    <a:pt x="789" y="1085"/>
                  </a:lnTo>
                  <a:lnTo>
                    <a:pt x="738" y="1045"/>
                  </a:lnTo>
                  <a:lnTo>
                    <a:pt x="688" y="1005"/>
                  </a:lnTo>
                  <a:lnTo>
                    <a:pt x="640" y="965"/>
                  </a:lnTo>
                  <a:lnTo>
                    <a:pt x="592" y="925"/>
                  </a:lnTo>
                  <a:lnTo>
                    <a:pt x="547" y="884"/>
                  </a:lnTo>
                  <a:lnTo>
                    <a:pt x="503" y="844"/>
                  </a:lnTo>
                  <a:lnTo>
                    <a:pt x="460" y="804"/>
                  </a:lnTo>
                  <a:lnTo>
                    <a:pt x="419" y="765"/>
                  </a:lnTo>
                  <a:lnTo>
                    <a:pt x="380" y="725"/>
                  </a:lnTo>
                  <a:lnTo>
                    <a:pt x="342" y="685"/>
                  </a:lnTo>
                  <a:lnTo>
                    <a:pt x="306" y="647"/>
                  </a:lnTo>
                  <a:lnTo>
                    <a:pt x="272" y="609"/>
                  </a:lnTo>
                  <a:lnTo>
                    <a:pt x="239" y="572"/>
                  </a:lnTo>
                  <a:lnTo>
                    <a:pt x="209" y="535"/>
                  </a:lnTo>
                  <a:lnTo>
                    <a:pt x="180" y="499"/>
                  </a:lnTo>
                  <a:lnTo>
                    <a:pt x="154" y="464"/>
                  </a:lnTo>
                  <a:lnTo>
                    <a:pt x="128" y="429"/>
                  </a:lnTo>
                  <a:lnTo>
                    <a:pt x="105" y="396"/>
                  </a:lnTo>
                  <a:lnTo>
                    <a:pt x="85" y="363"/>
                  </a:lnTo>
                  <a:lnTo>
                    <a:pt x="66" y="332"/>
                  </a:lnTo>
                  <a:lnTo>
                    <a:pt x="49" y="302"/>
                  </a:lnTo>
                  <a:lnTo>
                    <a:pt x="35" y="272"/>
                  </a:lnTo>
                  <a:lnTo>
                    <a:pt x="24" y="245"/>
                  </a:lnTo>
                  <a:lnTo>
                    <a:pt x="14" y="218"/>
                  </a:lnTo>
                  <a:lnTo>
                    <a:pt x="7" y="194"/>
                  </a:lnTo>
                  <a:lnTo>
                    <a:pt x="2" y="170"/>
                  </a:lnTo>
                  <a:lnTo>
                    <a:pt x="0" y="148"/>
                  </a:lnTo>
                  <a:lnTo>
                    <a:pt x="0" y="128"/>
                  </a:lnTo>
                  <a:lnTo>
                    <a:pt x="2" y="109"/>
                  </a:lnTo>
                  <a:lnTo>
                    <a:pt x="7" y="93"/>
                  </a:lnTo>
                  <a:lnTo>
                    <a:pt x="16" y="78"/>
                  </a:lnTo>
                  <a:lnTo>
                    <a:pt x="26" y="6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4" name="Freeform 50"/>
            <p:cNvSpPr>
              <a:spLocks noChangeArrowheads="1"/>
            </p:cNvSpPr>
            <p:nvPr/>
          </p:nvSpPr>
          <p:spPr bwMode="auto">
            <a:xfrm>
              <a:off x="7280275" y="2227172"/>
              <a:ext cx="511175" cy="1631985"/>
            </a:xfrm>
            <a:custGeom>
              <a:avLst/>
              <a:gdLst>
                <a:gd name="T0" fmla="*/ 320 w 1143"/>
                <a:gd name="T1" fmla="*/ 1 h 2938"/>
                <a:gd name="T2" fmla="*/ 427 w 1143"/>
                <a:gd name="T3" fmla="*/ 42 h 2938"/>
                <a:gd name="T4" fmla="*/ 520 w 1143"/>
                <a:gd name="T5" fmla="*/ 122 h 2938"/>
                <a:gd name="T6" fmla="*/ 621 w 1143"/>
                <a:gd name="T7" fmla="*/ 257 h 2938"/>
                <a:gd name="T8" fmla="*/ 724 w 1143"/>
                <a:gd name="T9" fmla="*/ 442 h 2938"/>
                <a:gd name="T10" fmla="*/ 839 w 1143"/>
                <a:gd name="T11" fmla="*/ 713 h 2938"/>
                <a:gd name="T12" fmla="*/ 1011 w 1143"/>
                <a:gd name="T13" fmla="*/ 1281 h 2938"/>
                <a:gd name="T14" fmla="*/ 1066 w 1143"/>
                <a:gd name="T15" fmla="*/ 1524 h 2938"/>
                <a:gd name="T16" fmla="*/ 1123 w 1143"/>
                <a:gd name="T17" fmla="*/ 1898 h 2938"/>
                <a:gd name="T18" fmla="*/ 1143 w 1143"/>
                <a:gd name="T19" fmla="*/ 2237 h 2938"/>
                <a:gd name="T20" fmla="*/ 1123 w 1143"/>
                <a:gd name="T21" fmla="*/ 2535 h 2938"/>
                <a:gd name="T22" fmla="*/ 1084 w 1143"/>
                <a:gd name="T23" fmla="*/ 2706 h 2938"/>
                <a:gd name="T24" fmla="*/ 1040 w 1143"/>
                <a:gd name="T25" fmla="*/ 2806 h 2938"/>
                <a:gd name="T26" fmla="*/ 984 w 1143"/>
                <a:gd name="T27" fmla="*/ 2880 h 2938"/>
                <a:gd name="T28" fmla="*/ 915 w 1143"/>
                <a:gd name="T29" fmla="*/ 2926 h 2938"/>
                <a:gd name="T30" fmla="*/ 881 w 1143"/>
                <a:gd name="T31" fmla="*/ 2935 h 2938"/>
                <a:gd name="T32" fmla="*/ 818 w 1143"/>
                <a:gd name="T33" fmla="*/ 2934 h 2938"/>
                <a:gd name="T34" fmla="*/ 744 w 1143"/>
                <a:gd name="T35" fmla="*/ 2902 h 2938"/>
                <a:gd name="T36" fmla="*/ 667 w 1143"/>
                <a:gd name="T37" fmla="*/ 2840 h 2938"/>
                <a:gd name="T38" fmla="*/ 550 w 1143"/>
                <a:gd name="T39" fmla="*/ 2697 h 2938"/>
                <a:gd name="T40" fmla="*/ 403 w 1143"/>
                <a:gd name="T41" fmla="*/ 2436 h 2938"/>
                <a:gd name="T42" fmla="*/ 269 w 1143"/>
                <a:gd name="T43" fmla="*/ 2115 h 2938"/>
                <a:gd name="T44" fmla="*/ 152 w 1143"/>
                <a:gd name="T45" fmla="*/ 1739 h 2938"/>
                <a:gd name="T46" fmla="*/ 107 w 1143"/>
                <a:gd name="T47" fmla="*/ 1553 h 2938"/>
                <a:gd name="T48" fmla="*/ 62 w 1143"/>
                <a:gd name="T49" fmla="*/ 1342 h 2938"/>
                <a:gd name="T50" fmla="*/ 13 w 1143"/>
                <a:gd name="T51" fmla="*/ 976 h 2938"/>
                <a:gd name="T52" fmla="*/ 0 w 1143"/>
                <a:gd name="T53" fmla="*/ 647 h 2938"/>
                <a:gd name="T54" fmla="*/ 26 w 1143"/>
                <a:gd name="T55" fmla="*/ 358 h 2938"/>
                <a:gd name="T56" fmla="*/ 65 w 1143"/>
                <a:gd name="T57" fmla="*/ 214 h 2938"/>
                <a:gd name="T58" fmla="*/ 111 w 1143"/>
                <a:gd name="T59" fmla="*/ 118 h 2938"/>
                <a:gd name="T60" fmla="*/ 169 w 1143"/>
                <a:gd name="T61" fmla="*/ 49 h 2938"/>
                <a:gd name="T62" fmla="*/ 239 w 1143"/>
                <a:gd name="T63" fmla="*/ 8 h 2938"/>
                <a:gd name="T64" fmla="*/ 290 w 1143"/>
                <a:gd name="T65" fmla="*/ 172 h 2938"/>
                <a:gd name="T66" fmla="*/ 260 w 1143"/>
                <a:gd name="T67" fmla="*/ 192 h 2938"/>
                <a:gd name="T68" fmla="*/ 219 w 1143"/>
                <a:gd name="T69" fmla="*/ 274 h 2938"/>
                <a:gd name="T70" fmla="*/ 185 w 1143"/>
                <a:gd name="T71" fmla="*/ 445 h 2938"/>
                <a:gd name="T72" fmla="*/ 171 w 1143"/>
                <a:gd name="T73" fmla="*/ 703 h 2938"/>
                <a:gd name="T74" fmla="*/ 189 w 1143"/>
                <a:gd name="T75" fmla="*/ 1023 h 2938"/>
                <a:gd name="T76" fmla="*/ 243 w 1143"/>
                <a:gd name="T77" fmla="*/ 1374 h 2938"/>
                <a:gd name="T78" fmla="*/ 273 w 1143"/>
                <a:gd name="T79" fmla="*/ 1513 h 2938"/>
                <a:gd name="T80" fmla="*/ 317 w 1143"/>
                <a:gd name="T81" fmla="*/ 1695 h 2938"/>
                <a:gd name="T82" fmla="*/ 429 w 1143"/>
                <a:gd name="T83" fmla="*/ 2055 h 2938"/>
                <a:gd name="T84" fmla="*/ 556 w 1143"/>
                <a:gd name="T85" fmla="*/ 2360 h 2938"/>
                <a:gd name="T86" fmla="*/ 675 w 1143"/>
                <a:gd name="T87" fmla="*/ 2580 h 2938"/>
                <a:gd name="T88" fmla="*/ 770 w 1143"/>
                <a:gd name="T89" fmla="*/ 2714 h 2938"/>
                <a:gd name="T90" fmla="*/ 833 w 1143"/>
                <a:gd name="T91" fmla="*/ 2767 h 2938"/>
                <a:gd name="T92" fmla="*/ 857 w 1143"/>
                <a:gd name="T93" fmla="*/ 2765 h 2938"/>
                <a:gd name="T94" fmla="*/ 886 w 1143"/>
                <a:gd name="T95" fmla="*/ 2741 h 2938"/>
                <a:gd name="T96" fmla="*/ 930 w 1143"/>
                <a:gd name="T97" fmla="*/ 2640 h 2938"/>
                <a:gd name="T98" fmla="*/ 962 w 1143"/>
                <a:gd name="T99" fmla="*/ 2458 h 2938"/>
                <a:gd name="T100" fmla="*/ 971 w 1143"/>
                <a:gd name="T101" fmla="*/ 2184 h 2938"/>
                <a:gd name="T102" fmla="*/ 946 w 1143"/>
                <a:gd name="T103" fmla="*/ 1856 h 2938"/>
                <a:gd name="T104" fmla="*/ 892 w 1143"/>
                <a:gd name="T105" fmla="*/ 1525 h 2938"/>
                <a:gd name="T106" fmla="*/ 846 w 1143"/>
                <a:gd name="T107" fmla="*/ 1325 h 2938"/>
                <a:gd name="T108" fmla="*/ 685 w 1143"/>
                <a:gd name="T109" fmla="*/ 787 h 2938"/>
                <a:gd name="T110" fmla="*/ 547 w 1143"/>
                <a:gd name="T111" fmla="*/ 469 h 2938"/>
                <a:gd name="T112" fmla="*/ 452 w 1143"/>
                <a:gd name="T113" fmla="*/ 311 h 2938"/>
                <a:gd name="T114" fmla="*/ 356 w 1143"/>
                <a:gd name="T115" fmla="*/ 201 h 2938"/>
                <a:gd name="T116" fmla="*/ 300 w 1143"/>
                <a:gd name="T117" fmla="*/ 171 h 2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3" h="2938">
                  <a:moveTo>
                    <a:pt x="257" y="3"/>
                  </a:moveTo>
                  <a:lnTo>
                    <a:pt x="260" y="3"/>
                  </a:lnTo>
                  <a:lnTo>
                    <a:pt x="265" y="2"/>
                  </a:lnTo>
                  <a:lnTo>
                    <a:pt x="283" y="0"/>
                  </a:lnTo>
                  <a:lnTo>
                    <a:pt x="301" y="0"/>
                  </a:lnTo>
                  <a:lnTo>
                    <a:pt x="320" y="1"/>
                  </a:lnTo>
                  <a:lnTo>
                    <a:pt x="339" y="4"/>
                  </a:lnTo>
                  <a:lnTo>
                    <a:pt x="357" y="9"/>
                  </a:lnTo>
                  <a:lnTo>
                    <a:pt x="376" y="16"/>
                  </a:lnTo>
                  <a:lnTo>
                    <a:pt x="393" y="24"/>
                  </a:lnTo>
                  <a:lnTo>
                    <a:pt x="412" y="33"/>
                  </a:lnTo>
                  <a:lnTo>
                    <a:pt x="427" y="42"/>
                  </a:lnTo>
                  <a:lnTo>
                    <a:pt x="443" y="53"/>
                  </a:lnTo>
                  <a:lnTo>
                    <a:pt x="458" y="64"/>
                  </a:lnTo>
                  <a:lnTo>
                    <a:pt x="473" y="77"/>
                  </a:lnTo>
                  <a:lnTo>
                    <a:pt x="489" y="91"/>
                  </a:lnTo>
                  <a:lnTo>
                    <a:pt x="504" y="105"/>
                  </a:lnTo>
                  <a:lnTo>
                    <a:pt x="520" y="122"/>
                  </a:lnTo>
                  <a:lnTo>
                    <a:pt x="534" y="138"/>
                  </a:lnTo>
                  <a:lnTo>
                    <a:pt x="552" y="159"/>
                  </a:lnTo>
                  <a:lnTo>
                    <a:pt x="569" y="182"/>
                  </a:lnTo>
                  <a:lnTo>
                    <a:pt x="586" y="205"/>
                  </a:lnTo>
                  <a:lnTo>
                    <a:pt x="603" y="230"/>
                  </a:lnTo>
                  <a:lnTo>
                    <a:pt x="621" y="257"/>
                  </a:lnTo>
                  <a:lnTo>
                    <a:pt x="638" y="284"/>
                  </a:lnTo>
                  <a:lnTo>
                    <a:pt x="655" y="313"/>
                  </a:lnTo>
                  <a:lnTo>
                    <a:pt x="672" y="343"/>
                  </a:lnTo>
                  <a:lnTo>
                    <a:pt x="690" y="375"/>
                  </a:lnTo>
                  <a:lnTo>
                    <a:pt x="706" y="408"/>
                  </a:lnTo>
                  <a:lnTo>
                    <a:pt x="724" y="442"/>
                  </a:lnTo>
                  <a:lnTo>
                    <a:pt x="740" y="478"/>
                  </a:lnTo>
                  <a:lnTo>
                    <a:pt x="757" y="514"/>
                  </a:lnTo>
                  <a:lnTo>
                    <a:pt x="774" y="553"/>
                  </a:lnTo>
                  <a:lnTo>
                    <a:pt x="791" y="591"/>
                  </a:lnTo>
                  <a:lnTo>
                    <a:pt x="807" y="631"/>
                  </a:lnTo>
                  <a:lnTo>
                    <a:pt x="839" y="713"/>
                  </a:lnTo>
                  <a:lnTo>
                    <a:pt x="870" y="800"/>
                  </a:lnTo>
                  <a:lnTo>
                    <a:pt x="901" y="891"/>
                  </a:lnTo>
                  <a:lnTo>
                    <a:pt x="931" y="983"/>
                  </a:lnTo>
                  <a:lnTo>
                    <a:pt x="959" y="1080"/>
                  </a:lnTo>
                  <a:lnTo>
                    <a:pt x="985" y="1179"/>
                  </a:lnTo>
                  <a:lnTo>
                    <a:pt x="1011" y="1281"/>
                  </a:lnTo>
                  <a:lnTo>
                    <a:pt x="1036" y="1386"/>
                  </a:lnTo>
                  <a:lnTo>
                    <a:pt x="1044" y="1421"/>
                  </a:lnTo>
                  <a:lnTo>
                    <a:pt x="1051" y="1456"/>
                  </a:lnTo>
                  <a:lnTo>
                    <a:pt x="1060" y="1491"/>
                  </a:lnTo>
                  <a:lnTo>
                    <a:pt x="1066" y="1524"/>
                  </a:lnTo>
                  <a:lnTo>
                    <a:pt x="1078" y="1588"/>
                  </a:lnTo>
                  <a:lnTo>
                    <a:pt x="1089" y="1651"/>
                  </a:lnTo>
                  <a:lnTo>
                    <a:pt x="1100" y="1714"/>
                  </a:lnTo>
                  <a:lnTo>
                    <a:pt x="1108" y="1776"/>
                  </a:lnTo>
                  <a:lnTo>
                    <a:pt x="1116" y="1837"/>
                  </a:lnTo>
                  <a:lnTo>
                    <a:pt x="1123" y="1898"/>
                  </a:lnTo>
                  <a:lnTo>
                    <a:pt x="1129" y="1957"/>
                  </a:lnTo>
                  <a:lnTo>
                    <a:pt x="1134" y="2015"/>
                  </a:lnTo>
                  <a:lnTo>
                    <a:pt x="1138" y="2073"/>
                  </a:lnTo>
                  <a:lnTo>
                    <a:pt x="1140" y="2129"/>
                  </a:lnTo>
                  <a:lnTo>
                    <a:pt x="1142" y="2183"/>
                  </a:lnTo>
                  <a:lnTo>
                    <a:pt x="1143" y="2237"/>
                  </a:lnTo>
                  <a:lnTo>
                    <a:pt x="1142" y="2290"/>
                  </a:lnTo>
                  <a:lnTo>
                    <a:pt x="1141" y="2339"/>
                  </a:lnTo>
                  <a:lnTo>
                    <a:pt x="1139" y="2389"/>
                  </a:lnTo>
                  <a:lnTo>
                    <a:pt x="1136" y="2435"/>
                  </a:lnTo>
                  <a:lnTo>
                    <a:pt x="1131" y="2485"/>
                  </a:lnTo>
                  <a:lnTo>
                    <a:pt x="1123" y="2535"/>
                  </a:lnTo>
                  <a:lnTo>
                    <a:pt x="1116" y="2581"/>
                  </a:lnTo>
                  <a:lnTo>
                    <a:pt x="1107" y="2625"/>
                  </a:lnTo>
                  <a:lnTo>
                    <a:pt x="1102" y="2646"/>
                  </a:lnTo>
                  <a:lnTo>
                    <a:pt x="1096" y="2667"/>
                  </a:lnTo>
                  <a:lnTo>
                    <a:pt x="1090" y="2686"/>
                  </a:lnTo>
                  <a:lnTo>
                    <a:pt x="1084" y="2706"/>
                  </a:lnTo>
                  <a:lnTo>
                    <a:pt x="1077" y="2725"/>
                  </a:lnTo>
                  <a:lnTo>
                    <a:pt x="1071" y="2742"/>
                  </a:lnTo>
                  <a:lnTo>
                    <a:pt x="1064" y="2760"/>
                  </a:lnTo>
                  <a:lnTo>
                    <a:pt x="1056" y="2775"/>
                  </a:lnTo>
                  <a:lnTo>
                    <a:pt x="1048" y="2792"/>
                  </a:lnTo>
                  <a:lnTo>
                    <a:pt x="1040" y="2806"/>
                  </a:lnTo>
                  <a:lnTo>
                    <a:pt x="1032" y="2820"/>
                  </a:lnTo>
                  <a:lnTo>
                    <a:pt x="1022" y="2834"/>
                  </a:lnTo>
                  <a:lnTo>
                    <a:pt x="1013" y="2847"/>
                  </a:lnTo>
                  <a:lnTo>
                    <a:pt x="1004" y="2859"/>
                  </a:lnTo>
                  <a:lnTo>
                    <a:pt x="994" y="2870"/>
                  </a:lnTo>
                  <a:lnTo>
                    <a:pt x="984" y="2880"/>
                  </a:lnTo>
                  <a:lnTo>
                    <a:pt x="973" y="2891"/>
                  </a:lnTo>
                  <a:lnTo>
                    <a:pt x="963" y="2899"/>
                  </a:lnTo>
                  <a:lnTo>
                    <a:pt x="951" y="2907"/>
                  </a:lnTo>
                  <a:lnTo>
                    <a:pt x="940" y="2914"/>
                  </a:lnTo>
                  <a:lnTo>
                    <a:pt x="928" y="2920"/>
                  </a:lnTo>
                  <a:lnTo>
                    <a:pt x="915" y="2926"/>
                  </a:lnTo>
                  <a:lnTo>
                    <a:pt x="903" y="2930"/>
                  </a:lnTo>
                  <a:lnTo>
                    <a:pt x="891" y="2933"/>
                  </a:lnTo>
                  <a:lnTo>
                    <a:pt x="889" y="2934"/>
                  </a:lnTo>
                  <a:lnTo>
                    <a:pt x="886" y="2934"/>
                  </a:lnTo>
                  <a:lnTo>
                    <a:pt x="881" y="2935"/>
                  </a:lnTo>
                  <a:lnTo>
                    <a:pt x="876" y="2936"/>
                  </a:lnTo>
                  <a:lnTo>
                    <a:pt x="865" y="2937"/>
                  </a:lnTo>
                  <a:lnTo>
                    <a:pt x="854" y="2938"/>
                  </a:lnTo>
                  <a:lnTo>
                    <a:pt x="841" y="2937"/>
                  </a:lnTo>
                  <a:lnTo>
                    <a:pt x="830" y="2936"/>
                  </a:lnTo>
                  <a:lnTo>
                    <a:pt x="818" y="2934"/>
                  </a:lnTo>
                  <a:lnTo>
                    <a:pt x="806" y="2931"/>
                  </a:lnTo>
                  <a:lnTo>
                    <a:pt x="794" y="2927"/>
                  </a:lnTo>
                  <a:lnTo>
                    <a:pt x="781" y="2921"/>
                  </a:lnTo>
                  <a:lnTo>
                    <a:pt x="769" y="2915"/>
                  </a:lnTo>
                  <a:lnTo>
                    <a:pt x="757" y="2909"/>
                  </a:lnTo>
                  <a:lnTo>
                    <a:pt x="744" y="2902"/>
                  </a:lnTo>
                  <a:lnTo>
                    <a:pt x="732" y="2894"/>
                  </a:lnTo>
                  <a:lnTo>
                    <a:pt x="719" y="2884"/>
                  </a:lnTo>
                  <a:lnTo>
                    <a:pt x="706" y="2874"/>
                  </a:lnTo>
                  <a:lnTo>
                    <a:pt x="693" y="2864"/>
                  </a:lnTo>
                  <a:lnTo>
                    <a:pt x="680" y="2852"/>
                  </a:lnTo>
                  <a:lnTo>
                    <a:pt x="667" y="2840"/>
                  </a:lnTo>
                  <a:lnTo>
                    <a:pt x="655" y="2828"/>
                  </a:lnTo>
                  <a:lnTo>
                    <a:pt x="641" y="2813"/>
                  </a:lnTo>
                  <a:lnTo>
                    <a:pt x="628" y="2799"/>
                  </a:lnTo>
                  <a:lnTo>
                    <a:pt x="602" y="2768"/>
                  </a:lnTo>
                  <a:lnTo>
                    <a:pt x="576" y="2734"/>
                  </a:lnTo>
                  <a:lnTo>
                    <a:pt x="550" y="2697"/>
                  </a:lnTo>
                  <a:lnTo>
                    <a:pt x="524" y="2658"/>
                  </a:lnTo>
                  <a:lnTo>
                    <a:pt x="498" y="2615"/>
                  </a:lnTo>
                  <a:lnTo>
                    <a:pt x="472" y="2570"/>
                  </a:lnTo>
                  <a:lnTo>
                    <a:pt x="450" y="2528"/>
                  </a:lnTo>
                  <a:lnTo>
                    <a:pt x="426" y="2482"/>
                  </a:lnTo>
                  <a:lnTo>
                    <a:pt x="403" y="2436"/>
                  </a:lnTo>
                  <a:lnTo>
                    <a:pt x="381" y="2386"/>
                  </a:lnTo>
                  <a:lnTo>
                    <a:pt x="357" y="2336"/>
                  </a:lnTo>
                  <a:lnTo>
                    <a:pt x="335" y="2283"/>
                  </a:lnTo>
                  <a:lnTo>
                    <a:pt x="313" y="2229"/>
                  </a:lnTo>
                  <a:lnTo>
                    <a:pt x="291" y="2173"/>
                  </a:lnTo>
                  <a:lnTo>
                    <a:pt x="269" y="2115"/>
                  </a:lnTo>
                  <a:lnTo>
                    <a:pt x="249" y="2056"/>
                  </a:lnTo>
                  <a:lnTo>
                    <a:pt x="228" y="1995"/>
                  </a:lnTo>
                  <a:lnTo>
                    <a:pt x="208" y="1933"/>
                  </a:lnTo>
                  <a:lnTo>
                    <a:pt x="188" y="1870"/>
                  </a:lnTo>
                  <a:lnTo>
                    <a:pt x="170" y="1805"/>
                  </a:lnTo>
                  <a:lnTo>
                    <a:pt x="152" y="1739"/>
                  </a:lnTo>
                  <a:lnTo>
                    <a:pt x="135" y="1672"/>
                  </a:lnTo>
                  <a:lnTo>
                    <a:pt x="127" y="1645"/>
                  </a:lnTo>
                  <a:lnTo>
                    <a:pt x="121" y="1615"/>
                  </a:lnTo>
                  <a:lnTo>
                    <a:pt x="114" y="1584"/>
                  </a:lnTo>
                  <a:lnTo>
                    <a:pt x="107" y="1553"/>
                  </a:lnTo>
                  <a:lnTo>
                    <a:pt x="99" y="1517"/>
                  </a:lnTo>
                  <a:lnTo>
                    <a:pt x="90" y="1482"/>
                  </a:lnTo>
                  <a:lnTo>
                    <a:pt x="83" y="1447"/>
                  </a:lnTo>
                  <a:lnTo>
                    <a:pt x="76" y="1413"/>
                  </a:lnTo>
                  <a:lnTo>
                    <a:pt x="75" y="1405"/>
                  </a:lnTo>
                  <a:lnTo>
                    <a:pt x="62" y="1342"/>
                  </a:lnTo>
                  <a:lnTo>
                    <a:pt x="52" y="1279"/>
                  </a:lnTo>
                  <a:lnTo>
                    <a:pt x="42" y="1217"/>
                  </a:lnTo>
                  <a:lnTo>
                    <a:pt x="33" y="1156"/>
                  </a:lnTo>
                  <a:lnTo>
                    <a:pt x="25" y="1095"/>
                  </a:lnTo>
                  <a:lnTo>
                    <a:pt x="18" y="1035"/>
                  </a:lnTo>
                  <a:lnTo>
                    <a:pt x="13" y="976"/>
                  </a:lnTo>
                  <a:lnTo>
                    <a:pt x="8" y="919"/>
                  </a:lnTo>
                  <a:lnTo>
                    <a:pt x="5" y="862"/>
                  </a:lnTo>
                  <a:lnTo>
                    <a:pt x="2" y="806"/>
                  </a:lnTo>
                  <a:lnTo>
                    <a:pt x="0" y="752"/>
                  </a:lnTo>
                  <a:lnTo>
                    <a:pt x="0" y="699"/>
                  </a:lnTo>
                  <a:lnTo>
                    <a:pt x="0" y="647"/>
                  </a:lnTo>
                  <a:lnTo>
                    <a:pt x="1" y="598"/>
                  </a:lnTo>
                  <a:lnTo>
                    <a:pt x="4" y="550"/>
                  </a:lnTo>
                  <a:lnTo>
                    <a:pt x="7" y="503"/>
                  </a:lnTo>
                  <a:lnTo>
                    <a:pt x="12" y="453"/>
                  </a:lnTo>
                  <a:lnTo>
                    <a:pt x="18" y="404"/>
                  </a:lnTo>
                  <a:lnTo>
                    <a:pt x="26" y="358"/>
                  </a:lnTo>
                  <a:lnTo>
                    <a:pt x="36" y="313"/>
                  </a:lnTo>
                  <a:lnTo>
                    <a:pt x="41" y="293"/>
                  </a:lnTo>
                  <a:lnTo>
                    <a:pt x="46" y="272"/>
                  </a:lnTo>
                  <a:lnTo>
                    <a:pt x="51" y="252"/>
                  </a:lnTo>
                  <a:lnTo>
                    <a:pt x="58" y="233"/>
                  </a:lnTo>
                  <a:lnTo>
                    <a:pt x="65" y="214"/>
                  </a:lnTo>
                  <a:lnTo>
                    <a:pt x="71" y="196"/>
                  </a:lnTo>
                  <a:lnTo>
                    <a:pt x="78" y="179"/>
                  </a:lnTo>
                  <a:lnTo>
                    <a:pt x="86" y="163"/>
                  </a:lnTo>
                  <a:lnTo>
                    <a:pt x="93" y="147"/>
                  </a:lnTo>
                  <a:lnTo>
                    <a:pt x="102" y="132"/>
                  </a:lnTo>
                  <a:lnTo>
                    <a:pt x="111" y="118"/>
                  </a:lnTo>
                  <a:lnTo>
                    <a:pt x="119" y="104"/>
                  </a:lnTo>
                  <a:lnTo>
                    <a:pt x="128" y="92"/>
                  </a:lnTo>
                  <a:lnTo>
                    <a:pt x="138" y="79"/>
                  </a:lnTo>
                  <a:lnTo>
                    <a:pt x="148" y="68"/>
                  </a:lnTo>
                  <a:lnTo>
                    <a:pt x="158" y="58"/>
                  </a:lnTo>
                  <a:lnTo>
                    <a:pt x="169" y="49"/>
                  </a:lnTo>
                  <a:lnTo>
                    <a:pt x="180" y="39"/>
                  </a:lnTo>
                  <a:lnTo>
                    <a:pt x="190" y="31"/>
                  </a:lnTo>
                  <a:lnTo>
                    <a:pt x="203" y="24"/>
                  </a:lnTo>
                  <a:lnTo>
                    <a:pt x="214" y="18"/>
                  </a:lnTo>
                  <a:lnTo>
                    <a:pt x="226" y="12"/>
                  </a:lnTo>
                  <a:lnTo>
                    <a:pt x="239" y="8"/>
                  </a:lnTo>
                  <a:lnTo>
                    <a:pt x="252" y="5"/>
                  </a:lnTo>
                  <a:lnTo>
                    <a:pt x="257" y="3"/>
                  </a:lnTo>
                  <a:close/>
                  <a:moveTo>
                    <a:pt x="293" y="171"/>
                  </a:moveTo>
                  <a:lnTo>
                    <a:pt x="291" y="171"/>
                  </a:lnTo>
                  <a:lnTo>
                    <a:pt x="290" y="172"/>
                  </a:lnTo>
                  <a:lnTo>
                    <a:pt x="285" y="173"/>
                  </a:lnTo>
                  <a:lnTo>
                    <a:pt x="280" y="175"/>
                  </a:lnTo>
                  <a:lnTo>
                    <a:pt x="275" y="178"/>
                  </a:lnTo>
                  <a:lnTo>
                    <a:pt x="269" y="183"/>
                  </a:lnTo>
                  <a:lnTo>
                    <a:pt x="264" y="187"/>
                  </a:lnTo>
                  <a:lnTo>
                    <a:pt x="260" y="192"/>
                  </a:lnTo>
                  <a:lnTo>
                    <a:pt x="255" y="197"/>
                  </a:lnTo>
                  <a:lnTo>
                    <a:pt x="251" y="203"/>
                  </a:lnTo>
                  <a:lnTo>
                    <a:pt x="242" y="218"/>
                  </a:lnTo>
                  <a:lnTo>
                    <a:pt x="233" y="234"/>
                  </a:lnTo>
                  <a:lnTo>
                    <a:pt x="226" y="254"/>
                  </a:lnTo>
                  <a:lnTo>
                    <a:pt x="219" y="274"/>
                  </a:lnTo>
                  <a:lnTo>
                    <a:pt x="212" y="298"/>
                  </a:lnTo>
                  <a:lnTo>
                    <a:pt x="206" y="324"/>
                  </a:lnTo>
                  <a:lnTo>
                    <a:pt x="199" y="352"/>
                  </a:lnTo>
                  <a:lnTo>
                    <a:pt x="194" y="380"/>
                  </a:lnTo>
                  <a:lnTo>
                    <a:pt x="189" y="412"/>
                  </a:lnTo>
                  <a:lnTo>
                    <a:pt x="185" y="445"/>
                  </a:lnTo>
                  <a:lnTo>
                    <a:pt x="181" y="480"/>
                  </a:lnTo>
                  <a:lnTo>
                    <a:pt x="178" y="518"/>
                  </a:lnTo>
                  <a:lnTo>
                    <a:pt x="175" y="561"/>
                  </a:lnTo>
                  <a:lnTo>
                    <a:pt x="172" y="607"/>
                  </a:lnTo>
                  <a:lnTo>
                    <a:pt x="171" y="655"/>
                  </a:lnTo>
                  <a:lnTo>
                    <a:pt x="171" y="703"/>
                  </a:lnTo>
                  <a:lnTo>
                    <a:pt x="171" y="754"/>
                  </a:lnTo>
                  <a:lnTo>
                    <a:pt x="173" y="805"/>
                  </a:lnTo>
                  <a:lnTo>
                    <a:pt x="175" y="858"/>
                  </a:lnTo>
                  <a:lnTo>
                    <a:pt x="179" y="911"/>
                  </a:lnTo>
                  <a:lnTo>
                    <a:pt x="183" y="967"/>
                  </a:lnTo>
                  <a:lnTo>
                    <a:pt x="189" y="1023"/>
                  </a:lnTo>
                  <a:lnTo>
                    <a:pt x="195" y="1079"/>
                  </a:lnTo>
                  <a:lnTo>
                    <a:pt x="203" y="1137"/>
                  </a:lnTo>
                  <a:lnTo>
                    <a:pt x="211" y="1196"/>
                  </a:lnTo>
                  <a:lnTo>
                    <a:pt x="220" y="1255"/>
                  </a:lnTo>
                  <a:lnTo>
                    <a:pt x="231" y="1314"/>
                  </a:lnTo>
                  <a:lnTo>
                    <a:pt x="243" y="1374"/>
                  </a:lnTo>
                  <a:lnTo>
                    <a:pt x="244" y="1380"/>
                  </a:lnTo>
                  <a:lnTo>
                    <a:pt x="251" y="1413"/>
                  </a:lnTo>
                  <a:lnTo>
                    <a:pt x="258" y="1447"/>
                  </a:lnTo>
                  <a:lnTo>
                    <a:pt x="265" y="1480"/>
                  </a:lnTo>
                  <a:lnTo>
                    <a:pt x="273" y="1513"/>
                  </a:lnTo>
                  <a:lnTo>
                    <a:pt x="273" y="1514"/>
                  </a:lnTo>
                  <a:lnTo>
                    <a:pt x="279" y="1541"/>
                  </a:lnTo>
                  <a:lnTo>
                    <a:pt x="286" y="1570"/>
                  </a:lnTo>
                  <a:lnTo>
                    <a:pt x="292" y="1600"/>
                  </a:lnTo>
                  <a:lnTo>
                    <a:pt x="300" y="1631"/>
                  </a:lnTo>
                  <a:lnTo>
                    <a:pt x="317" y="1695"/>
                  </a:lnTo>
                  <a:lnTo>
                    <a:pt x="334" y="1758"/>
                  </a:lnTo>
                  <a:lnTo>
                    <a:pt x="352" y="1820"/>
                  </a:lnTo>
                  <a:lnTo>
                    <a:pt x="370" y="1880"/>
                  </a:lnTo>
                  <a:lnTo>
                    <a:pt x="389" y="1940"/>
                  </a:lnTo>
                  <a:lnTo>
                    <a:pt x="410" y="1998"/>
                  </a:lnTo>
                  <a:lnTo>
                    <a:pt x="429" y="2055"/>
                  </a:lnTo>
                  <a:lnTo>
                    <a:pt x="450" y="2109"/>
                  </a:lnTo>
                  <a:lnTo>
                    <a:pt x="470" y="2163"/>
                  </a:lnTo>
                  <a:lnTo>
                    <a:pt x="492" y="2215"/>
                  </a:lnTo>
                  <a:lnTo>
                    <a:pt x="513" y="2265"/>
                  </a:lnTo>
                  <a:lnTo>
                    <a:pt x="534" y="2313"/>
                  </a:lnTo>
                  <a:lnTo>
                    <a:pt x="556" y="2360"/>
                  </a:lnTo>
                  <a:lnTo>
                    <a:pt x="578" y="2404"/>
                  </a:lnTo>
                  <a:lnTo>
                    <a:pt x="600" y="2447"/>
                  </a:lnTo>
                  <a:lnTo>
                    <a:pt x="622" y="2487"/>
                  </a:lnTo>
                  <a:lnTo>
                    <a:pt x="640" y="2520"/>
                  </a:lnTo>
                  <a:lnTo>
                    <a:pt x="658" y="2551"/>
                  </a:lnTo>
                  <a:lnTo>
                    <a:pt x="675" y="2580"/>
                  </a:lnTo>
                  <a:lnTo>
                    <a:pt x="693" y="2608"/>
                  </a:lnTo>
                  <a:lnTo>
                    <a:pt x="709" y="2633"/>
                  </a:lnTo>
                  <a:lnTo>
                    <a:pt x="726" y="2657"/>
                  </a:lnTo>
                  <a:lnTo>
                    <a:pt x="741" y="2678"/>
                  </a:lnTo>
                  <a:lnTo>
                    <a:pt x="756" y="2698"/>
                  </a:lnTo>
                  <a:lnTo>
                    <a:pt x="770" y="2714"/>
                  </a:lnTo>
                  <a:lnTo>
                    <a:pt x="783" y="2730"/>
                  </a:lnTo>
                  <a:lnTo>
                    <a:pt x="796" y="2742"/>
                  </a:lnTo>
                  <a:lnTo>
                    <a:pt x="807" y="2751"/>
                  </a:lnTo>
                  <a:lnTo>
                    <a:pt x="818" y="2760"/>
                  </a:lnTo>
                  <a:lnTo>
                    <a:pt x="829" y="2765"/>
                  </a:lnTo>
                  <a:lnTo>
                    <a:pt x="833" y="2767"/>
                  </a:lnTo>
                  <a:lnTo>
                    <a:pt x="838" y="2768"/>
                  </a:lnTo>
                  <a:lnTo>
                    <a:pt x="842" y="2768"/>
                  </a:lnTo>
                  <a:lnTo>
                    <a:pt x="846" y="2768"/>
                  </a:lnTo>
                  <a:lnTo>
                    <a:pt x="851" y="2766"/>
                  </a:lnTo>
                  <a:lnTo>
                    <a:pt x="857" y="2765"/>
                  </a:lnTo>
                  <a:lnTo>
                    <a:pt x="862" y="2763"/>
                  </a:lnTo>
                  <a:lnTo>
                    <a:pt x="867" y="2760"/>
                  </a:lnTo>
                  <a:lnTo>
                    <a:pt x="872" y="2756"/>
                  </a:lnTo>
                  <a:lnTo>
                    <a:pt x="877" y="2751"/>
                  </a:lnTo>
                  <a:lnTo>
                    <a:pt x="882" y="2746"/>
                  </a:lnTo>
                  <a:lnTo>
                    <a:pt x="886" y="2741"/>
                  </a:lnTo>
                  <a:lnTo>
                    <a:pt x="892" y="2735"/>
                  </a:lnTo>
                  <a:lnTo>
                    <a:pt x="900" y="2720"/>
                  </a:lnTo>
                  <a:lnTo>
                    <a:pt x="908" y="2704"/>
                  </a:lnTo>
                  <a:lnTo>
                    <a:pt x="916" y="2685"/>
                  </a:lnTo>
                  <a:lnTo>
                    <a:pt x="924" y="2664"/>
                  </a:lnTo>
                  <a:lnTo>
                    <a:pt x="930" y="2640"/>
                  </a:lnTo>
                  <a:lnTo>
                    <a:pt x="937" y="2614"/>
                  </a:lnTo>
                  <a:lnTo>
                    <a:pt x="942" y="2586"/>
                  </a:lnTo>
                  <a:lnTo>
                    <a:pt x="948" y="2558"/>
                  </a:lnTo>
                  <a:lnTo>
                    <a:pt x="952" y="2526"/>
                  </a:lnTo>
                  <a:lnTo>
                    <a:pt x="958" y="2493"/>
                  </a:lnTo>
                  <a:lnTo>
                    <a:pt x="962" y="2458"/>
                  </a:lnTo>
                  <a:lnTo>
                    <a:pt x="965" y="2420"/>
                  </a:lnTo>
                  <a:lnTo>
                    <a:pt x="968" y="2377"/>
                  </a:lnTo>
                  <a:lnTo>
                    <a:pt x="970" y="2331"/>
                  </a:lnTo>
                  <a:lnTo>
                    <a:pt x="971" y="2283"/>
                  </a:lnTo>
                  <a:lnTo>
                    <a:pt x="972" y="2235"/>
                  </a:lnTo>
                  <a:lnTo>
                    <a:pt x="971" y="2184"/>
                  </a:lnTo>
                  <a:lnTo>
                    <a:pt x="969" y="2132"/>
                  </a:lnTo>
                  <a:lnTo>
                    <a:pt x="967" y="2079"/>
                  </a:lnTo>
                  <a:lnTo>
                    <a:pt x="963" y="2025"/>
                  </a:lnTo>
                  <a:lnTo>
                    <a:pt x="959" y="1969"/>
                  </a:lnTo>
                  <a:lnTo>
                    <a:pt x="952" y="1913"/>
                  </a:lnTo>
                  <a:lnTo>
                    <a:pt x="946" y="1856"/>
                  </a:lnTo>
                  <a:lnTo>
                    <a:pt x="939" y="1798"/>
                  </a:lnTo>
                  <a:lnTo>
                    <a:pt x="930" y="1738"/>
                  </a:lnTo>
                  <a:lnTo>
                    <a:pt x="920" y="1678"/>
                  </a:lnTo>
                  <a:lnTo>
                    <a:pt x="910" y="1618"/>
                  </a:lnTo>
                  <a:lnTo>
                    <a:pt x="898" y="1558"/>
                  </a:lnTo>
                  <a:lnTo>
                    <a:pt x="892" y="1525"/>
                  </a:lnTo>
                  <a:lnTo>
                    <a:pt x="884" y="1491"/>
                  </a:lnTo>
                  <a:lnTo>
                    <a:pt x="877" y="1458"/>
                  </a:lnTo>
                  <a:lnTo>
                    <a:pt x="869" y="1425"/>
                  </a:lnTo>
                  <a:lnTo>
                    <a:pt x="870" y="1425"/>
                  </a:lnTo>
                  <a:lnTo>
                    <a:pt x="869" y="1424"/>
                  </a:lnTo>
                  <a:lnTo>
                    <a:pt x="846" y="1325"/>
                  </a:lnTo>
                  <a:lnTo>
                    <a:pt x="822" y="1228"/>
                  </a:lnTo>
                  <a:lnTo>
                    <a:pt x="797" y="1133"/>
                  </a:lnTo>
                  <a:lnTo>
                    <a:pt x="770" y="1041"/>
                  </a:lnTo>
                  <a:lnTo>
                    <a:pt x="742" y="954"/>
                  </a:lnTo>
                  <a:lnTo>
                    <a:pt x="713" y="868"/>
                  </a:lnTo>
                  <a:lnTo>
                    <a:pt x="685" y="787"/>
                  </a:lnTo>
                  <a:lnTo>
                    <a:pt x="655" y="708"/>
                  </a:lnTo>
                  <a:lnTo>
                    <a:pt x="625" y="635"/>
                  </a:lnTo>
                  <a:lnTo>
                    <a:pt x="594" y="565"/>
                  </a:lnTo>
                  <a:lnTo>
                    <a:pt x="578" y="532"/>
                  </a:lnTo>
                  <a:lnTo>
                    <a:pt x="562" y="500"/>
                  </a:lnTo>
                  <a:lnTo>
                    <a:pt x="547" y="469"/>
                  </a:lnTo>
                  <a:lnTo>
                    <a:pt x="531" y="439"/>
                  </a:lnTo>
                  <a:lnTo>
                    <a:pt x="516" y="411"/>
                  </a:lnTo>
                  <a:lnTo>
                    <a:pt x="499" y="385"/>
                  </a:lnTo>
                  <a:lnTo>
                    <a:pt x="484" y="359"/>
                  </a:lnTo>
                  <a:lnTo>
                    <a:pt x="468" y="334"/>
                  </a:lnTo>
                  <a:lnTo>
                    <a:pt x="452" y="311"/>
                  </a:lnTo>
                  <a:lnTo>
                    <a:pt x="436" y="290"/>
                  </a:lnTo>
                  <a:lnTo>
                    <a:pt x="421" y="269"/>
                  </a:lnTo>
                  <a:lnTo>
                    <a:pt x="405" y="251"/>
                  </a:lnTo>
                  <a:lnTo>
                    <a:pt x="385" y="228"/>
                  </a:lnTo>
                  <a:lnTo>
                    <a:pt x="365" y="209"/>
                  </a:lnTo>
                  <a:lnTo>
                    <a:pt x="356" y="201"/>
                  </a:lnTo>
                  <a:lnTo>
                    <a:pt x="347" y="194"/>
                  </a:lnTo>
                  <a:lnTo>
                    <a:pt x="337" y="188"/>
                  </a:lnTo>
                  <a:lnTo>
                    <a:pt x="328" y="182"/>
                  </a:lnTo>
                  <a:lnTo>
                    <a:pt x="318" y="176"/>
                  </a:lnTo>
                  <a:lnTo>
                    <a:pt x="309" y="173"/>
                  </a:lnTo>
                  <a:lnTo>
                    <a:pt x="300" y="171"/>
                  </a:lnTo>
                  <a:lnTo>
                    <a:pt x="293" y="17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5" name="Freeform 51"/>
            <p:cNvSpPr>
              <a:spLocks noChangeArrowheads="1"/>
            </p:cNvSpPr>
            <p:nvPr/>
          </p:nvSpPr>
          <p:spPr bwMode="auto">
            <a:xfrm>
              <a:off x="7316788" y="2281148"/>
              <a:ext cx="438150" cy="1533557"/>
            </a:xfrm>
            <a:custGeom>
              <a:avLst/>
              <a:gdLst>
                <a:gd name="T0" fmla="*/ 230 w 971"/>
                <a:gd name="T1" fmla="*/ 1 h 2766"/>
                <a:gd name="T2" fmla="*/ 294 w 971"/>
                <a:gd name="T3" fmla="*/ 26 h 2766"/>
                <a:gd name="T4" fmla="*/ 361 w 971"/>
                <a:gd name="T5" fmla="*/ 82 h 2766"/>
                <a:gd name="T6" fmla="*/ 430 w 971"/>
                <a:gd name="T7" fmla="*/ 165 h 2766"/>
                <a:gd name="T8" fmla="*/ 499 w 971"/>
                <a:gd name="T9" fmla="*/ 273 h 2766"/>
                <a:gd name="T10" fmla="*/ 567 w 971"/>
                <a:gd name="T11" fmla="*/ 404 h 2766"/>
                <a:gd name="T12" fmla="*/ 635 w 971"/>
                <a:gd name="T13" fmla="*/ 555 h 2766"/>
                <a:gd name="T14" fmla="*/ 698 w 971"/>
                <a:gd name="T15" fmla="*/ 724 h 2766"/>
                <a:gd name="T16" fmla="*/ 760 w 971"/>
                <a:gd name="T17" fmla="*/ 910 h 2766"/>
                <a:gd name="T18" fmla="*/ 817 w 971"/>
                <a:gd name="T19" fmla="*/ 1109 h 2766"/>
                <a:gd name="T20" fmla="*/ 867 w 971"/>
                <a:gd name="T21" fmla="*/ 1319 h 2766"/>
                <a:gd name="T22" fmla="*/ 910 w 971"/>
                <a:gd name="T23" fmla="*/ 1521 h 2766"/>
                <a:gd name="T24" fmla="*/ 941 w 971"/>
                <a:gd name="T25" fmla="*/ 1717 h 2766"/>
                <a:gd name="T26" fmla="*/ 961 w 971"/>
                <a:gd name="T27" fmla="*/ 1906 h 2766"/>
                <a:gd name="T28" fmla="*/ 971 w 971"/>
                <a:gd name="T29" fmla="*/ 2083 h 2766"/>
                <a:gd name="T30" fmla="*/ 970 w 971"/>
                <a:gd name="T31" fmla="*/ 2246 h 2766"/>
                <a:gd name="T32" fmla="*/ 960 w 971"/>
                <a:gd name="T33" fmla="*/ 2392 h 2766"/>
                <a:gd name="T34" fmla="*/ 939 w 971"/>
                <a:gd name="T35" fmla="*/ 2519 h 2766"/>
                <a:gd name="T36" fmla="*/ 909 w 971"/>
                <a:gd name="T37" fmla="*/ 2622 h 2766"/>
                <a:gd name="T38" fmla="*/ 869 w 971"/>
                <a:gd name="T39" fmla="*/ 2700 h 2766"/>
                <a:gd name="T40" fmla="*/ 820 w 971"/>
                <a:gd name="T41" fmla="*/ 2749 h 2766"/>
                <a:gd name="T42" fmla="*/ 766 w 971"/>
                <a:gd name="T43" fmla="*/ 2766 h 2766"/>
                <a:gd name="T44" fmla="*/ 712 w 971"/>
                <a:gd name="T45" fmla="*/ 2752 h 2766"/>
                <a:gd name="T46" fmla="*/ 650 w 971"/>
                <a:gd name="T47" fmla="*/ 2706 h 2766"/>
                <a:gd name="T48" fmla="*/ 584 w 971"/>
                <a:gd name="T49" fmla="*/ 2632 h 2766"/>
                <a:gd name="T50" fmla="*/ 515 w 971"/>
                <a:gd name="T51" fmla="*/ 2532 h 2766"/>
                <a:gd name="T52" fmla="*/ 444 w 971"/>
                <a:gd name="T53" fmla="*/ 2409 h 2766"/>
                <a:gd name="T54" fmla="*/ 372 w 971"/>
                <a:gd name="T55" fmla="*/ 2264 h 2766"/>
                <a:gd name="T56" fmla="*/ 303 w 971"/>
                <a:gd name="T57" fmla="*/ 2100 h 2766"/>
                <a:gd name="T58" fmla="*/ 236 w 971"/>
                <a:gd name="T59" fmla="*/ 1920 h 2766"/>
                <a:gd name="T60" fmla="*/ 175 w 971"/>
                <a:gd name="T61" fmla="*/ 1725 h 2766"/>
                <a:gd name="T62" fmla="*/ 121 w 971"/>
                <a:gd name="T63" fmla="*/ 1518 h 2766"/>
                <a:gd name="T64" fmla="*/ 75 w 971"/>
                <a:gd name="T65" fmla="*/ 1312 h 2766"/>
                <a:gd name="T66" fmla="*/ 40 w 971"/>
                <a:gd name="T67" fmla="*/ 1114 h 2766"/>
                <a:gd name="T68" fmla="*/ 17 w 971"/>
                <a:gd name="T69" fmla="*/ 922 h 2766"/>
                <a:gd name="T70" fmla="*/ 3 w 971"/>
                <a:gd name="T71" fmla="*/ 741 h 2766"/>
                <a:gd name="T72" fmla="*/ 0 w 971"/>
                <a:gd name="T73" fmla="*/ 573 h 2766"/>
                <a:gd name="T74" fmla="*/ 7 w 971"/>
                <a:gd name="T75" fmla="*/ 420 h 2766"/>
                <a:gd name="T76" fmla="*/ 25 w 971"/>
                <a:gd name="T77" fmla="*/ 287 h 2766"/>
                <a:gd name="T78" fmla="*/ 52 w 971"/>
                <a:gd name="T79" fmla="*/ 176 h 2766"/>
                <a:gd name="T80" fmla="*/ 89 w 971"/>
                <a:gd name="T81" fmla="*/ 89 h 2766"/>
                <a:gd name="T82" fmla="*/ 134 w 971"/>
                <a:gd name="T83" fmla="*/ 30 h 2766"/>
                <a:gd name="T84" fmla="*/ 190 w 971"/>
                <a:gd name="T85" fmla="*/ 2 h 2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71" h="2766">
                  <a:moveTo>
                    <a:pt x="190" y="2"/>
                  </a:moveTo>
                  <a:lnTo>
                    <a:pt x="209" y="0"/>
                  </a:lnTo>
                  <a:lnTo>
                    <a:pt x="230" y="1"/>
                  </a:lnTo>
                  <a:lnTo>
                    <a:pt x="251" y="6"/>
                  </a:lnTo>
                  <a:lnTo>
                    <a:pt x="272" y="15"/>
                  </a:lnTo>
                  <a:lnTo>
                    <a:pt x="294" y="26"/>
                  </a:lnTo>
                  <a:lnTo>
                    <a:pt x="316" y="42"/>
                  </a:lnTo>
                  <a:lnTo>
                    <a:pt x="338" y="60"/>
                  </a:lnTo>
                  <a:lnTo>
                    <a:pt x="361" y="82"/>
                  </a:lnTo>
                  <a:lnTo>
                    <a:pt x="383" y="107"/>
                  </a:lnTo>
                  <a:lnTo>
                    <a:pt x="406" y="135"/>
                  </a:lnTo>
                  <a:lnTo>
                    <a:pt x="430" y="165"/>
                  </a:lnTo>
                  <a:lnTo>
                    <a:pt x="452" y="199"/>
                  </a:lnTo>
                  <a:lnTo>
                    <a:pt x="475" y="235"/>
                  </a:lnTo>
                  <a:lnTo>
                    <a:pt x="499" y="273"/>
                  </a:lnTo>
                  <a:lnTo>
                    <a:pt x="521" y="314"/>
                  </a:lnTo>
                  <a:lnTo>
                    <a:pt x="544" y="357"/>
                  </a:lnTo>
                  <a:lnTo>
                    <a:pt x="567" y="404"/>
                  </a:lnTo>
                  <a:lnTo>
                    <a:pt x="589" y="452"/>
                  </a:lnTo>
                  <a:lnTo>
                    <a:pt x="612" y="503"/>
                  </a:lnTo>
                  <a:lnTo>
                    <a:pt x="635" y="555"/>
                  </a:lnTo>
                  <a:lnTo>
                    <a:pt x="656" y="610"/>
                  </a:lnTo>
                  <a:lnTo>
                    <a:pt x="678" y="667"/>
                  </a:lnTo>
                  <a:lnTo>
                    <a:pt x="698" y="724"/>
                  </a:lnTo>
                  <a:lnTo>
                    <a:pt x="720" y="785"/>
                  </a:lnTo>
                  <a:lnTo>
                    <a:pt x="740" y="847"/>
                  </a:lnTo>
                  <a:lnTo>
                    <a:pt x="760" y="910"/>
                  </a:lnTo>
                  <a:lnTo>
                    <a:pt x="780" y="975"/>
                  </a:lnTo>
                  <a:lnTo>
                    <a:pt x="798" y="1042"/>
                  </a:lnTo>
                  <a:lnTo>
                    <a:pt x="817" y="1109"/>
                  </a:lnTo>
                  <a:lnTo>
                    <a:pt x="834" y="1178"/>
                  </a:lnTo>
                  <a:lnTo>
                    <a:pt x="851" y="1248"/>
                  </a:lnTo>
                  <a:lnTo>
                    <a:pt x="867" y="1319"/>
                  </a:lnTo>
                  <a:lnTo>
                    <a:pt x="883" y="1387"/>
                  </a:lnTo>
                  <a:lnTo>
                    <a:pt x="897" y="1454"/>
                  </a:lnTo>
                  <a:lnTo>
                    <a:pt x="910" y="1521"/>
                  </a:lnTo>
                  <a:lnTo>
                    <a:pt x="921" y="1587"/>
                  </a:lnTo>
                  <a:lnTo>
                    <a:pt x="931" y="1653"/>
                  </a:lnTo>
                  <a:lnTo>
                    <a:pt x="941" y="1717"/>
                  </a:lnTo>
                  <a:lnTo>
                    <a:pt x="949" y="1781"/>
                  </a:lnTo>
                  <a:lnTo>
                    <a:pt x="956" y="1844"/>
                  </a:lnTo>
                  <a:lnTo>
                    <a:pt x="961" y="1906"/>
                  </a:lnTo>
                  <a:lnTo>
                    <a:pt x="965" y="1966"/>
                  </a:lnTo>
                  <a:lnTo>
                    <a:pt x="968" y="2025"/>
                  </a:lnTo>
                  <a:lnTo>
                    <a:pt x="971" y="2083"/>
                  </a:lnTo>
                  <a:lnTo>
                    <a:pt x="971" y="2140"/>
                  </a:lnTo>
                  <a:lnTo>
                    <a:pt x="971" y="2193"/>
                  </a:lnTo>
                  <a:lnTo>
                    <a:pt x="970" y="2246"/>
                  </a:lnTo>
                  <a:lnTo>
                    <a:pt x="968" y="2297"/>
                  </a:lnTo>
                  <a:lnTo>
                    <a:pt x="964" y="2346"/>
                  </a:lnTo>
                  <a:lnTo>
                    <a:pt x="960" y="2392"/>
                  </a:lnTo>
                  <a:lnTo>
                    <a:pt x="954" y="2438"/>
                  </a:lnTo>
                  <a:lnTo>
                    <a:pt x="948" y="2479"/>
                  </a:lnTo>
                  <a:lnTo>
                    <a:pt x="939" y="2519"/>
                  </a:lnTo>
                  <a:lnTo>
                    <a:pt x="930" y="2556"/>
                  </a:lnTo>
                  <a:lnTo>
                    <a:pt x="920" y="2591"/>
                  </a:lnTo>
                  <a:lnTo>
                    <a:pt x="909" y="2622"/>
                  </a:lnTo>
                  <a:lnTo>
                    <a:pt x="896" y="2652"/>
                  </a:lnTo>
                  <a:lnTo>
                    <a:pt x="884" y="2678"/>
                  </a:lnTo>
                  <a:lnTo>
                    <a:pt x="869" y="2700"/>
                  </a:lnTo>
                  <a:lnTo>
                    <a:pt x="854" y="2720"/>
                  </a:lnTo>
                  <a:lnTo>
                    <a:pt x="838" y="2737"/>
                  </a:lnTo>
                  <a:lnTo>
                    <a:pt x="820" y="2749"/>
                  </a:lnTo>
                  <a:lnTo>
                    <a:pt x="801" y="2759"/>
                  </a:lnTo>
                  <a:lnTo>
                    <a:pt x="783" y="2764"/>
                  </a:lnTo>
                  <a:lnTo>
                    <a:pt x="766" y="2766"/>
                  </a:lnTo>
                  <a:lnTo>
                    <a:pt x="749" y="2765"/>
                  </a:lnTo>
                  <a:lnTo>
                    <a:pt x="730" y="2760"/>
                  </a:lnTo>
                  <a:lnTo>
                    <a:pt x="712" y="2752"/>
                  </a:lnTo>
                  <a:lnTo>
                    <a:pt x="692" y="2740"/>
                  </a:lnTo>
                  <a:lnTo>
                    <a:pt x="672" y="2724"/>
                  </a:lnTo>
                  <a:lnTo>
                    <a:pt x="650" y="2706"/>
                  </a:lnTo>
                  <a:lnTo>
                    <a:pt x="629" y="2684"/>
                  </a:lnTo>
                  <a:lnTo>
                    <a:pt x="607" y="2660"/>
                  </a:lnTo>
                  <a:lnTo>
                    <a:pt x="584" y="2632"/>
                  </a:lnTo>
                  <a:lnTo>
                    <a:pt x="561" y="2601"/>
                  </a:lnTo>
                  <a:lnTo>
                    <a:pt x="538" y="2568"/>
                  </a:lnTo>
                  <a:lnTo>
                    <a:pt x="515" y="2532"/>
                  </a:lnTo>
                  <a:lnTo>
                    <a:pt x="491" y="2493"/>
                  </a:lnTo>
                  <a:lnTo>
                    <a:pt x="468" y="2452"/>
                  </a:lnTo>
                  <a:lnTo>
                    <a:pt x="444" y="2409"/>
                  </a:lnTo>
                  <a:lnTo>
                    <a:pt x="419" y="2362"/>
                  </a:lnTo>
                  <a:lnTo>
                    <a:pt x="396" y="2314"/>
                  </a:lnTo>
                  <a:lnTo>
                    <a:pt x="372" y="2264"/>
                  </a:lnTo>
                  <a:lnTo>
                    <a:pt x="349" y="2211"/>
                  </a:lnTo>
                  <a:lnTo>
                    <a:pt x="326" y="2157"/>
                  </a:lnTo>
                  <a:lnTo>
                    <a:pt x="303" y="2100"/>
                  </a:lnTo>
                  <a:lnTo>
                    <a:pt x="280" y="2042"/>
                  </a:lnTo>
                  <a:lnTo>
                    <a:pt x="259" y="1982"/>
                  </a:lnTo>
                  <a:lnTo>
                    <a:pt x="236" y="1920"/>
                  </a:lnTo>
                  <a:lnTo>
                    <a:pt x="215" y="1856"/>
                  </a:lnTo>
                  <a:lnTo>
                    <a:pt x="195" y="1791"/>
                  </a:lnTo>
                  <a:lnTo>
                    <a:pt x="175" y="1725"/>
                  </a:lnTo>
                  <a:lnTo>
                    <a:pt x="157" y="1657"/>
                  </a:lnTo>
                  <a:lnTo>
                    <a:pt x="138" y="1588"/>
                  </a:lnTo>
                  <a:lnTo>
                    <a:pt x="121" y="1518"/>
                  </a:lnTo>
                  <a:lnTo>
                    <a:pt x="104" y="1447"/>
                  </a:lnTo>
                  <a:lnTo>
                    <a:pt x="89" y="1379"/>
                  </a:lnTo>
                  <a:lnTo>
                    <a:pt x="75" y="1312"/>
                  </a:lnTo>
                  <a:lnTo>
                    <a:pt x="62" y="1245"/>
                  </a:lnTo>
                  <a:lnTo>
                    <a:pt x="51" y="1179"/>
                  </a:lnTo>
                  <a:lnTo>
                    <a:pt x="40" y="1114"/>
                  </a:lnTo>
                  <a:lnTo>
                    <a:pt x="31" y="1049"/>
                  </a:lnTo>
                  <a:lnTo>
                    <a:pt x="23" y="985"/>
                  </a:lnTo>
                  <a:lnTo>
                    <a:pt x="17" y="922"/>
                  </a:lnTo>
                  <a:lnTo>
                    <a:pt x="10" y="860"/>
                  </a:lnTo>
                  <a:lnTo>
                    <a:pt x="6" y="801"/>
                  </a:lnTo>
                  <a:lnTo>
                    <a:pt x="3" y="741"/>
                  </a:lnTo>
                  <a:lnTo>
                    <a:pt x="1" y="683"/>
                  </a:lnTo>
                  <a:lnTo>
                    <a:pt x="0" y="627"/>
                  </a:lnTo>
                  <a:lnTo>
                    <a:pt x="0" y="573"/>
                  </a:lnTo>
                  <a:lnTo>
                    <a:pt x="1" y="520"/>
                  </a:lnTo>
                  <a:lnTo>
                    <a:pt x="4" y="470"/>
                  </a:lnTo>
                  <a:lnTo>
                    <a:pt x="7" y="420"/>
                  </a:lnTo>
                  <a:lnTo>
                    <a:pt x="12" y="374"/>
                  </a:lnTo>
                  <a:lnTo>
                    <a:pt x="18" y="330"/>
                  </a:lnTo>
                  <a:lnTo>
                    <a:pt x="25" y="287"/>
                  </a:lnTo>
                  <a:lnTo>
                    <a:pt x="32" y="247"/>
                  </a:lnTo>
                  <a:lnTo>
                    <a:pt x="41" y="210"/>
                  </a:lnTo>
                  <a:lnTo>
                    <a:pt x="52" y="176"/>
                  </a:lnTo>
                  <a:lnTo>
                    <a:pt x="63" y="144"/>
                  </a:lnTo>
                  <a:lnTo>
                    <a:pt x="75" y="115"/>
                  </a:lnTo>
                  <a:lnTo>
                    <a:pt x="89" y="89"/>
                  </a:lnTo>
                  <a:lnTo>
                    <a:pt x="102" y="66"/>
                  </a:lnTo>
                  <a:lnTo>
                    <a:pt x="118" y="46"/>
                  </a:lnTo>
                  <a:lnTo>
                    <a:pt x="134" y="30"/>
                  </a:lnTo>
                  <a:lnTo>
                    <a:pt x="152" y="17"/>
                  </a:lnTo>
                  <a:lnTo>
                    <a:pt x="170" y="8"/>
                  </a:lnTo>
                  <a:lnTo>
                    <a:pt x="190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6" name="Freeform 52"/>
            <p:cNvSpPr>
              <a:spLocks noChangeArrowheads="1"/>
            </p:cNvSpPr>
            <p:nvPr/>
          </p:nvSpPr>
          <p:spPr bwMode="auto">
            <a:xfrm>
              <a:off x="7713663" y="5200622"/>
              <a:ext cx="338137" cy="638189"/>
            </a:xfrm>
            <a:custGeom>
              <a:avLst/>
              <a:gdLst>
                <a:gd name="T0" fmla="*/ 584 w 765"/>
                <a:gd name="T1" fmla="*/ 249 h 1149"/>
                <a:gd name="T2" fmla="*/ 203 w 765"/>
                <a:gd name="T3" fmla="*/ 903 h 1149"/>
                <a:gd name="T4" fmla="*/ 765 w 765"/>
                <a:gd name="T5" fmla="*/ 91 h 1149"/>
                <a:gd name="T6" fmla="*/ 722 w 765"/>
                <a:gd name="T7" fmla="*/ 771 h 1149"/>
                <a:gd name="T8" fmla="*/ 718 w 765"/>
                <a:gd name="T9" fmla="*/ 792 h 1149"/>
                <a:gd name="T10" fmla="*/ 709 w 765"/>
                <a:gd name="T11" fmla="*/ 812 h 1149"/>
                <a:gd name="T12" fmla="*/ 696 w 765"/>
                <a:gd name="T13" fmla="*/ 828 h 1149"/>
                <a:gd name="T14" fmla="*/ 678 w 765"/>
                <a:gd name="T15" fmla="*/ 842 h 1149"/>
                <a:gd name="T16" fmla="*/ 127 w 765"/>
                <a:gd name="T17" fmla="*/ 1138 h 1149"/>
                <a:gd name="T18" fmla="*/ 114 w 765"/>
                <a:gd name="T19" fmla="*/ 1145 h 1149"/>
                <a:gd name="T20" fmla="*/ 99 w 765"/>
                <a:gd name="T21" fmla="*/ 1148 h 1149"/>
                <a:gd name="T22" fmla="*/ 85 w 765"/>
                <a:gd name="T23" fmla="*/ 1149 h 1149"/>
                <a:gd name="T24" fmla="*/ 70 w 765"/>
                <a:gd name="T25" fmla="*/ 1148 h 1149"/>
                <a:gd name="T26" fmla="*/ 54 w 765"/>
                <a:gd name="T27" fmla="*/ 1143 h 1149"/>
                <a:gd name="T28" fmla="*/ 38 w 765"/>
                <a:gd name="T29" fmla="*/ 1134 h 1149"/>
                <a:gd name="T30" fmla="*/ 26 w 765"/>
                <a:gd name="T31" fmla="*/ 1124 h 1149"/>
                <a:gd name="T32" fmla="*/ 16 w 765"/>
                <a:gd name="T33" fmla="*/ 1112 h 1149"/>
                <a:gd name="T34" fmla="*/ 8 w 765"/>
                <a:gd name="T35" fmla="*/ 1097 h 1149"/>
                <a:gd name="T36" fmla="*/ 2 w 765"/>
                <a:gd name="T37" fmla="*/ 1082 h 1149"/>
                <a:gd name="T38" fmla="*/ 0 w 765"/>
                <a:gd name="T39" fmla="*/ 1065 h 1149"/>
                <a:gd name="T40" fmla="*/ 2 w 765"/>
                <a:gd name="T41" fmla="*/ 1048 h 1149"/>
                <a:gd name="T42" fmla="*/ 129 w 765"/>
                <a:gd name="T43" fmla="*/ 365 h 1149"/>
                <a:gd name="T44" fmla="*/ 135 w 765"/>
                <a:gd name="T45" fmla="*/ 348 h 1149"/>
                <a:gd name="T46" fmla="*/ 146 w 765"/>
                <a:gd name="T47" fmla="*/ 331 h 1149"/>
                <a:gd name="T48" fmla="*/ 159 w 765"/>
                <a:gd name="T49" fmla="*/ 317 h 1149"/>
                <a:gd name="T50" fmla="*/ 630 w 765"/>
                <a:gd name="T51" fmla="*/ 16 h 1149"/>
                <a:gd name="T52" fmla="*/ 642 w 765"/>
                <a:gd name="T53" fmla="*/ 9 h 1149"/>
                <a:gd name="T54" fmla="*/ 655 w 765"/>
                <a:gd name="T55" fmla="*/ 3 h 1149"/>
                <a:gd name="T56" fmla="*/ 670 w 765"/>
                <a:gd name="T57" fmla="*/ 0 h 1149"/>
                <a:gd name="T58" fmla="*/ 685 w 765"/>
                <a:gd name="T59" fmla="*/ 0 h 1149"/>
                <a:gd name="T60" fmla="*/ 702 w 765"/>
                <a:gd name="T61" fmla="*/ 3 h 1149"/>
                <a:gd name="T62" fmla="*/ 718 w 765"/>
                <a:gd name="T63" fmla="*/ 9 h 1149"/>
                <a:gd name="T64" fmla="*/ 732 w 765"/>
                <a:gd name="T65" fmla="*/ 18 h 1149"/>
                <a:gd name="T66" fmla="*/ 744 w 765"/>
                <a:gd name="T67" fmla="*/ 29 h 1149"/>
                <a:gd name="T68" fmla="*/ 753 w 765"/>
                <a:gd name="T69" fmla="*/ 43 h 1149"/>
                <a:gd name="T70" fmla="*/ 760 w 765"/>
                <a:gd name="T71" fmla="*/ 57 h 1149"/>
                <a:gd name="T72" fmla="*/ 765 w 765"/>
                <a:gd name="T73" fmla="*/ 74 h 1149"/>
                <a:gd name="T74" fmla="*/ 765 w 765"/>
                <a:gd name="T75" fmla="*/ 91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65" h="1149">
                  <a:moveTo>
                    <a:pt x="556" y="713"/>
                  </a:moveTo>
                  <a:lnTo>
                    <a:pt x="584" y="249"/>
                  </a:lnTo>
                  <a:lnTo>
                    <a:pt x="291" y="435"/>
                  </a:lnTo>
                  <a:lnTo>
                    <a:pt x="203" y="903"/>
                  </a:lnTo>
                  <a:lnTo>
                    <a:pt x="556" y="713"/>
                  </a:lnTo>
                  <a:close/>
                  <a:moveTo>
                    <a:pt x="765" y="91"/>
                  </a:moveTo>
                  <a:lnTo>
                    <a:pt x="722" y="771"/>
                  </a:lnTo>
                  <a:lnTo>
                    <a:pt x="720" y="782"/>
                  </a:lnTo>
                  <a:lnTo>
                    <a:pt x="718" y="792"/>
                  </a:lnTo>
                  <a:lnTo>
                    <a:pt x="714" y="802"/>
                  </a:lnTo>
                  <a:lnTo>
                    <a:pt x="709" y="812"/>
                  </a:lnTo>
                  <a:lnTo>
                    <a:pt x="703" y="820"/>
                  </a:lnTo>
                  <a:lnTo>
                    <a:pt x="696" y="828"/>
                  </a:lnTo>
                  <a:lnTo>
                    <a:pt x="687" y="835"/>
                  </a:lnTo>
                  <a:lnTo>
                    <a:pt x="678" y="842"/>
                  </a:lnTo>
                  <a:lnTo>
                    <a:pt x="127" y="1138"/>
                  </a:lnTo>
                  <a:lnTo>
                    <a:pt x="120" y="1142"/>
                  </a:lnTo>
                  <a:lnTo>
                    <a:pt x="114" y="1145"/>
                  </a:lnTo>
                  <a:lnTo>
                    <a:pt x="106" y="1147"/>
                  </a:lnTo>
                  <a:lnTo>
                    <a:pt x="99" y="1148"/>
                  </a:lnTo>
                  <a:lnTo>
                    <a:pt x="92" y="1149"/>
                  </a:lnTo>
                  <a:lnTo>
                    <a:pt x="85" y="1149"/>
                  </a:lnTo>
                  <a:lnTo>
                    <a:pt x="78" y="1149"/>
                  </a:lnTo>
                  <a:lnTo>
                    <a:pt x="70" y="1148"/>
                  </a:lnTo>
                  <a:lnTo>
                    <a:pt x="62" y="1146"/>
                  </a:lnTo>
                  <a:lnTo>
                    <a:pt x="54" y="1143"/>
                  </a:lnTo>
                  <a:lnTo>
                    <a:pt x="46" y="1139"/>
                  </a:lnTo>
                  <a:lnTo>
                    <a:pt x="38" y="1134"/>
                  </a:lnTo>
                  <a:lnTo>
                    <a:pt x="32" y="1130"/>
                  </a:lnTo>
                  <a:lnTo>
                    <a:pt x="26" y="1124"/>
                  </a:lnTo>
                  <a:lnTo>
                    <a:pt x="21" y="1119"/>
                  </a:lnTo>
                  <a:lnTo>
                    <a:pt x="16" y="1112"/>
                  </a:lnTo>
                  <a:lnTo>
                    <a:pt x="12" y="1104"/>
                  </a:lnTo>
                  <a:lnTo>
                    <a:pt x="8" y="1097"/>
                  </a:lnTo>
                  <a:lnTo>
                    <a:pt x="4" y="1090"/>
                  </a:lnTo>
                  <a:lnTo>
                    <a:pt x="2" y="1082"/>
                  </a:lnTo>
                  <a:lnTo>
                    <a:pt x="1" y="1074"/>
                  </a:lnTo>
                  <a:lnTo>
                    <a:pt x="0" y="1065"/>
                  </a:lnTo>
                  <a:lnTo>
                    <a:pt x="1" y="1056"/>
                  </a:lnTo>
                  <a:lnTo>
                    <a:pt x="2" y="1048"/>
                  </a:lnTo>
                  <a:lnTo>
                    <a:pt x="128" y="375"/>
                  </a:lnTo>
                  <a:lnTo>
                    <a:pt x="129" y="365"/>
                  </a:lnTo>
                  <a:lnTo>
                    <a:pt x="132" y="356"/>
                  </a:lnTo>
                  <a:lnTo>
                    <a:pt x="135" y="348"/>
                  </a:lnTo>
                  <a:lnTo>
                    <a:pt x="140" y="339"/>
                  </a:lnTo>
                  <a:lnTo>
                    <a:pt x="146" y="331"/>
                  </a:lnTo>
                  <a:lnTo>
                    <a:pt x="152" y="323"/>
                  </a:lnTo>
                  <a:lnTo>
                    <a:pt x="159" y="317"/>
                  </a:lnTo>
                  <a:lnTo>
                    <a:pt x="168" y="311"/>
                  </a:lnTo>
                  <a:lnTo>
                    <a:pt x="630" y="16"/>
                  </a:lnTo>
                  <a:lnTo>
                    <a:pt x="636" y="13"/>
                  </a:lnTo>
                  <a:lnTo>
                    <a:pt x="642" y="9"/>
                  </a:lnTo>
                  <a:lnTo>
                    <a:pt x="648" y="6"/>
                  </a:lnTo>
                  <a:lnTo>
                    <a:pt x="655" y="3"/>
                  </a:lnTo>
                  <a:lnTo>
                    <a:pt x="663" y="1"/>
                  </a:lnTo>
                  <a:lnTo>
                    <a:pt x="670" y="0"/>
                  </a:lnTo>
                  <a:lnTo>
                    <a:pt x="677" y="0"/>
                  </a:lnTo>
                  <a:lnTo>
                    <a:pt x="685" y="0"/>
                  </a:lnTo>
                  <a:lnTo>
                    <a:pt x="694" y="1"/>
                  </a:lnTo>
                  <a:lnTo>
                    <a:pt x="702" y="3"/>
                  </a:lnTo>
                  <a:lnTo>
                    <a:pt x="710" y="6"/>
                  </a:lnTo>
                  <a:lnTo>
                    <a:pt x="718" y="9"/>
                  </a:lnTo>
                  <a:lnTo>
                    <a:pt x="725" y="14"/>
                  </a:lnTo>
                  <a:lnTo>
                    <a:pt x="732" y="18"/>
                  </a:lnTo>
                  <a:lnTo>
                    <a:pt x="738" y="23"/>
                  </a:lnTo>
                  <a:lnTo>
                    <a:pt x="744" y="29"/>
                  </a:lnTo>
                  <a:lnTo>
                    <a:pt x="749" y="35"/>
                  </a:lnTo>
                  <a:lnTo>
                    <a:pt x="753" y="43"/>
                  </a:lnTo>
                  <a:lnTo>
                    <a:pt x="757" y="50"/>
                  </a:lnTo>
                  <a:lnTo>
                    <a:pt x="760" y="57"/>
                  </a:lnTo>
                  <a:lnTo>
                    <a:pt x="763" y="65"/>
                  </a:lnTo>
                  <a:lnTo>
                    <a:pt x="765" y="74"/>
                  </a:lnTo>
                  <a:lnTo>
                    <a:pt x="765" y="83"/>
                  </a:lnTo>
                  <a:lnTo>
                    <a:pt x="765" y="9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77" name="Freeform 53"/>
            <p:cNvSpPr>
              <a:spLocks noChangeArrowheads="1"/>
            </p:cNvSpPr>
            <p:nvPr/>
          </p:nvSpPr>
          <p:spPr bwMode="auto">
            <a:xfrm>
              <a:off x="7748588" y="5245073"/>
              <a:ext cx="266700" cy="549287"/>
            </a:xfrm>
            <a:custGeom>
              <a:avLst/>
              <a:gdLst>
                <a:gd name="T0" fmla="*/ 551 w 594"/>
                <a:gd name="T1" fmla="*/ 679 h 977"/>
                <a:gd name="T2" fmla="*/ 594 w 594"/>
                <a:gd name="T3" fmla="*/ 0 h 977"/>
                <a:gd name="T4" fmla="*/ 128 w 594"/>
                <a:gd name="T5" fmla="*/ 297 h 977"/>
                <a:gd name="T6" fmla="*/ 0 w 594"/>
                <a:gd name="T7" fmla="*/ 977 h 977"/>
                <a:gd name="T8" fmla="*/ 551 w 594"/>
                <a:gd name="T9" fmla="*/ 679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4" h="977">
                  <a:moveTo>
                    <a:pt x="551" y="679"/>
                  </a:moveTo>
                  <a:lnTo>
                    <a:pt x="594" y="0"/>
                  </a:lnTo>
                  <a:lnTo>
                    <a:pt x="128" y="297"/>
                  </a:lnTo>
                  <a:lnTo>
                    <a:pt x="0" y="977"/>
                  </a:lnTo>
                  <a:lnTo>
                    <a:pt x="551" y="6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89" name="Freeform 65"/>
            <p:cNvSpPr>
              <a:spLocks noChangeArrowheads="1"/>
            </p:cNvSpPr>
            <p:nvPr/>
          </p:nvSpPr>
          <p:spPr bwMode="auto">
            <a:xfrm>
              <a:off x="1255713" y="1943003"/>
              <a:ext cx="1914525" cy="1720886"/>
            </a:xfrm>
            <a:custGeom>
              <a:avLst/>
              <a:gdLst>
                <a:gd name="T0" fmla="*/ 68 w 4263"/>
                <a:gd name="T1" fmla="*/ 2882 h 3100"/>
                <a:gd name="T2" fmla="*/ 322 w 4263"/>
                <a:gd name="T3" fmla="*/ 2585 h 3100"/>
                <a:gd name="T4" fmla="*/ 581 w 4263"/>
                <a:gd name="T5" fmla="*/ 2300 h 3100"/>
                <a:gd name="T6" fmla="*/ 849 w 4263"/>
                <a:gd name="T7" fmla="*/ 2022 h 3100"/>
                <a:gd name="T8" fmla="*/ 1143 w 4263"/>
                <a:gd name="T9" fmla="*/ 1739 h 3100"/>
                <a:gd name="T10" fmla="*/ 1504 w 4263"/>
                <a:gd name="T11" fmla="*/ 1417 h 3100"/>
                <a:gd name="T12" fmla="*/ 1874 w 4263"/>
                <a:gd name="T13" fmla="*/ 1121 h 3100"/>
                <a:gd name="T14" fmla="*/ 2253 w 4263"/>
                <a:gd name="T15" fmla="*/ 851 h 3100"/>
                <a:gd name="T16" fmla="*/ 2640 w 4263"/>
                <a:gd name="T17" fmla="*/ 610 h 3100"/>
                <a:gd name="T18" fmla="*/ 3035 w 4263"/>
                <a:gd name="T19" fmla="*/ 400 h 3100"/>
                <a:gd name="T20" fmla="*/ 3438 w 4263"/>
                <a:gd name="T21" fmla="*/ 224 h 3100"/>
                <a:gd name="T22" fmla="*/ 3848 w 4263"/>
                <a:gd name="T23" fmla="*/ 83 h 3100"/>
                <a:gd name="T24" fmla="*/ 4168 w 4263"/>
                <a:gd name="T25" fmla="*/ 1 h 3100"/>
                <a:gd name="T26" fmla="*/ 4201 w 4263"/>
                <a:gd name="T27" fmla="*/ 3 h 3100"/>
                <a:gd name="T28" fmla="*/ 4230 w 4263"/>
                <a:gd name="T29" fmla="*/ 18 h 3100"/>
                <a:gd name="T30" fmla="*/ 4251 w 4263"/>
                <a:gd name="T31" fmla="*/ 43 h 3100"/>
                <a:gd name="T32" fmla="*/ 4263 w 4263"/>
                <a:gd name="T33" fmla="*/ 80 h 3100"/>
                <a:gd name="T34" fmla="*/ 4250 w 4263"/>
                <a:gd name="T35" fmla="*/ 130 h 3100"/>
                <a:gd name="T36" fmla="*/ 4229 w 4263"/>
                <a:gd name="T37" fmla="*/ 153 h 3100"/>
                <a:gd name="T38" fmla="*/ 4030 w 4263"/>
                <a:gd name="T39" fmla="*/ 284 h 3100"/>
                <a:gd name="T40" fmla="*/ 3665 w 4263"/>
                <a:gd name="T41" fmla="*/ 543 h 3100"/>
                <a:gd name="T42" fmla="*/ 3324 w 4263"/>
                <a:gd name="T43" fmla="*/ 810 h 3100"/>
                <a:gd name="T44" fmla="*/ 3003 w 4263"/>
                <a:gd name="T45" fmla="*/ 1087 h 3100"/>
                <a:gd name="T46" fmla="*/ 2695 w 4263"/>
                <a:gd name="T47" fmla="*/ 1380 h 3100"/>
                <a:gd name="T48" fmla="*/ 2396 w 4263"/>
                <a:gd name="T49" fmla="*/ 1690 h 3100"/>
                <a:gd name="T50" fmla="*/ 2103 w 4263"/>
                <a:gd name="T51" fmla="*/ 2021 h 3100"/>
                <a:gd name="T52" fmla="*/ 1808 w 4263"/>
                <a:gd name="T53" fmla="*/ 2375 h 3100"/>
                <a:gd name="T54" fmla="*/ 1640 w 4263"/>
                <a:gd name="T55" fmla="*/ 2579 h 3100"/>
                <a:gd name="T56" fmla="*/ 92 w 4263"/>
                <a:gd name="T57" fmla="*/ 3100 h 3100"/>
                <a:gd name="T58" fmla="*/ 601 w 4263"/>
                <a:gd name="T59" fmla="*/ 2531 h 3100"/>
                <a:gd name="T60" fmla="*/ 442 w 4263"/>
                <a:gd name="T61" fmla="*/ 2707 h 3100"/>
                <a:gd name="T62" fmla="*/ 1541 w 4263"/>
                <a:gd name="T63" fmla="*/ 2436 h 3100"/>
                <a:gd name="T64" fmla="*/ 1838 w 4263"/>
                <a:gd name="T65" fmla="*/ 2070 h 3100"/>
                <a:gd name="T66" fmla="*/ 2132 w 4263"/>
                <a:gd name="T67" fmla="*/ 1729 h 3100"/>
                <a:gd name="T68" fmla="*/ 2427 w 4263"/>
                <a:gd name="T69" fmla="*/ 1409 h 3100"/>
                <a:gd name="T70" fmla="*/ 2730 w 4263"/>
                <a:gd name="T71" fmla="*/ 1107 h 3100"/>
                <a:gd name="T72" fmla="*/ 2957 w 4263"/>
                <a:gd name="T73" fmla="*/ 900 h 3100"/>
                <a:gd name="T74" fmla="*/ 3191 w 4263"/>
                <a:gd name="T75" fmla="*/ 698 h 3100"/>
                <a:gd name="T76" fmla="*/ 3434 w 4263"/>
                <a:gd name="T77" fmla="*/ 503 h 3100"/>
                <a:gd name="T78" fmla="*/ 3690 w 4263"/>
                <a:gd name="T79" fmla="*/ 312 h 3100"/>
                <a:gd name="T80" fmla="*/ 3357 w 4263"/>
                <a:gd name="T81" fmla="*/ 441 h 3100"/>
                <a:gd name="T82" fmla="*/ 3029 w 4263"/>
                <a:gd name="T83" fmla="*/ 594 h 3100"/>
                <a:gd name="T84" fmla="*/ 2705 w 4263"/>
                <a:gd name="T85" fmla="*/ 770 h 3100"/>
                <a:gd name="T86" fmla="*/ 2388 w 4263"/>
                <a:gd name="T87" fmla="*/ 967 h 3100"/>
                <a:gd name="T88" fmla="*/ 2075 w 4263"/>
                <a:gd name="T89" fmla="*/ 1184 h 3100"/>
                <a:gd name="T90" fmla="*/ 1768 w 4263"/>
                <a:gd name="T91" fmla="*/ 1421 h 3100"/>
                <a:gd name="T92" fmla="*/ 1466 w 4263"/>
                <a:gd name="T93" fmla="*/ 1676 h 3100"/>
                <a:gd name="T94" fmla="*/ 1172 w 4263"/>
                <a:gd name="T95" fmla="*/ 1946 h 3100"/>
                <a:gd name="T96" fmla="*/ 904 w 4263"/>
                <a:gd name="T97" fmla="*/ 2210 h 3100"/>
                <a:gd name="T98" fmla="*/ 641 w 4263"/>
                <a:gd name="T99" fmla="*/ 2486 h 3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63" h="3100">
                  <a:moveTo>
                    <a:pt x="0" y="2964"/>
                  </a:moveTo>
                  <a:lnTo>
                    <a:pt x="1" y="2961"/>
                  </a:lnTo>
                  <a:lnTo>
                    <a:pt x="6" y="2957"/>
                  </a:lnTo>
                  <a:lnTo>
                    <a:pt x="68" y="2882"/>
                  </a:lnTo>
                  <a:lnTo>
                    <a:pt x="131" y="2807"/>
                  </a:lnTo>
                  <a:lnTo>
                    <a:pt x="195" y="2732"/>
                  </a:lnTo>
                  <a:lnTo>
                    <a:pt x="258" y="2658"/>
                  </a:lnTo>
                  <a:lnTo>
                    <a:pt x="322" y="2585"/>
                  </a:lnTo>
                  <a:lnTo>
                    <a:pt x="387" y="2513"/>
                  </a:lnTo>
                  <a:lnTo>
                    <a:pt x="451" y="2442"/>
                  </a:lnTo>
                  <a:lnTo>
                    <a:pt x="515" y="2371"/>
                  </a:lnTo>
                  <a:lnTo>
                    <a:pt x="581" y="2300"/>
                  </a:lnTo>
                  <a:lnTo>
                    <a:pt x="647" y="2230"/>
                  </a:lnTo>
                  <a:lnTo>
                    <a:pt x="714" y="2159"/>
                  </a:lnTo>
                  <a:lnTo>
                    <a:pt x="781" y="2090"/>
                  </a:lnTo>
                  <a:lnTo>
                    <a:pt x="849" y="2022"/>
                  </a:lnTo>
                  <a:lnTo>
                    <a:pt x="917" y="1955"/>
                  </a:lnTo>
                  <a:lnTo>
                    <a:pt x="985" y="1888"/>
                  </a:lnTo>
                  <a:lnTo>
                    <a:pt x="1054" y="1822"/>
                  </a:lnTo>
                  <a:lnTo>
                    <a:pt x="1143" y="1739"/>
                  </a:lnTo>
                  <a:lnTo>
                    <a:pt x="1232" y="1656"/>
                  </a:lnTo>
                  <a:lnTo>
                    <a:pt x="1322" y="1575"/>
                  </a:lnTo>
                  <a:lnTo>
                    <a:pt x="1413" y="1496"/>
                  </a:lnTo>
                  <a:lnTo>
                    <a:pt x="1504" y="1417"/>
                  </a:lnTo>
                  <a:lnTo>
                    <a:pt x="1596" y="1341"/>
                  </a:lnTo>
                  <a:lnTo>
                    <a:pt x="1688" y="1266"/>
                  </a:lnTo>
                  <a:lnTo>
                    <a:pt x="1780" y="1193"/>
                  </a:lnTo>
                  <a:lnTo>
                    <a:pt x="1874" y="1121"/>
                  </a:lnTo>
                  <a:lnTo>
                    <a:pt x="1968" y="1051"/>
                  </a:lnTo>
                  <a:lnTo>
                    <a:pt x="2063" y="982"/>
                  </a:lnTo>
                  <a:lnTo>
                    <a:pt x="2157" y="916"/>
                  </a:lnTo>
                  <a:lnTo>
                    <a:pt x="2253" y="851"/>
                  </a:lnTo>
                  <a:lnTo>
                    <a:pt x="2349" y="788"/>
                  </a:lnTo>
                  <a:lnTo>
                    <a:pt x="2446" y="727"/>
                  </a:lnTo>
                  <a:lnTo>
                    <a:pt x="2542" y="667"/>
                  </a:lnTo>
                  <a:lnTo>
                    <a:pt x="2640" y="610"/>
                  </a:lnTo>
                  <a:lnTo>
                    <a:pt x="2738" y="554"/>
                  </a:lnTo>
                  <a:lnTo>
                    <a:pt x="2836" y="501"/>
                  </a:lnTo>
                  <a:lnTo>
                    <a:pt x="2936" y="449"/>
                  </a:lnTo>
                  <a:lnTo>
                    <a:pt x="3035" y="400"/>
                  </a:lnTo>
                  <a:lnTo>
                    <a:pt x="3135" y="352"/>
                  </a:lnTo>
                  <a:lnTo>
                    <a:pt x="3236" y="307"/>
                  </a:lnTo>
                  <a:lnTo>
                    <a:pt x="3337" y="265"/>
                  </a:lnTo>
                  <a:lnTo>
                    <a:pt x="3438" y="224"/>
                  </a:lnTo>
                  <a:lnTo>
                    <a:pt x="3540" y="185"/>
                  </a:lnTo>
                  <a:lnTo>
                    <a:pt x="3642" y="148"/>
                  </a:lnTo>
                  <a:lnTo>
                    <a:pt x="3745" y="114"/>
                  </a:lnTo>
                  <a:lnTo>
                    <a:pt x="3848" y="83"/>
                  </a:lnTo>
                  <a:lnTo>
                    <a:pt x="3951" y="53"/>
                  </a:lnTo>
                  <a:lnTo>
                    <a:pt x="4055" y="27"/>
                  </a:lnTo>
                  <a:lnTo>
                    <a:pt x="4159" y="2"/>
                  </a:lnTo>
                  <a:lnTo>
                    <a:pt x="4168" y="1"/>
                  </a:lnTo>
                  <a:lnTo>
                    <a:pt x="4176" y="0"/>
                  </a:lnTo>
                  <a:lnTo>
                    <a:pt x="4184" y="0"/>
                  </a:lnTo>
                  <a:lnTo>
                    <a:pt x="4193" y="1"/>
                  </a:lnTo>
                  <a:lnTo>
                    <a:pt x="4201" y="3"/>
                  </a:lnTo>
                  <a:lnTo>
                    <a:pt x="4208" y="6"/>
                  </a:lnTo>
                  <a:lnTo>
                    <a:pt x="4216" y="9"/>
                  </a:lnTo>
                  <a:lnTo>
                    <a:pt x="4223" y="13"/>
                  </a:lnTo>
                  <a:lnTo>
                    <a:pt x="4230" y="18"/>
                  </a:lnTo>
                  <a:lnTo>
                    <a:pt x="4236" y="24"/>
                  </a:lnTo>
                  <a:lnTo>
                    <a:pt x="4241" y="30"/>
                  </a:lnTo>
                  <a:lnTo>
                    <a:pt x="4247" y="36"/>
                  </a:lnTo>
                  <a:lnTo>
                    <a:pt x="4251" y="43"/>
                  </a:lnTo>
                  <a:lnTo>
                    <a:pt x="4255" y="50"/>
                  </a:lnTo>
                  <a:lnTo>
                    <a:pt x="4258" y="59"/>
                  </a:lnTo>
                  <a:lnTo>
                    <a:pt x="4261" y="67"/>
                  </a:lnTo>
                  <a:lnTo>
                    <a:pt x="4263" y="80"/>
                  </a:lnTo>
                  <a:lnTo>
                    <a:pt x="4262" y="94"/>
                  </a:lnTo>
                  <a:lnTo>
                    <a:pt x="4260" y="107"/>
                  </a:lnTo>
                  <a:lnTo>
                    <a:pt x="4255" y="118"/>
                  </a:lnTo>
                  <a:lnTo>
                    <a:pt x="4250" y="130"/>
                  </a:lnTo>
                  <a:lnTo>
                    <a:pt x="4243" y="140"/>
                  </a:lnTo>
                  <a:lnTo>
                    <a:pt x="4238" y="145"/>
                  </a:lnTo>
                  <a:lnTo>
                    <a:pt x="4234" y="149"/>
                  </a:lnTo>
                  <a:lnTo>
                    <a:pt x="4229" y="153"/>
                  </a:lnTo>
                  <a:lnTo>
                    <a:pt x="4223" y="158"/>
                  </a:lnTo>
                  <a:lnTo>
                    <a:pt x="4126" y="220"/>
                  </a:lnTo>
                  <a:lnTo>
                    <a:pt x="4030" y="284"/>
                  </a:lnTo>
                  <a:lnTo>
                    <a:pt x="3936" y="348"/>
                  </a:lnTo>
                  <a:lnTo>
                    <a:pt x="3844" y="413"/>
                  </a:lnTo>
                  <a:lnTo>
                    <a:pt x="3754" y="478"/>
                  </a:lnTo>
                  <a:lnTo>
                    <a:pt x="3665" y="543"/>
                  </a:lnTo>
                  <a:lnTo>
                    <a:pt x="3578" y="609"/>
                  </a:lnTo>
                  <a:lnTo>
                    <a:pt x="3492" y="675"/>
                  </a:lnTo>
                  <a:lnTo>
                    <a:pt x="3408" y="742"/>
                  </a:lnTo>
                  <a:lnTo>
                    <a:pt x="3324" y="810"/>
                  </a:lnTo>
                  <a:lnTo>
                    <a:pt x="3242" y="878"/>
                  </a:lnTo>
                  <a:lnTo>
                    <a:pt x="3162" y="947"/>
                  </a:lnTo>
                  <a:lnTo>
                    <a:pt x="3081" y="1017"/>
                  </a:lnTo>
                  <a:lnTo>
                    <a:pt x="3003" y="1087"/>
                  </a:lnTo>
                  <a:lnTo>
                    <a:pt x="2925" y="1160"/>
                  </a:lnTo>
                  <a:lnTo>
                    <a:pt x="2848" y="1232"/>
                  </a:lnTo>
                  <a:lnTo>
                    <a:pt x="2771" y="1305"/>
                  </a:lnTo>
                  <a:lnTo>
                    <a:pt x="2695" y="1380"/>
                  </a:lnTo>
                  <a:lnTo>
                    <a:pt x="2620" y="1456"/>
                  </a:lnTo>
                  <a:lnTo>
                    <a:pt x="2546" y="1533"/>
                  </a:lnTo>
                  <a:lnTo>
                    <a:pt x="2470" y="1611"/>
                  </a:lnTo>
                  <a:lnTo>
                    <a:pt x="2396" y="1690"/>
                  </a:lnTo>
                  <a:lnTo>
                    <a:pt x="2323" y="1771"/>
                  </a:lnTo>
                  <a:lnTo>
                    <a:pt x="2249" y="1853"/>
                  </a:lnTo>
                  <a:lnTo>
                    <a:pt x="2176" y="1937"/>
                  </a:lnTo>
                  <a:lnTo>
                    <a:pt x="2103" y="2021"/>
                  </a:lnTo>
                  <a:lnTo>
                    <a:pt x="2029" y="2107"/>
                  </a:lnTo>
                  <a:lnTo>
                    <a:pt x="1955" y="2195"/>
                  </a:lnTo>
                  <a:lnTo>
                    <a:pt x="1881" y="2284"/>
                  </a:lnTo>
                  <a:lnTo>
                    <a:pt x="1808" y="2375"/>
                  </a:lnTo>
                  <a:lnTo>
                    <a:pt x="1734" y="2468"/>
                  </a:lnTo>
                  <a:lnTo>
                    <a:pt x="1659" y="2562"/>
                  </a:lnTo>
                  <a:lnTo>
                    <a:pt x="1651" y="2571"/>
                  </a:lnTo>
                  <a:lnTo>
                    <a:pt x="1640" y="2579"/>
                  </a:lnTo>
                  <a:lnTo>
                    <a:pt x="1630" y="2585"/>
                  </a:lnTo>
                  <a:lnTo>
                    <a:pt x="1619" y="2589"/>
                  </a:lnTo>
                  <a:lnTo>
                    <a:pt x="92" y="3100"/>
                  </a:lnTo>
                  <a:lnTo>
                    <a:pt x="66" y="3018"/>
                  </a:lnTo>
                  <a:lnTo>
                    <a:pt x="0" y="2964"/>
                  </a:lnTo>
                  <a:close/>
                  <a:moveTo>
                    <a:pt x="641" y="2486"/>
                  </a:moveTo>
                  <a:lnTo>
                    <a:pt x="601" y="2531"/>
                  </a:lnTo>
                  <a:lnTo>
                    <a:pt x="561" y="2574"/>
                  </a:lnTo>
                  <a:lnTo>
                    <a:pt x="522" y="2618"/>
                  </a:lnTo>
                  <a:lnTo>
                    <a:pt x="482" y="2663"/>
                  </a:lnTo>
                  <a:lnTo>
                    <a:pt x="442" y="2707"/>
                  </a:lnTo>
                  <a:lnTo>
                    <a:pt x="403" y="2751"/>
                  </a:lnTo>
                  <a:lnTo>
                    <a:pt x="365" y="2797"/>
                  </a:lnTo>
                  <a:lnTo>
                    <a:pt x="326" y="2842"/>
                  </a:lnTo>
                  <a:lnTo>
                    <a:pt x="1541" y="2436"/>
                  </a:lnTo>
                  <a:lnTo>
                    <a:pt x="1615" y="2342"/>
                  </a:lnTo>
                  <a:lnTo>
                    <a:pt x="1690" y="2249"/>
                  </a:lnTo>
                  <a:lnTo>
                    <a:pt x="1764" y="2158"/>
                  </a:lnTo>
                  <a:lnTo>
                    <a:pt x="1838" y="2070"/>
                  </a:lnTo>
                  <a:lnTo>
                    <a:pt x="1911" y="1982"/>
                  </a:lnTo>
                  <a:lnTo>
                    <a:pt x="1984" y="1897"/>
                  </a:lnTo>
                  <a:lnTo>
                    <a:pt x="2058" y="1812"/>
                  </a:lnTo>
                  <a:lnTo>
                    <a:pt x="2132" y="1729"/>
                  </a:lnTo>
                  <a:lnTo>
                    <a:pt x="2205" y="1647"/>
                  </a:lnTo>
                  <a:lnTo>
                    <a:pt x="2279" y="1566"/>
                  </a:lnTo>
                  <a:lnTo>
                    <a:pt x="2353" y="1487"/>
                  </a:lnTo>
                  <a:lnTo>
                    <a:pt x="2427" y="1409"/>
                  </a:lnTo>
                  <a:lnTo>
                    <a:pt x="2502" y="1332"/>
                  </a:lnTo>
                  <a:lnTo>
                    <a:pt x="2578" y="1256"/>
                  </a:lnTo>
                  <a:lnTo>
                    <a:pt x="2654" y="1181"/>
                  </a:lnTo>
                  <a:lnTo>
                    <a:pt x="2730" y="1107"/>
                  </a:lnTo>
                  <a:lnTo>
                    <a:pt x="2787" y="1054"/>
                  </a:lnTo>
                  <a:lnTo>
                    <a:pt x="2842" y="1003"/>
                  </a:lnTo>
                  <a:lnTo>
                    <a:pt x="2899" y="950"/>
                  </a:lnTo>
                  <a:lnTo>
                    <a:pt x="2957" y="900"/>
                  </a:lnTo>
                  <a:lnTo>
                    <a:pt x="3014" y="848"/>
                  </a:lnTo>
                  <a:lnTo>
                    <a:pt x="3073" y="798"/>
                  </a:lnTo>
                  <a:lnTo>
                    <a:pt x="3132" y="748"/>
                  </a:lnTo>
                  <a:lnTo>
                    <a:pt x="3191" y="698"/>
                  </a:lnTo>
                  <a:lnTo>
                    <a:pt x="3251" y="649"/>
                  </a:lnTo>
                  <a:lnTo>
                    <a:pt x="3312" y="600"/>
                  </a:lnTo>
                  <a:lnTo>
                    <a:pt x="3373" y="551"/>
                  </a:lnTo>
                  <a:lnTo>
                    <a:pt x="3434" y="503"/>
                  </a:lnTo>
                  <a:lnTo>
                    <a:pt x="3497" y="454"/>
                  </a:lnTo>
                  <a:lnTo>
                    <a:pt x="3561" y="407"/>
                  </a:lnTo>
                  <a:lnTo>
                    <a:pt x="3625" y="360"/>
                  </a:lnTo>
                  <a:lnTo>
                    <a:pt x="3690" y="312"/>
                  </a:lnTo>
                  <a:lnTo>
                    <a:pt x="3606" y="342"/>
                  </a:lnTo>
                  <a:lnTo>
                    <a:pt x="3523" y="374"/>
                  </a:lnTo>
                  <a:lnTo>
                    <a:pt x="3440" y="407"/>
                  </a:lnTo>
                  <a:lnTo>
                    <a:pt x="3357" y="441"/>
                  </a:lnTo>
                  <a:lnTo>
                    <a:pt x="3275" y="477"/>
                  </a:lnTo>
                  <a:lnTo>
                    <a:pt x="3192" y="514"/>
                  </a:lnTo>
                  <a:lnTo>
                    <a:pt x="3111" y="553"/>
                  </a:lnTo>
                  <a:lnTo>
                    <a:pt x="3029" y="594"/>
                  </a:lnTo>
                  <a:lnTo>
                    <a:pt x="2947" y="636"/>
                  </a:lnTo>
                  <a:lnTo>
                    <a:pt x="2867" y="679"/>
                  </a:lnTo>
                  <a:lnTo>
                    <a:pt x="2786" y="724"/>
                  </a:lnTo>
                  <a:lnTo>
                    <a:pt x="2705" y="770"/>
                  </a:lnTo>
                  <a:lnTo>
                    <a:pt x="2626" y="817"/>
                  </a:lnTo>
                  <a:lnTo>
                    <a:pt x="2546" y="866"/>
                  </a:lnTo>
                  <a:lnTo>
                    <a:pt x="2466" y="915"/>
                  </a:lnTo>
                  <a:lnTo>
                    <a:pt x="2388" y="967"/>
                  </a:lnTo>
                  <a:lnTo>
                    <a:pt x="2309" y="1019"/>
                  </a:lnTo>
                  <a:lnTo>
                    <a:pt x="2230" y="1073"/>
                  </a:lnTo>
                  <a:lnTo>
                    <a:pt x="2152" y="1129"/>
                  </a:lnTo>
                  <a:lnTo>
                    <a:pt x="2075" y="1184"/>
                  </a:lnTo>
                  <a:lnTo>
                    <a:pt x="1998" y="1242"/>
                  </a:lnTo>
                  <a:lnTo>
                    <a:pt x="1920" y="1301"/>
                  </a:lnTo>
                  <a:lnTo>
                    <a:pt x="1844" y="1361"/>
                  </a:lnTo>
                  <a:lnTo>
                    <a:pt x="1768" y="1421"/>
                  </a:lnTo>
                  <a:lnTo>
                    <a:pt x="1692" y="1483"/>
                  </a:lnTo>
                  <a:lnTo>
                    <a:pt x="1617" y="1546"/>
                  </a:lnTo>
                  <a:lnTo>
                    <a:pt x="1541" y="1610"/>
                  </a:lnTo>
                  <a:lnTo>
                    <a:pt x="1466" y="1676"/>
                  </a:lnTo>
                  <a:lnTo>
                    <a:pt x="1392" y="1742"/>
                  </a:lnTo>
                  <a:lnTo>
                    <a:pt x="1318" y="1809"/>
                  </a:lnTo>
                  <a:lnTo>
                    <a:pt x="1245" y="1877"/>
                  </a:lnTo>
                  <a:lnTo>
                    <a:pt x="1172" y="1946"/>
                  </a:lnTo>
                  <a:lnTo>
                    <a:pt x="1104" y="2011"/>
                  </a:lnTo>
                  <a:lnTo>
                    <a:pt x="1037" y="2077"/>
                  </a:lnTo>
                  <a:lnTo>
                    <a:pt x="970" y="2143"/>
                  </a:lnTo>
                  <a:lnTo>
                    <a:pt x="904" y="2210"/>
                  </a:lnTo>
                  <a:lnTo>
                    <a:pt x="838" y="2278"/>
                  </a:lnTo>
                  <a:lnTo>
                    <a:pt x="772" y="2347"/>
                  </a:lnTo>
                  <a:lnTo>
                    <a:pt x="706" y="2416"/>
                  </a:lnTo>
                  <a:lnTo>
                    <a:pt x="641" y="24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1" name="Freeform 67"/>
            <p:cNvSpPr>
              <a:spLocks noChangeArrowheads="1"/>
            </p:cNvSpPr>
            <p:nvPr/>
          </p:nvSpPr>
          <p:spPr bwMode="auto">
            <a:xfrm>
              <a:off x="1738313" y="1739799"/>
              <a:ext cx="1684337" cy="1011259"/>
            </a:xfrm>
            <a:custGeom>
              <a:avLst/>
              <a:gdLst>
                <a:gd name="T0" fmla="*/ 108 w 3731"/>
                <a:gd name="T1" fmla="*/ 1737 h 1829"/>
                <a:gd name="T2" fmla="*/ 326 w 3731"/>
                <a:gd name="T3" fmla="*/ 1560 h 1829"/>
                <a:gd name="T4" fmla="*/ 548 w 3731"/>
                <a:gd name="T5" fmla="*/ 1388 h 1829"/>
                <a:gd name="T6" fmla="*/ 774 w 3731"/>
                <a:gd name="T7" fmla="*/ 1223 h 1829"/>
                <a:gd name="T8" fmla="*/ 1001 w 3731"/>
                <a:gd name="T9" fmla="*/ 1065 h 1829"/>
                <a:gd name="T10" fmla="*/ 1232 w 3731"/>
                <a:gd name="T11" fmla="*/ 915 h 1829"/>
                <a:gd name="T12" fmla="*/ 1465 w 3731"/>
                <a:gd name="T13" fmla="*/ 774 h 1829"/>
                <a:gd name="T14" fmla="*/ 1699 w 3731"/>
                <a:gd name="T15" fmla="*/ 643 h 1829"/>
                <a:gd name="T16" fmla="*/ 1935 w 3731"/>
                <a:gd name="T17" fmla="*/ 521 h 1829"/>
                <a:gd name="T18" fmla="*/ 2173 w 3731"/>
                <a:gd name="T19" fmla="*/ 410 h 1829"/>
                <a:gd name="T20" fmla="*/ 2412 w 3731"/>
                <a:gd name="T21" fmla="*/ 311 h 1829"/>
                <a:gd name="T22" fmla="*/ 2651 w 3731"/>
                <a:gd name="T23" fmla="*/ 224 h 1829"/>
                <a:gd name="T24" fmla="*/ 2891 w 3731"/>
                <a:gd name="T25" fmla="*/ 150 h 1829"/>
                <a:gd name="T26" fmla="*/ 3131 w 3731"/>
                <a:gd name="T27" fmla="*/ 89 h 1829"/>
                <a:gd name="T28" fmla="*/ 3371 w 3731"/>
                <a:gd name="T29" fmla="*/ 43 h 1829"/>
                <a:gd name="T30" fmla="*/ 3611 w 3731"/>
                <a:gd name="T31" fmla="*/ 11 h 1829"/>
                <a:gd name="T32" fmla="*/ 3640 w 3731"/>
                <a:gd name="T33" fmla="*/ 41 h 1829"/>
                <a:gd name="T34" fmla="*/ 3463 w 3731"/>
                <a:gd name="T35" fmla="*/ 122 h 1829"/>
                <a:gd name="T36" fmla="*/ 3293 w 3731"/>
                <a:gd name="T37" fmla="*/ 205 h 1829"/>
                <a:gd name="T38" fmla="*/ 3128 w 3731"/>
                <a:gd name="T39" fmla="*/ 288 h 1829"/>
                <a:gd name="T40" fmla="*/ 2968 w 3731"/>
                <a:gd name="T41" fmla="*/ 375 h 1829"/>
                <a:gd name="T42" fmla="*/ 2813 w 3731"/>
                <a:gd name="T43" fmla="*/ 463 h 1829"/>
                <a:gd name="T44" fmla="*/ 2660 w 3731"/>
                <a:gd name="T45" fmla="*/ 554 h 1829"/>
                <a:gd name="T46" fmla="*/ 2511 w 3731"/>
                <a:gd name="T47" fmla="*/ 649 h 1829"/>
                <a:gd name="T48" fmla="*/ 2364 w 3731"/>
                <a:gd name="T49" fmla="*/ 747 h 1829"/>
                <a:gd name="T50" fmla="*/ 2219 w 3731"/>
                <a:gd name="T51" fmla="*/ 848 h 1829"/>
                <a:gd name="T52" fmla="*/ 2074 w 3731"/>
                <a:gd name="T53" fmla="*/ 953 h 1829"/>
                <a:gd name="T54" fmla="*/ 1930 w 3731"/>
                <a:gd name="T55" fmla="*/ 1062 h 1829"/>
                <a:gd name="T56" fmla="*/ 1786 w 3731"/>
                <a:gd name="T57" fmla="*/ 1177 h 1829"/>
                <a:gd name="T58" fmla="*/ 1642 w 3731"/>
                <a:gd name="T59" fmla="*/ 1295 h 1829"/>
                <a:gd name="T60" fmla="*/ 1495 w 3731"/>
                <a:gd name="T61" fmla="*/ 1420 h 1829"/>
                <a:gd name="T62" fmla="*/ 1346 w 3731"/>
                <a:gd name="T63" fmla="*/ 1550 h 1829"/>
                <a:gd name="T64" fmla="*/ 1192 w 3731"/>
                <a:gd name="T65" fmla="*/ 1632 h 1829"/>
                <a:gd name="T66" fmla="*/ 1033 w 3731"/>
                <a:gd name="T67" fmla="*/ 1660 h 1829"/>
                <a:gd name="T68" fmla="*/ 874 w 3731"/>
                <a:gd name="T69" fmla="*/ 1686 h 1829"/>
                <a:gd name="T70" fmla="*/ 716 w 3731"/>
                <a:gd name="T71" fmla="*/ 1711 h 1829"/>
                <a:gd name="T72" fmla="*/ 556 w 3731"/>
                <a:gd name="T73" fmla="*/ 1734 h 1829"/>
                <a:gd name="T74" fmla="*/ 398 w 3731"/>
                <a:gd name="T75" fmla="*/ 1759 h 1829"/>
                <a:gd name="T76" fmla="*/ 239 w 3731"/>
                <a:gd name="T77" fmla="*/ 1785 h 1829"/>
                <a:gd name="T78" fmla="*/ 79 w 3731"/>
                <a:gd name="T79" fmla="*/ 1814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31" h="1829">
                  <a:moveTo>
                    <a:pt x="0" y="1829"/>
                  </a:moveTo>
                  <a:lnTo>
                    <a:pt x="108" y="1737"/>
                  </a:lnTo>
                  <a:lnTo>
                    <a:pt x="216" y="1648"/>
                  </a:lnTo>
                  <a:lnTo>
                    <a:pt x="326" y="1560"/>
                  </a:lnTo>
                  <a:lnTo>
                    <a:pt x="437" y="1473"/>
                  </a:lnTo>
                  <a:lnTo>
                    <a:pt x="548" y="1388"/>
                  </a:lnTo>
                  <a:lnTo>
                    <a:pt x="660" y="1304"/>
                  </a:lnTo>
                  <a:lnTo>
                    <a:pt x="774" y="1223"/>
                  </a:lnTo>
                  <a:lnTo>
                    <a:pt x="887" y="1143"/>
                  </a:lnTo>
                  <a:lnTo>
                    <a:pt x="1001" y="1065"/>
                  </a:lnTo>
                  <a:lnTo>
                    <a:pt x="1117" y="989"/>
                  </a:lnTo>
                  <a:lnTo>
                    <a:pt x="1232" y="915"/>
                  </a:lnTo>
                  <a:lnTo>
                    <a:pt x="1348" y="844"/>
                  </a:lnTo>
                  <a:lnTo>
                    <a:pt x="1465" y="774"/>
                  </a:lnTo>
                  <a:lnTo>
                    <a:pt x="1582" y="707"/>
                  </a:lnTo>
                  <a:lnTo>
                    <a:pt x="1699" y="643"/>
                  </a:lnTo>
                  <a:lnTo>
                    <a:pt x="1817" y="580"/>
                  </a:lnTo>
                  <a:lnTo>
                    <a:pt x="1935" y="521"/>
                  </a:lnTo>
                  <a:lnTo>
                    <a:pt x="2055" y="464"/>
                  </a:lnTo>
                  <a:lnTo>
                    <a:pt x="2173" y="410"/>
                  </a:lnTo>
                  <a:lnTo>
                    <a:pt x="2293" y="359"/>
                  </a:lnTo>
                  <a:lnTo>
                    <a:pt x="2412" y="311"/>
                  </a:lnTo>
                  <a:lnTo>
                    <a:pt x="2532" y="265"/>
                  </a:lnTo>
                  <a:lnTo>
                    <a:pt x="2651" y="224"/>
                  </a:lnTo>
                  <a:lnTo>
                    <a:pt x="2772" y="185"/>
                  </a:lnTo>
                  <a:lnTo>
                    <a:pt x="2891" y="150"/>
                  </a:lnTo>
                  <a:lnTo>
                    <a:pt x="3012" y="118"/>
                  </a:lnTo>
                  <a:lnTo>
                    <a:pt x="3131" y="89"/>
                  </a:lnTo>
                  <a:lnTo>
                    <a:pt x="3252" y="64"/>
                  </a:lnTo>
                  <a:lnTo>
                    <a:pt x="3371" y="43"/>
                  </a:lnTo>
                  <a:lnTo>
                    <a:pt x="3491" y="25"/>
                  </a:lnTo>
                  <a:lnTo>
                    <a:pt x="3611" y="11"/>
                  </a:lnTo>
                  <a:lnTo>
                    <a:pt x="3731" y="0"/>
                  </a:lnTo>
                  <a:lnTo>
                    <a:pt x="3640" y="41"/>
                  </a:lnTo>
                  <a:lnTo>
                    <a:pt x="3550" y="81"/>
                  </a:lnTo>
                  <a:lnTo>
                    <a:pt x="3463" y="122"/>
                  </a:lnTo>
                  <a:lnTo>
                    <a:pt x="3377" y="162"/>
                  </a:lnTo>
                  <a:lnTo>
                    <a:pt x="3293" y="205"/>
                  </a:lnTo>
                  <a:lnTo>
                    <a:pt x="3210" y="246"/>
                  </a:lnTo>
                  <a:lnTo>
                    <a:pt x="3128" y="288"/>
                  </a:lnTo>
                  <a:lnTo>
                    <a:pt x="3048" y="331"/>
                  </a:lnTo>
                  <a:lnTo>
                    <a:pt x="2968" y="375"/>
                  </a:lnTo>
                  <a:lnTo>
                    <a:pt x="2890" y="419"/>
                  </a:lnTo>
                  <a:lnTo>
                    <a:pt x="2813" y="463"/>
                  </a:lnTo>
                  <a:lnTo>
                    <a:pt x="2736" y="509"/>
                  </a:lnTo>
                  <a:lnTo>
                    <a:pt x="2660" y="554"/>
                  </a:lnTo>
                  <a:lnTo>
                    <a:pt x="2585" y="601"/>
                  </a:lnTo>
                  <a:lnTo>
                    <a:pt x="2511" y="649"/>
                  </a:lnTo>
                  <a:lnTo>
                    <a:pt x="2437" y="697"/>
                  </a:lnTo>
                  <a:lnTo>
                    <a:pt x="2364" y="747"/>
                  </a:lnTo>
                  <a:lnTo>
                    <a:pt x="2291" y="796"/>
                  </a:lnTo>
                  <a:lnTo>
                    <a:pt x="2219" y="848"/>
                  </a:lnTo>
                  <a:lnTo>
                    <a:pt x="2147" y="899"/>
                  </a:lnTo>
                  <a:lnTo>
                    <a:pt x="2074" y="953"/>
                  </a:lnTo>
                  <a:lnTo>
                    <a:pt x="2002" y="1008"/>
                  </a:lnTo>
                  <a:lnTo>
                    <a:pt x="1930" y="1062"/>
                  </a:lnTo>
                  <a:lnTo>
                    <a:pt x="1858" y="1119"/>
                  </a:lnTo>
                  <a:lnTo>
                    <a:pt x="1786" y="1177"/>
                  </a:lnTo>
                  <a:lnTo>
                    <a:pt x="1714" y="1235"/>
                  </a:lnTo>
                  <a:lnTo>
                    <a:pt x="1642" y="1295"/>
                  </a:lnTo>
                  <a:lnTo>
                    <a:pt x="1569" y="1357"/>
                  </a:lnTo>
                  <a:lnTo>
                    <a:pt x="1495" y="1420"/>
                  </a:lnTo>
                  <a:lnTo>
                    <a:pt x="1421" y="1484"/>
                  </a:lnTo>
                  <a:lnTo>
                    <a:pt x="1346" y="1550"/>
                  </a:lnTo>
                  <a:lnTo>
                    <a:pt x="1272" y="1616"/>
                  </a:lnTo>
                  <a:lnTo>
                    <a:pt x="1192" y="1632"/>
                  </a:lnTo>
                  <a:lnTo>
                    <a:pt x="1112" y="1647"/>
                  </a:lnTo>
                  <a:lnTo>
                    <a:pt x="1033" y="1660"/>
                  </a:lnTo>
                  <a:lnTo>
                    <a:pt x="954" y="1673"/>
                  </a:lnTo>
                  <a:lnTo>
                    <a:pt x="874" y="1686"/>
                  </a:lnTo>
                  <a:lnTo>
                    <a:pt x="795" y="1698"/>
                  </a:lnTo>
                  <a:lnTo>
                    <a:pt x="716" y="1711"/>
                  </a:lnTo>
                  <a:lnTo>
                    <a:pt x="635" y="1723"/>
                  </a:lnTo>
                  <a:lnTo>
                    <a:pt x="556" y="1734"/>
                  </a:lnTo>
                  <a:lnTo>
                    <a:pt x="477" y="1747"/>
                  </a:lnTo>
                  <a:lnTo>
                    <a:pt x="398" y="1759"/>
                  </a:lnTo>
                  <a:lnTo>
                    <a:pt x="318" y="1771"/>
                  </a:lnTo>
                  <a:lnTo>
                    <a:pt x="239" y="1785"/>
                  </a:lnTo>
                  <a:lnTo>
                    <a:pt x="160" y="1799"/>
                  </a:lnTo>
                  <a:lnTo>
                    <a:pt x="79" y="1814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4" name="Freeform 70"/>
            <p:cNvSpPr>
              <a:spLocks noChangeArrowheads="1"/>
            </p:cNvSpPr>
            <p:nvPr/>
          </p:nvSpPr>
          <p:spPr bwMode="auto">
            <a:xfrm>
              <a:off x="2062163" y="1215913"/>
              <a:ext cx="1892300" cy="1073173"/>
            </a:xfrm>
            <a:custGeom>
              <a:avLst/>
              <a:gdLst>
                <a:gd name="T0" fmla="*/ 299 w 4197"/>
                <a:gd name="T1" fmla="*/ 1447 h 1939"/>
                <a:gd name="T2" fmla="*/ 642 w 4197"/>
                <a:gd name="T3" fmla="*/ 1222 h 1939"/>
                <a:gd name="T4" fmla="*/ 993 w 4197"/>
                <a:gd name="T5" fmla="*/ 1010 h 1939"/>
                <a:gd name="T6" fmla="*/ 1413 w 4197"/>
                <a:gd name="T7" fmla="*/ 780 h 1939"/>
                <a:gd name="T8" fmla="*/ 1885 w 4197"/>
                <a:gd name="T9" fmla="*/ 552 h 1939"/>
                <a:gd name="T10" fmla="*/ 2360 w 4197"/>
                <a:gd name="T11" fmla="*/ 358 h 1939"/>
                <a:gd name="T12" fmla="*/ 2832 w 4197"/>
                <a:gd name="T13" fmla="*/ 201 h 1939"/>
                <a:gd name="T14" fmla="*/ 3300 w 4197"/>
                <a:gd name="T15" fmla="*/ 86 h 1939"/>
                <a:gd name="T16" fmla="*/ 3757 w 4197"/>
                <a:gd name="T17" fmla="*/ 18 h 1939"/>
                <a:gd name="T18" fmla="*/ 4121 w 4197"/>
                <a:gd name="T19" fmla="*/ 1 h 1939"/>
                <a:gd name="T20" fmla="*/ 4160 w 4197"/>
                <a:gd name="T21" fmla="*/ 16 h 1939"/>
                <a:gd name="T22" fmla="*/ 4187 w 4197"/>
                <a:gd name="T23" fmla="*/ 46 h 1939"/>
                <a:gd name="T24" fmla="*/ 4197 w 4197"/>
                <a:gd name="T25" fmla="*/ 87 h 1939"/>
                <a:gd name="T26" fmla="*/ 4190 w 4197"/>
                <a:gd name="T27" fmla="*/ 122 h 1939"/>
                <a:gd name="T28" fmla="*/ 4169 w 4197"/>
                <a:gd name="T29" fmla="*/ 151 h 1939"/>
                <a:gd name="T30" fmla="*/ 4140 w 4197"/>
                <a:gd name="T31" fmla="*/ 168 h 1939"/>
                <a:gd name="T32" fmla="*/ 3784 w 4197"/>
                <a:gd name="T33" fmla="*/ 300 h 1939"/>
                <a:gd name="T34" fmla="*/ 3373 w 4197"/>
                <a:gd name="T35" fmla="*/ 476 h 1939"/>
                <a:gd name="T36" fmla="*/ 2982 w 4197"/>
                <a:gd name="T37" fmla="*/ 669 h 1939"/>
                <a:gd name="T38" fmla="*/ 2599 w 4197"/>
                <a:gd name="T39" fmla="*/ 884 h 1939"/>
                <a:gd name="T40" fmla="*/ 2214 w 4197"/>
                <a:gd name="T41" fmla="*/ 1122 h 1939"/>
                <a:gd name="T42" fmla="*/ 1820 w 4197"/>
                <a:gd name="T43" fmla="*/ 1387 h 1939"/>
                <a:gd name="T44" fmla="*/ 1567 w 4197"/>
                <a:gd name="T45" fmla="*/ 1565 h 1939"/>
                <a:gd name="T46" fmla="*/ 1458 w 4197"/>
                <a:gd name="T47" fmla="*/ 1621 h 1939"/>
                <a:gd name="T48" fmla="*/ 1245 w 4197"/>
                <a:gd name="T49" fmla="*/ 1722 h 1939"/>
                <a:gd name="T50" fmla="*/ 1050 w 4197"/>
                <a:gd name="T51" fmla="*/ 1802 h 1939"/>
                <a:gd name="T52" fmla="*/ 858 w 4197"/>
                <a:gd name="T53" fmla="*/ 1868 h 1939"/>
                <a:gd name="T54" fmla="*/ 644 w 4197"/>
                <a:gd name="T55" fmla="*/ 1920 h 1939"/>
                <a:gd name="T56" fmla="*/ 461 w 4197"/>
                <a:gd name="T57" fmla="*/ 1939 h 1939"/>
                <a:gd name="T58" fmla="*/ 310 w 4197"/>
                <a:gd name="T59" fmla="*/ 1930 h 1939"/>
                <a:gd name="T60" fmla="*/ 187 w 4197"/>
                <a:gd name="T61" fmla="*/ 1895 h 1939"/>
                <a:gd name="T62" fmla="*/ 93 w 4197"/>
                <a:gd name="T63" fmla="*/ 1838 h 1939"/>
                <a:gd name="T64" fmla="*/ 23 w 4197"/>
                <a:gd name="T65" fmla="*/ 1763 h 1939"/>
                <a:gd name="T66" fmla="*/ 1 w 4197"/>
                <a:gd name="T67" fmla="*/ 1716 h 1939"/>
                <a:gd name="T68" fmla="*/ 4 w 4197"/>
                <a:gd name="T69" fmla="*/ 1677 h 1939"/>
                <a:gd name="T70" fmla="*/ 24 w 4197"/>
                <a:gd name="T71" fmla="*/ 1643 h 1939"/>
                <a:gd name="T72" fmla="*/ 607 w 4197"/>
                <a:gd name="T73" fmla="*/ 1447 h 1939"/>
                <a:gd name="T74" fmla="*/ 324 w 4197"/>
                <a:gd name="T75" fmla="*/ 1637 h 1939"/>
                <a:gd name="T76" fmla="*/ 244 w 4197"/>
                <a:gd name="T77" fmla="*/ 1734 h 1939"/>
                <a:gd name="T78" fmla="*/ 309 w 4197"/>
                <a:gd name="T79" fmla="*/ 1757 h 1939"/>
                <a:gd name="T80" fmla="*/ 388 w 4197"/>
                <a:gd name="T81" fmla="*/ 1769 h 1939"/>
                <a:gd name="T82" fmla="*/ 485 w 4197"/>
                <a:gd name="T83" fmla="*/ 1769 h 1939"/>
                <a:gd name="T84" fmla="*/ 678 w 4197"/>
                <a:gd name="T85" fmla="*/ 1739 h 1939"/>
                <a:gd name="T86" fmla="*/ 918 w 4197"/>
                <a:gd name="T87" fmla="*/ 1668 h 1939"/>
                <a:gd name="T88" fmla="*/ 1099 w 4197"/>
                <a:gd name="T89" fmla="*/ 1598 h 1939"/>
                <a:gd name="T90" fmla="*/ 1302 w 4197"/>
                <a:gd name="T91" fmla="*/ 1508 h 1939"/>
                <a:gd name="T92" fmla="*/ 1477 w 4197"/>
                <a:gd name="T93" fmla="*/ 1419 h 1939"/>
                <a:gd name="T94" fmla="*/ 1810 w 4197"/>
                <a:gd name="T95" fmla="*/ 1187 h 1939"/>
                <a:gd name="T96" fmla="*/ 2204 w 4197"/>
                <a:gd name="T97" fmla="*/ 925 h 1939"/>
                <a:gd name="T98" fmla="*/ 2591 w 4197"/>
                <a:gd name="T99" fmla="*/ 689 h 1939"/>
                <a:gd name="T100" fmla="*/ 2889 w 4197"/>
                <a:gd name="T101" fmla="*/ 524 h 1939"/>
                <a:gd name="T102" fmla="*/ 3130 w 4197"/>
                <a:gd name="T103" fmla="*/ 401 h 1939"/>
                <a:gd name="T104" fmla="*/ 3377 w 4197"/>
                <a:gd name="T105" fmla="*/ 286 h 1939"/>
                <a:gd name="T106" fmla="*/ 3389 w 4197"/>
                <a:gd name="T107" fmla="*/ 244 h 1939"/>
                <a:gd name="T108" fmla="*/ 3031 w 4197"/>
                <a:gd name="T109" fmla="*/ 324 h 1939"/>
                <a:gd name="T110" fmla="*/ 2670 w 4197"/>
                <a:gd name="T111" fmla="*/ 431 h 1939"/>
                <a:gd name="T112" fmla="*/ 2305 w 4197"/>
                <a:gd name="T113" fmla="*/ 562 h 1939"/>
                <a:gd name="T114" fmla="*/ 1939 w 4197"/>
                <a:gd name="T115" fmla="*/ 715 h 1939"/>
                <a:gd name="T116" fmla="*/ 1577 w 4197"/>
                <a:gd name="T117" fmla="*/ 888 h 1939"/>
                <a:gd name="T118" fmla="*/ 1217 w 4197"/>
                <a:gd name="T119" fmla="*/ 1079 h 1939"/>
                <a:gd name="T120" fmla="*/ 869 w 4197"/>
                <a:gd name="T121" fmla="*/ 1282 h 1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97" h="1939">
                  <a:moveTo>
                    <a:pt x="36" y="1632"/>
                  </a:moveTo>
                  <a:lnTo>
                    <a:pt x="101" y="1586"/>
                  </a:lnTo>
                  <a:lnTo>
                    <a:pt x="166" y="1539"/>
                  </a:lnTo>
                  <a:lnTo>
                    <a:pt x="232" y="1493"/>
                  </a:lnTo>
                  <a:lnTo>
                    <a:pt x="299" y="1447"/>
                  </a:lnTo>
                  <a:lnTo>
                    <a:pt x="367" y="1401"/>
                  </a:lnTo>
                  <a:lnTo>
                    <a:pt x="435" y="1356"/>
                  </a:lnTo>
                  <a:lnTo>
                    <a:pt x="504" y="1311"/>
                  </a:lnTo>
                  <a:lnTo>
                    <a:pt x="573" y="1266"/>
                  </a:lnTo>
                  <a:lnTo>
                    <a:pt x="642" y="1222"/>
                  </a:lnTo>
                  <a:lnTo>
                    <a:pt x="712" y="1179"/>
                  </a:lnTo>
                  <a:lnTo>
                    <a:pt x="781" y="1135"/>
                  </a:lnTo>
                  <a:lnTo>
                    <a:pt x="851" y="1093"/>
                  </a:lnTo>
                  <a:lnTo>
                    <a:pt x="922" y="1051"/>
                  </a:lnTo>
                  <a:lnTo>
                    <a:pt x="993" y="1010"/>
                  </a:lnTo>
                  <a:lnTo>
                    <a:pt x="1064" y="969"/>
                  </a:lnTo>
                  <a:lnTo>
                    <a:pt x="1135" y="929"/>
                  </a:lnTo>
                  <a:lnTo>
                    <a:pt x="1228" y="879"/>
                  </a:lnTo>
                  <a:lnTo>
                    <a:pt x="1320" y="828"/>
                  </a:lnTo>
                  <a:lnTo>
                    <a:pt x="1413" y="780"/>
                  </a:lnTo>
                  <a:lnTo>
                    <a:pt x="1508" y="731"/>
                  </a:lnTo>
                  <a:lnTo>
                    <a:pt x="1602" y="685"/>
                  </a:lnTo>
                  <a:lnTo>
                    <a:pt x="1695" y="640"/>
                  </a:lnTo>
                  <a:lnTo>
                    <a:pt x="1790" y="595"/>
                  </a:lnTo>
                  <a:lnTo>
                    <a:pt x="1885" y="552"/>
                  </a:lnTo>
                  <a:lnTo>
                    <a:pt x="1980" y="511"/>
                  </a:lnTo>
                  <a:lnTo>
                    <a:pt x="2074" y="470"/>
                  </a:lnTo>
                  <a:lnTo>
                    <a:pt x="2169" y="431"/>
                  </a:lnTo>
                  <a:lnTo>
                    <a:pt x="2264" y="394"/>
                  </a:lnTo>
                  <a:lnTo>
                    <a:pt x="2360" y="358"/>
                  </a:lnTo>
                  <a:lnTo>
                    <a:pt x="2454" y="323"/>
                  </a:lnTo>
                  <a:lnTo>
                    <a:pt x="2549" y="290"/>
                  </a:lnTo>
                  <a:lnTo>
                    <a:pt x="2644" y="259"/>
                  </a:lnTo>
                  <a:lnTo>
                    <a:pt x="2739" y="229"/>
                  </a:lnTo>
                  <a:lnTo>
                    <a:pt x="2832" y="201"/>
                  </a:lnTo>
                  <a:lnTo>
                    <a:pt x="2927" y="175"/>
                  </a:lnTo>
                  <a:lnTo>
                    <a:pt x="3021" y="150"/>
                  </a:lnTo>
                  <a:lnTo>
                    <a:pt x="3115" y="127"/>
                  </a:lnTo>
                  <a:lnTo>
                    <a:pt x="3207" y="106"/>
                  </a:lnTo>
                  <a:lnTo>
                    <a:pt x="3300" y="86"/>
                  </a:lnTo>
                  <a:lnTo>
                    <a:pt x="3393" y="68"/>
                  </a:lnTo>
                  <a:lnTo>
                    <a:pt x="3484" y="53"/>
                  </a:lnTo>
                  <a:lnTo>
                    <a:pt x="3576" y="40"/>
                  </a:lnTo>
                  <a:lnTo>
                    <a:pt x="3667" y="28"/>
                  </a:lnTo>
                  <a:lnTo>
                    <a:pt x="3757" y="18"/>
                  </a:lnTo>
                  <a:lnTo>
                    <a:pt x="3847" y="11"/>
                  </a:lnTo>
                  <a:lnTo>
                    <a:pt x="3936" y="6"/>
                  </a:lnTo>
                  <a:lnTo>
                    <a:pt x="4024" y="2"/>
                  </a:lnTo>
                  <a:lnTo>
                    <a:pt x="4112" y="0"/>
                  </a:lnTo>
                  <a:lnTo>
                    <a:pt x="4121" y="1"/>
                  </a:lnTo>
                  <a:lnTo>
                    <a:pt x="4129" y="2"/>
                  </a:lnTo>
                  <a:lnTo>
                    <a:pt x="4137" y="5"/>
                  </a:lnTo>
                  <a:lnTo>
                    <a:pt x="4146" y="8"/>
                  </a:lnTo>
                  <a:lnTo>
                    <a:pt x="4153" y="12"/>
                  </a:lnTo>
                  <a:lnTo>
                    <a:pt x="4160" y="16"/>
                  </a:lnTo>
                  <a:lnTo>
                    <a:pt x="4166" y="21"/>
                  </a:lnTo>
                  <a:lnTo>
                    <a:pt x="4172" y="26"/>
                  </a:lnTo>
                  <a:lnTo>
                    <a:pt x="4178" y="32"/>
                  </a:lnTo>
                  <a:lnTo>
                    <a:pt x="4183" y="39"/>
                  </a:lnTo>
                  <a:lnTo>
                    <a:pt x="4187" y="46"/>
                  </a:lnTo>
                  <a:lnTo>
                    <a:pt x="4191" y="53"/>
                  </a:lnTo>
                  <a:lnTo>
                    <a:pt x="4194" y="61"/>
                  </a:lnTo>
                  <a:lnTo>
                    <a:pt x="4196" y="69"/>
                  </a:lnTo>
                  <a:lnTo>
                    <a:pt x="4197" y="78"/>
                  </a:lnTo>
                  <a:lnTo>
                    <a:pt x="4197" y="87"/>
                  </a:lnTo>
                  <a:lnTo>
                    <a:pt x="4197" y="94"/>
                  </a:lnTo>
                  <a:lnTo>
                    <a:pt x="4196" y="101"/>
                  </a:lnTo>
                  <a:lnTo>
                    <a:pt x="4195" y="109"/>
                  </a:lnTo>
                  <a:lnTo>
                    <a:pt x="4193" y="116"/>
                  </a:lnTo>
                  <a:lnTo>
                    <a:pt x="4190" y="122"/>
                  </a:lnTo>
                  <a:lnTo>
                    <a:pt x="4187" y="128"/>
                  </a:lnTo>
                  <a:lnTo>
                    <a:pt x="4183" y="134"/>
                  </a:lnTo>
                  <a:lnTo>
                    <a:pt x="4180" y="141"/>
                  </a:lnTo>
                  <a:lnTo>
                    <a:pt x="4175" y="146"/>
                  </a:lnTo>
                  <a:lnTo>
                    <a:pt x="4169" y="151"/>
                  </a:lnTo>
                  <a:lnTo>
                    <a:pt x="4164" y="155"/>
                  </a:lnTo>
                  <a:lnTo>
                    <a:pt x="4159" y="159"/>
                  </a:lnTo>
                  <a:lnTo>
                    <a:pt x="4153" y="162"/>
                  </a:lnTo>
                  <a:lnTo>
                    <a:pt x="4147" y="165"/>
                  </a:lnTo>
                  <a:lnTo>
                    <a:pt x="4140" y="168"/>
                  </a:lnTo>
                  <a:lnTo>
                    <a:pt x="4133" y="171"/>
                  </a:lnTo>
                  <a:lnTo>
                    <a:pt x="4044" y="202"/>
                  </a:lnTo>
                  <a:lnTo>
                    <a:pt x="3956" y="234"/>
                  </a:lnTo>
                  <a:lnTo>
                    <a:pt x="3870" y="267"/>
                  </a:lnTo>
                  <a:lnTo>
                    <a:pt x="3784" y="300"/>
                  </a:lnTo>
                  <a:lnTo>
                    <a:pt x="3700" y="334"/>
                  </a:lnTo>
                  <a:lnTo>
                    <a:pt x="3617" y="368"/>
                  </a:lnTo>
                  <a:lnTo>
                    <a:pt x="3535" y="403"/>
                  </a:lnTo>
                  <a:lnTo>
                    <a:pt x="3454" y="440"/>
                  </a:lnTo>
                  <a:lnTo>
                    <a:pt x="3373" y="476"/>
                  </a:lnTo>
                  <a:lnTo>
                    <a:pt x="3294" y="513"/>
                  </a:lnTo>
                  <a:lnTo>
                    <a:pt x="3215" y="551"/>
                  </a:lnTo>
                  <a:lnTo>
                    <a:pt x="3136" y="589"/>
                  </a:lnTo>
                  <a:lnTo>
                    <a:pt x="3059" y="629"/>
                  </a:lnTo>
                  <a:lnTo>
                    <a:pt x="2982" y="669"/>
                  </a:lnTo>
                  <a:lnTo>
                    <a:pt x="2905" y="710"/>
                  </a:lnTo>
                  <a:lnTo>
                    <a:pt x="2828" y="752"/>
                  </a:lnTo>
                  <a:lnTo>
                    <a:pt x="2752" y="794"/>
                  </a:lnTo>
                  <a:lnTo>
                    <a:pt x="2675" y="838"/>
                  </a:lnTo>
                  <a:lnTo>
                    <a:pt x="2599" y="884"/>
                  </a:lnTo>
                  <a:lnTo>
                    <a:pt x="2521" y="929"/>
                  </a:lnTo>
                  <a:lnTo>
                    <a:pt x="2445" y="976"/>
                  </a:lnTo>
                  <a:lnTo>
                    <a:pt x="2368" y="1023"/>
                  </a:lnTo>
                  <a:lnTo>
                    <a:pt x="2292" y="1072"/>
                  </a:lnTo>
                  <a:lnTo>
                    <a:pt x="2214" y="1122"/>
                  </a:lnTo>
                  <a:lnTo>
                    <a:pt x="2136" y="1172"/>
                  </a:lnTo>
                  <a:lnTo>
                    <a:pt x="2058" y="1224"/>
                  </a:lnTo>
                  <a:lnTo>
                    <a:pt x="1980" y="1278"/>
                  </a:lnTo>
                  <a:lnTo>
                    <a:pt x="1900" y="1331"/>
                  </a:lnTo>
                  <a:lnTo>
                    <a:pt x="1820" y="1387"/>
                  </a:lnTo>
                  <a:lnTo>
                    <a:pt x="1740" y="1443"/>
                  </a:lnTo>
                  <a:lnTo>
                    <a:pt x="1658" y="1500"/>
                  </a:lnTo>
                  <a:lnTo>
                    <a:pt x="1576" y="1559"/>
                  </a:lnTo>
                  <a:lnTo>
                    <a:pt x="1571" y="1562"/>
                  </a:lnTo>
                  <a:lnTo>
                    <a:pt x="1567" y="1565"/>
                  </a:lnTo>
                  <a:lnTo>
                    <a:pt x="1556" y="1570"/>
                  </a:lnTo>
                  <a:lnTo>
                    <a:pt x="1551" y="1573"/>
                  </a:lnTo>
                  <a:lnTo>
                    <a:pt x="1504" y="1597"/>
                  </a:lnTo>
                  <a:lnTo>
                    <a:pt x="1458" y="1621"/>
                  </a:lnTo>
                  <a:lnTo>
                    <a:pt x="1413" y="1643"/>
                  </a:lnTo>
                  <a:lnTo>
                    <a:pt x="1370" y="1664"/>
                  </a:lnTo>
                  <a:lnTo>
                    <a:pt x="1327" y="1685"/>
                  </a:lnTo>
                  <a:lnTo>
                    <a:pt x="1285" y="1703"/>
                  </a:lnTo>
                  <a:lnTo>
                    <a:pt x="1245" y="1722"/>
                  </a:lnTo>
                  <a:lnTo>
                    <a:pt x="1205" y="1739"/>
                  </a:lnTo>
                  <a:lnTo>
                    <a:pt x="1166" y="1756"/>
                  </a:lnTo>
                  <a:lnTo>
                    <a:pt x="1127" y="1772"/>
                  </a:lnTo>
                  <a:lnTo>
                    <a:pt x="1088" y="1788"/>
                  </a:lnTo>
                  <a:lnTo>
                    <a:pt x="1050" y="1802"/>
                  </a:lnTo>
                  <a:lnTo>
                    <a:pt x="1012" y="1817"/>
                  </a:lnTo>
                  <a:lnTo>
                    <a:pt x="976" y="1829"/>
                  </a:lnTo>
                  <a:lnTo>
                    <a:pt x="939" y="1842"/>
                  </a:lnTo>
                  <a:lnTo>
                    <a:pt x="904" y="1853"/>
                  </a:lnTo>
                  <a:lnTo>
                    <a:pt x="858" y="1868"/>
                  </a:lnTo>
                  <a:lnTo>
                    <a:pt x="813" y="1881"/>
                  </a:lnTo>
                  <a:lnTo>
                    <a:pt x="768" y="1893"/>
                  </a:lnTo>
                  <a:lnTo>
                    <a:pt x="726" y="1903"/>
                  </a:lnTo>
                  <a:lnTo>
                    <a:pt x="684" y="1913"/>
                  </a:lnTo>
                  <a:lnTo>
                    <a:pt x="644" y="1920"/>
                  </a:lnTo>
                  <a:lnTo>
                    <a:pt x="605" y="1926"/>
                  </a:lnTo>
                  <a:lnTo>
                    <a:pt x="567" y="1931"/>
                  </a:lnTo>
                  <a:lnTo>
                    <a:pt x="531" y="1935"/>
                  </a:lnTo>
                  <a:lnTo>
                    <a:pt x="496" y="1937"/>
                  </a:lnTo>
                  <a:lnTo>
                    <a:pt x="461" y="1939"/>
                  </a:lnTo>
                  <a:lnTo>
                    <a:pt x="429" y="1939"/>
                  </a:lnTo>
                  <a:lnTo>
                    <a:pt x="398" y="1938"/>
                  </a:lnTo>
                  <a:lnTo>
                    <a:pt x="368" y="1937"/>
                  </a:lnTo>
                  <a:lnTo>
                    <a:pt x="338" y="1934"/>
                  </a:lnTo>
                  <a:lnTo>
                    <a:pt x="310" y="1930"/>
                  </a:lnTo>
                  <a:lnTo>
                    <a:pt x="283" y="1925"/>
                  </a:lnTo>
                  <a:lnTo>
                    <a:pt x="257" y="1919"/>
                  </a:lnTo>
                  <a:lnTo>
                    <a:pt x="233" y="1912"/>
                  </a:lnTo>
                  <a:lnTo>
                    <a:pt x="210" y="1904"/>
                  </a:lnTo>
                  <a:lnTo>
                    <a:pt x="187" y="1895"/>
                  </a:lnTo>
                  <a:lnTo>
                    <a:pt x="166" y="1886"/>
                  </a:lnTo>
                  <a:lnTo>
                    <a:pt x="146" y="1876"/>
                  </a:lnTo>
                  <a:lnTo>
                    <a:pt x="128" y="1863"/>
                  </a:lnTo>
                  <a:lnTo>
                    <a:pt x="109" y="1852"/>
                  </a:lnTo>
                  <a:lnTo>
                    <a:pt x="93" y="1838"/>
                  </a:lnTo>
                  <a:lnTo>
                    <a:pt x="76" y="1825"/>
                  </a:lnTo>
                  <a:lnTo>
                    <a:pt x="62" y="1811"/>
                  </a:lnTo>
                  <a:lnTo>
                    <a:pt x="47" y="1795"/>
                  </a:lnTo>
                  <a:lnTo>
                    <a:pt x="35" y="1780"/>
                  </a:lnTo>
                  <a:lnTo>
                    <a:pt x="23" y="1763"/>
                  </a:lnTo>
                  <a:lnTo>
                    <a:pt x="12" y="1746"/>
                  </a:lnTo>
                  <a:lnTo>
                    <a:pt x="8" y="1738"/>
                  </a:lnTo>
                  <a:lnTo>
                    <a:pt x="5" y="1731"/>
                  </a:lnTo>
                  <a:lnTo>
                    <a:pt x="3" y="1723"/>
                  </a:lnTo>
                  <a:lnTo>
                    <a:pt x="1" y="1716"/>
                  </a:lnTo>
                  <a:lnTo>
                    <a:pt x="0" y="1707"/>
                  </a:lnTo>
                  <a:lnTo>
                    <a:pt x="0" y="1700"/>
                  </a:lnTo>
                  <a:lnTo>
                    <a:pt x="1" y="1692"/>
                  </a:lnTo>
                  <a:lnTo>
                    <a:pt x="2" y="1684"/>
                  </a:lnTo>
                  <a:lnTo>
                    <a:pt x="4" y="1677"/>
                  </a:lnTo>
                  <a:lnTo>
                    <a:pt x="6" y="1669"/>
                  </a:lnTo>
                  <a:lnTo>
                    <a:pt x="10" y="1662"/>
                  </a:lnTo>
                  <a:lnTo>
                    <a:pt x="14" y="1655"/>
                  </a:lnTo>
                  <a:lnTo>
                    <a:pt x="18" y="1649"/>
                  </a:lnTo>
                  <a:lnTo>
                    <a:pt x="24" y="1643"/>
                  </a:lnTo>
                  <a:lnTo>
                    <a:pt x="30" y="1637"/>
                  </a:lnTo>
                  <a:lnTo>
                    <a:pt x="36" y="1632"/>
                  </a:lnTo>
                  <a:close/>
                  <a:moveTo>
                    <a:pt x="664" y="1411"/>
                  </a:moveTo>
                  <a:lnTo>
                    <a:pt x="607" y="1447"/>
                  </a:lnTo>
                  <a:lnTo>
                    <a:pt x="550" y="1484"/>
                  </a:lnTo>
                  <a:lnTo>
                    <a:pt x="493" y="1522"/>
                  </a:lnTo>
                  <a:lnTo>
                    <a:pt x="437" y="1560"/>
                  </a:lnTo>
                  <a:lnTo>
                    <a:pt x="381" y="1598"/>
                  </a:lnTo>
                  <a:lnTo>
                    <a:pt x="324" y="1637"/>
                  </a:lnTo>
                  <a:lnTo>
                    <a:pt x="269" y="1677"/>
                  </a:lnTo>
                  <a:lnTo>
                    <a:pt x="213" y="1716"/>
                  </a:lnTo>
                  <a:lnTo>
                    <a:pt x="222" y="1722"/>
                  </a:lnTo>
                  <a:lnTo>
                    <a:pt x="233" y="1728"/>
                  </a:lnTo>
                  <a:lnTo>
                    <a:pt x="244" y="1734"/>
                  </a:lnTo>
                  <a:lnTo>
                    <a:pt x="255" y="1739"/>
                  </a:lnTo>
                  <a:lnTo>
                    <a:pt x="268" y="1745"/>
                  </a:lnTo>
                  <a:lnTo>
                    <a:pt x="281" y="1750"/>
                  </a:lnTo>
                  <a:lnTo>
                    <a:pt x="295" y="1754"/>
                  </a:lnTo>
                  <a:lnTo>
                    <a:pt x="309" y="1757"/>
                  </a:lnTo>
                  <a:lnTo>
                    <a:pt x="323" y="1761"/>
                  </a:lnTo>
                  <a:lnTo>
                    <a:pt x="339" y="1764"/>
                  </a:lnTo>
                  <a:lnTo>
                    <a:pt x="354" y="1766"/>
                  </a:lnTo>
                  <a:lnTo>
                    <a:pt x="372" y="1768"/>
                  </a:lnTo>
                  <a:lnTo>
                    <a:pt x="388" y="1769"/>
                  </a:lnTo>
                  <a:lnTo>
                    <a:pt x="407" y="1770"/>
                  </a:lnTo>
                  <a:lnTo>
                    <a:pt x="425" y="1770"/>
                  </a:lnTo>
                  <a:lnTo>
                    <a:pt x="445" y="1770"/>
                  </a:lnTo>
                  <a:lnTo>
                    <a:pt x="464" y="1770"/>
                  </a:lnTo>
                  <a:lnTo>
                    <a:pt x="485" y="1769"/>
                  </a:lnTo>
                  <a:lnTo>
                    <a:pt x="507" y="1767"/>
                  </a:lnTo>
                  <a:lnTo>
                    <a:pt x="529" y="1765"/>
                  </a:lnTo>
                  <a:lnTo>
                    <a:pt x="576" y="1759"/>
                  </a:lnTo>
                  <a:lnTo>
                    <a:pt x="625" y="1750"/>
                  </a:lnTo>
                  <a:lnTo>
                    <a:pt x="678" y="1739"/>
                  </a:lnTo>
                  <a:lnTo>
                    <a:pt x="732" y="1726"/>
                  </a:lnTo>
                  <a:lnTo>
                    <a:pt x="791" y="1710"/>
                  </a:lnTo>
                  <a:lnTo>
                    <a:pt x="853" y="1690"/>
                  </a:lnTo>
                  <a:lnTo>
                    <a:pt x="885" y="1680"/>
                  </a:lnTo>
                  <a:lnTo>
                    <a:pt x="918" y="1668"/>
                  </a:lnTo>
                  <a:lnTo>
                    <a:pt x="953" y="1656"/>
                  </a:lnTo>
                  <a:lnTo>
                    <a:pt x="988" y="1643"/>
                  </a:lnTo>
                  <a:lnTo>
                    <a:pt x="1024" y="1629"/>
                  </a:lnTo>
                  <a:lnTo>
                    <a:pt x="1061" y="1614"/>
                  </a:lnTo>
                  <a:lnTo>
                    <a:pt x="1099" y="1598"/>
                  </a:lnTo>
                  <a:lnTo>
                    <a:pt x="1138" y="1582"/>
                  </a:lnTo>
                  <a:lnTo>
                    <a:pt x="1178" y="1564"/>
                  </a:lnTo>
                  <a:lnTo>
                    <a:pt x="1218" y="1546"/>
                  </a:lnTo>
                  <a:lnTo>
                    <a:pt x="1260" y="1527"/>
                  </a:lnTo>
                  <a:lnTo>
                    <a:pt x="1302" y="1508"/>
                  </a:lnTo>
                  <a:lnTo>
                    <a:pt x="1344" y="1487"/>
                  </a:lnTo>
                  <a:lnTo>
                    <a:pt x="1386" y="1465"/>
                  </a:lnTo>
                  <a:lnTo>
                    <a:pt x="1430" y="1444"/>
                  </a:lnTo>
                  <a:lnTo>
                    <a:pt x="1474" y="1421"/>
                  </a:lnTo>
                  <a:lnTo>
                    <a:pt x="1477" y="1419"/>
                  </a:lnTo>
                  <a:lnTo>
                    <a:pt x="1482" y="1416"/>
                  </a:lnTo>
                  <a:lnTo>
                    <a:pt x="1566" y="1357"/>
                  </a:lnTo>
                  <a:lnTo>
                    <a:pt x="1647" y="1299"/>
                  </a:lnTo>
                  <a:lnTo>
                    <a:pt x="1728" y="1243"/>
                  </a:lnTo>
                  <a:lnTo>
                    <a:pt x="1810" y="1187"/>
                  </a:lnTo>
                  <a:lnTo>
                    <a:pt x="1889" y="1132"/>
                  </a:lnTo>
                  <a:lnTo>
                    <a:pt x="1968" y="1079"/>
                  </a:lnTo>
                  <a:lnTo>
                    <a:pt x="2048" y="1026"/>
                  </a:lnTo>
                  <a:lnTo>
                    <a:pt x="2126" y="975"/>
                  </a:lnTo>
                  <a:lnTo>
                    <a:pt x="2204" y="925"/>
                  </a:lnTo>
                  <a:lnTo>
                    <a:pt x="2281" y="876"/>
                  </a:lnTo>
                  <a:lnTo>
                    <a:pt x="2360" y="828"/>
                  </a:lnTo>
                  <a:lnTo>
                    <a:pt x="2437" y="781"/>
                  </a:lnTo>
                  <a:lnTo>
                    <a:pt x="2514" y="734"/>
                  </a:lnTo>
                  <a:lnTo>
                    <a:pt x="2591" y="689"/>
                  </a:lnTo>
                  <a:lnTo>
                    <a:pt x="2669" y="645"/>
                  </a:lnTo>
                  <a:lnTo>
                    <a:pt x="2746" y="601"/>
                  </a:lnTo>
                  <a:lnTo>
                    <a:pt x="2793" y="576"/>
                  </a:lnTo>
                  <a:lnTo>
                    <a:pt x="2842" y="550"/>
                  </a:lnTo>
                  <a:lnTo>
                    <a:pt x="2889" y="524"/>
                  </a:lnTo>
                  <a:lnTo>
                    <a:pt x="2936" y="499"/>
                  </a:lnTo>
                  <a:lnTo>
                    <a:pt x="2985" y="475"/>
                  </a:lnTo>
                  <a:lnTo>
                    <a:pt x="3033" y="450"/>
                  </a:lnTo>
                  <a:lnTo>
                    <a:pt x="3082" y="426"/>
                  </a:lnTo>
                  <a:lnTo>
                    <a:pt x="3130" y="401"/>
                  </a:lnTo>
                  <a:lnTo>
                    <a:pt x="3179" y="379"/>
                  </a:lnTo>
                  <a:lnTo>
                    <a:pt x="3228" y="355"/>
                  </a:lnTo>
                  <a:lnTo>
                    <a:pt x="3277" y="332"/>
                  </a:lnTo>
                  <a:lnTo>
                    <a:pt x="3327" y="309"/>
                  </a:lnTo>
                  <a:lnTo>
                    <a:pt x="3377" y="286"/>
                  </a:lnTo>
                  <a:lnTo>
                    <a:pt x="3428" y="264"/>
                  </a:lnTo>
                  <a:lnTo>
                    <a:pt x="3478" y="242"/>
                  </a:lnTo>
                  <a:lnTo>
                    <a:pt x="3529" y="220"/>
                  </a:lnTo>
                  <a:lnTo>
                    <a:pt x="3459" y="231"/>
                  </a:lnTo>
                  <a:lnTo>
                    <a:pt x="3389" y="244"/>
                  </a:lnTo>
                  <a:lnTo>
                    <a:pt x="3318" y="258"/>
                  </a:lnTo>
                  <a:lnTo>
                    <a:pt x="3247" y="273"/>
                  </a:lnTo>
                  <a:lnTo>
                    <a:pt x="3174" y="289"/>
                  </a:lnTo>
                  <a:lnTo>
                    <a:pt x="3103" y="306"/>
                  </a:lnTo>
                  <a:lnTo>
                    <a:pt x="3031" y="324"/>
                  </a:lnTo>
                  <a:lnTo>
                    <a:pt x="2959" y="344"/>
                  </a:lnTo>
                  <a:lnTo>
                    <a:pt x="2887" y="364"/>
                  </a:lnTo>
                  <a:lnTo>
                    <a:pt x="2815" y="385"/>
                  </a:lnTo>
                  <a:lnTo>
                    <a:pt x="2742" y="408"/>
                  </a:lnTo>
                  <a:lnTo>
                    <a:pt x="2670" y="431"/>
                  </a:lnTo>
                  <a:lnTo>
                    <a:pt x="2597" y="455"/>
                  </a:lnTo>
                  <a:lnTo>
                    <a:pt x="2523" y="481"/>
                  </a:lnTo>
                  <a:lnTo>
                    <a:pt x="2450" y="507"/>
                  </a:lnTo>
                  <a:lnTo>
                    <a:pt x="2378" y="534"/>
                  </a:lnTo>
                  <a:lnTo>
                    <a:pt x="2305" y="562"/>
                  </a:lnTo>
                  <a:lnTo>
                    <a:pt x="2232" y="591"/>
                  </a:lnTo>
                  <a:lnTo>
                    <a:pt x="2159" y="621"/>
                  </a:lnTo>
                  <a:lnTo>
                    <a:pt x="2086" y="652"/>
                  </a:lnTo>
                  <a:lnTo>
                    <a:pt x="2013" y="683"/>
                  </a:lnTo>
                  <a:lnTo>
                    <a:pt x="1939" y="715"/>
                  </a:lnTo>
                  <a:lnTo>
                    <a:pt x="1866" y="749"/>
                  </a:lnTo>
                  <a:lnTo>
                    <a:pt x="1794" y="782"/>
                  </a:lnTo>
                  <a:lnTo>
                    <a:pt x="1721" y="817"/>
                  </a:lnTo>
                  <a:lnTo>
                    <a:pt x="1649" y="852"/>
                  </a:lnTo>
                  <a:lnTo>
                    <a:pt x="1577" y="888"/>
                  </a:lnTo>
                  <a:lnTo>
                    <a:pt x="1505" y="925"/>
                  </a:lnTo>
                  <a:lnTo>
                    <a:pt x="1433" y="962"/>
                  </a:lnTo>
                  <a:lnTo>
                    <a:pt x="1361" y="1000"/>
                  </a:lnTo>
                  <a:lnTo>
                    <a:pt x="1290" y="1040"/>
                  </a:lnTo>
                  <a:lnTo>
                    <a:pt x="1217" y="1079"/>
                  </a:lnTo>
                  <a:lnTo>
                    <a:pt x="1147" y="1118"/>
                  </a:lnTo>
                  <a:lnTo>
                    <a:pt x="1077" y="1158"/>
                  </a:lnTo>
                  <a:lnTo>
                    <a:pt x="1007" y="1199"/>
                  </a:lnTo>
                  <a:lnTo>
                    <a:pt x="938" y="1241"/>
                  </a:lnTo>
                  <a:lnTo>
                    <a:pt x="869" y="1282"/>
                  </a:lnTo>
                  <a:lnTo>
                    <a:pt x="800" y="1324"/>
                  </a:lnTo>
                  <a:lnTo>
                    <a:pt x="732" y="1367"/>
                  </a:lnTo>
                  <a:lnTo>
                    <a:pt x="664" y="14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095" name="Freeform 71"/>
            <p:cNvSpPr>
              <a:spLocks noChangeArrowheads="1"/>
            </p:cNvSpPr>
            <p:nvPr/>
          </p:nvSpPr>
          <p:spPr bwMode="auto">
            <a:xfrm>
              <a:off x="2105025" y="1268302"/>
              <a:ext cx="1806575" cy="976333"/>
            </a:xfrm>
            <a:custGeom>
              <a:avLst/>
              <a:gdLst>
                <a:gd name="T0" fmla="*/ 117 w 4027"/>
                <a:gd name="T1" fmla="*/ 1532 h 1768"/>
                <a:gd name="T2" fmla="*/ 354 w 4027"/>
                <a:gd name="T3" fmla="*/ 1369 h 1768"/>
                <a:gd name="T4" fmla="*/ 596 w 4027"/>
                <a:gd name="T5" fmla="*/ 1211 h 1768"/>
                <a:gd name="T6" fmla="*/ 844 w 4027"/>
                <a:gd name="T7" fmla="*/ 1060 h 1768"/>
                <a:gd name="T8" fmla="*/ 1095 w 4027"/>
                <a:gd name="T9" fmla="*/ 914 h 1768"/>
                <a:gd name="T10" fmla="*/ 1351 w 4027"/>
                <a:gd name="T11" fmla="*/ 777 h 1768"/>
                <a:gd name="T12" fmla="*/ 1608 w 4027"/>
                <a:gd name="T13" fmla="*/ 648 h 1768"/>
                <a:gd name="T14" fmla="*/ 1868 w 4027"/>
                <a:gd name="T15" fmla="*/ 529 h 1768"/>
                <a:gd name="T16" fmla="*/ 2127 w 4027"/>
                <a:gd name="T17" fmla="*/ 420 h 1768"/>
                <a:gd name="T18" fmla="*/ 2388 w 4027"/>
                <a:gd name="T19" fmla="*/ 321 h 1768"/>
                <a:gd name="T20" fmla="*/ 2648 w 4027"/>
                <a:gd name="T21" fmla="*/ 234 h 1768"/>
                <a:gd name="T22" fmla="*/ 2906 w 4027"/>
                <a:gd name="T23" fmla="*/ 159 h 1768"/>
                <a:gd name="T24" fmla="*/ 3162 w 4027"/>
                <a:gd name="T25" fmla="*/ 98 h 1768"/>
                <a:gd name="T26" fmla="*/ 3414 w 4027"/>
                <a:gd name="T27" fmla="*/ 51 h 1768"/>
                <a:gd name="T28" fmla="*/ 3663 w 4027"/>
                <a:gd name="T29" fmla="*/ 19 h 1768"/>
                <a:gd name="T30" fmla="*/ 3907 w 4027"/>
                <a:gd name="T31" fmla="*/ 2 h 1768"/>
                <a:gd name="T32" fmla="*/ 3936 w 4027"/>
                <a:gd name="T33" fmla="*/ 32 h 1768"/>
                <a:gd name="T34" fmla="*/ 3759 w 4027"/>
                <a:gd name="T35" fmla="*/ 98 h 1768"/>
                <a:gd name="T36" fmla="*/ 3587 w 4027"/>
                <a:gd name="T37" fmla="*/ 166 h 1768"/>
                <a:gd name="T38" fmla="*/ 3419 w 4027"/>
                <a:gd name="T39" fmla="*/ 237 h 1768"/>
                <a:gd name="T40" fmla="*/ 3255 w 4027"/>
                <a:gd name="T41" fmla="*/ 310 h 1768"/>
                <a:gd name="T42" fmla="*/ 3095 w 4027"/>
                <a:gd name="T43" fmla="*/ 386 h 1768"/>
                <a:gd name="T44" fmla="*/ 2936 w 4027"/>
                <a:gd name="T45" fmla="*/ 465 h 1768"/>
                <a:gd name="T46" fmla="*/ 2780 w 4027"/>
                <a:gd name="T47" fmla="*/ 547 h 1768"/>
                <a:gd name="T48" fmla="*/ 2625 w 4027"/>
                <a:gd name="T49" fmla="*/ 633 h 1768"/>
                <a:gd name="T50" fmla="*/ 2470 w 4027"/>
                <a:gd name="T51" fmla="*/ 723 h 1768"/>
                <a:gd name="T52" fmla="*/ 2316 w 4027"/>
                <a:gd name="T53" fmla="*/ 815 h 1768"/>
                <a:gd name="T54" fmla="*/ 2161 w 4027"/>
                <a:gd name="T55" fmla="*/ 912 h 1768"/>
                <a:gd name="T56" fmla="*/ 2006 w 4027"/>
                <a:gd name="T57" fmla="*/ 1013 h 1768"/>
                <a:gd name="T58" fmla="*/ 1848 w 4027"/>
                <a:gd name="T59" fmla="*/ 1118 h 1768"/>
                <a:gd name="T60" fmla="*/ 1606 w 4027"/>
                <a:gd name="T61" fmla="*/ 1285 h 1768"/>
                <a:gd name="T62" fmla="*/ 1359 w 4027"/>
                <a:gd name="T63" fmla="*/ 1445 h 1768"/>
                <a:gd name="T64" fmla="*/ 1203 w 4027"/>
                <a:gd name="T65" fmla="*/ 1521 h 1768"/>
                <a:gd name="T66" fmla="*/ 1057 w 4027"/>
                <a:gd name="T67" fmla="*/ 1585 h 1768"/>
                <a:gd name="T68" fmla="*/ 922 w 4027"/>
                <a:gd name="T69" fmla="*/ 1640 h 1768"/>
                <a:gd name="T70" fmla="*/ 798 w 4027"/>
                <a:gd name="T71" fmla="*/ 1683 h 1768"/>
                <a:gd name="T72" fmla="*/ 682 w 4027"/>
                <a:gd name="T73" fmla="*/ 1717 h 1768"/>
                <a:gd name="T74" fmla="*/ 576 w 4027"/>
                <a:gd name="T75" fmla="*/ 1743 h 1768"/>
                <a:gd name="T76" fmla="*/ 479 w 4027"/>
                <a:gd name="T77" fmla="*/ 1759 h 1768"/>
                <a:gd name="T78" fmla="*/ 392 w 4027"/>
                <a:gd name="T79" fmla="*/ 1767 h 1768"/>
                <a:gd name="T80" fmla="*/ 314 w 4027"/>
                <a:gd name="T81" fmla="*/ 1767 h 1768"/>
                <a:gd name="T82" fmla="*/ 244 w 4027"/>
                <a:gd name="T83" fmla="*/ 1761 h 1768"/>
                <a:gd name="T84" fmla="*/ 182 w 4027"/>
                <a:gd name="T85" fmla="*/ 1746 h 1768"/>
                <a:gd name="T86" fmla="*/ 128 w 4027"/>
                <a:gd name="T87" fmla="*/ 1727 h 1768"/>
                <a:gd name="T88" fmla="*/ 82 w 4027"/>
                <a:gd name="T89" fmla="*/ 1701 h 1768"/>
                <a:gd name="T90" fmla="*/ 44 w 4027"/>
                <a:gd name="T91" fmla="*/ 1670 h 1768"/>
                <a:gd name="T92" fmla="*/ 13 w 4027"/>
                <a:gd name="T93" fmla="*/ 1635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27" h="1768">
                  <a:moveTo>
                    <a:pt x="0" y="1615"/>
                  </a:moveTo>
                  <a:lnTo>
                    <a:pt x="117" y="1532"/>
                  </a:lnTo>
                  <a:lnTo>
                    <a:pt x="234" y="1449"/>
                  </a:lnTo>
                  <a:lnTo>
                    <a:pt x="354" y="1369"/>
                  </a:lnTo>
                  <a:lnTo>
                    <a:pt x="474" y="1290"/>
                  </a:lnTo>
                  <a:lnTo>
                    <a:pt x="596" y="1211"/>
                  </a:lnTo>
                  <a:lnTo>
                    <a:pt x="719" y="1135"/>
                  </a:lnTo>
                  <a:lnTo>
                    <a:pt x="844" y="1060"/>
                  </a:lnTo>
                  <a:lnTo>
                    <a:pt x="970" y="987"/>
                  </a:lnTo>
                  <a:lnTo>
                    <a:pt x="1095" y="914"/>
                  </a:lnTo>
                  <a:lnTo>
                    <a:pt x="1223" y="845"/>
                  </a:lnTo>
                  <a:lnTo>
                    <a:pt x="1351" y="777"/>
                  </a:lnTo>
                  <a:lnTo>
                    <a:pt x="1480" y="711"/>
                  </a:lnTo>
                  <a:lnTo>
                    <a:pt x="1608" y="648"/>
                  </a:lnTo>
                  <a:lnTo>
                    <a:pt x="1738" y="588"/>
                  </a:lnTo>
                  <a:lnTo>
                    <a:pt x="1868" y="529"/>
                  </a:lnTo>
                  <a:lnTo>
                    <a:pt x="1998" y="473"/>
                  </a:lnTo>
                  <a:lnTo>
                    <a:pt x="2127" y="420"/>
                  </a:lnTo>
                  <a:lnTo>
                    <a:pt x="2258" y="368"/>
                  </a:lnTo>
                  <a:lnTo>
                    <a:pt x="2388" y="321"/>
                  </a:lnTo>
                  <a:lnTo>
                    <a:pt x="2518" y="275"/>
                  </a:lnTo>
                  <a:lnTo>
                    <a:pt x="2648" y="234"/>
                  </a:lnTo>
                  <a:lnTo>
                    <a:pt x="2777" y="195"/>
                  </a:lnTo>
                  <a:lnTo>
                    <a:pt x="2906" y="159"/>
                  </a:lnTo>
                  <a:lnTo>
                    <a:pt x="3034" y="127"/>
                  </a:lnTo>
                  <a:lnTo>
                    <a:pt x="3162" y="98"/>
                  </a:lnTo>
                  <a:lnTo>
                    <a:pt x="3288" y="72"/>
                  </a:lnTo>
                  <a:lnTo>
                    <a:pt x="3414" y="51"/>
                  </a:lnTo>
                  <a:lnTo>
                    <a:pt x="3540" y="33"/>
                  </a:lnTo>
                  <a:lnTo>
                    <a:pt x="3663" y="19"/>
                  </a:lnTo>
                  <a:lnTo>
                    <a:pt x="3786" y="8"/>
                  </a:lnTo>
                  <a:lnTo>
                    <a:pt x="3907" y="2"/>
                  </a:lnTo>
                  <a:lnTo>
                    <a:pt x="4027" y="0"/>
                  </a:lnTo>
                  <a:lnTo>
                    <a:pt x="3936" y="32"/>
                  </a:lnTo>
                  <a:lnTo>
                    <a:pt x="3847" y="65"/>
                  </a:lnTo>
                  <a:lnTo>
                    <a:pt x="3759" y="98"/>
                  </a:lnTo>
                  <a:lnTo>
                    <a:pt x="3672" y="132"/>
                  </a:lnTo>
                  <a:lnTo>
                    <a:pt x="3587" y="166"/>
                  </a:lnTo>
                  <a:lnTo>
                    <a:pt x="3502" y="201"/>
                  </a:lnTo>
                  <a:lnTo>
                    <a:pt x="3419" y="237"/>
                  </a:lnTo>
                  <a:lnTo>
                    <a:pt x="3337" y="273"/>
                  </a:lnTo>
                  <a:lnTo>
                    <a:pt x="3255" y="310"/>
                  </a:lnTo>
                  <a:lnTo>
                    <a:pt x="3175" y="347"/>
                  </a:lnTo>
                  <a:lnTo>
                    <a:pt x="3095" y="386"/>
                  </a:lnTo>
                  <a:lnTo>
                    <a:pt x="3015" y="425"/>
                  </a:lnTo>
                  <a:lnTo>
                    <a:pt x="2936" y="465"/>
                  </a:lnTo>
                  <a:lnTo>
                    <a:pt x="2858" y="506"/>
                  </a:lnTo>
                  <a:lnTo>
                    <a:pt x="2780" y="547"/>
                  </a:lnTo>
                  <a:lnTo>
                    <a:pt x="2702" y="590"/>
                  </a:lnTo>
                  <a:lnTo>
                    <a:pt x="2625" y="633"/>
                  </a:lnTo>
                  <a:lnTo>
                    <a:pt x="2548" y="677"/>
                  </a:lnTo>
                  <a:lnTo>
                    <a:pt x="2470" y="723"/>
                  </a:lnTo>
                  <a:lnTo>
                    <a:pt x="2393" y="768"/>
                  </a:lnTo>
                  <a:lnTo>
                    <a:pt x="2316" y="815"/>
                  </a:lnTo>
                  <a:lnTo>
                    <a:pt x="2240" y="863"/>
                  </a:lnTo>
                  <a:lnTo>
                    <a:pt x="2161" y="912"/>
                  </a:lnTo>
                  <a:lnTo>
                    <a:pt x="2084" y="962"/>
                  </a:lnTo>
                  <a:lnTo>
                    <a:pt x="2006" y="1013"/>
                  </a:lnTo>
                  <a:lnTo>
                    <a:pt x="1927" y="1066"/>
                  </a:lnTo>
                  <a:lnTo>
                    <a:pt x="1848" y="1118"/>
                  </a:lnTo>
                  <a:lnTo>
                    <a:pt x="1768" y="1173"/>
                  </a:lnTo>
                  <a:lnTo>
                    <a:pt x="1606" y="1285"/>
                  </a:lnTo>
                  <a:lnTo>
                    <a:pt x="1441" y="1403"/>
                  </a:lnTo>
                  <a:lnTo>
                    <a:pt x="1359" y="1445"/>
                  </a:lnTo>
                  <a:lnTo>
                    <a:pt x="1280" y="1484"/>
                  </a:lnTo>
                  <a:lnTo>
                    <a:pt x="1203" y="1521"/>
                  </a:lnTo>
                  <a:lnTo>
                    <a:pt x="1129" y="1555"/>
                  </a:lnTo>
                  <a:lnTo>
                    <a:pt x="1057" y="1585"/>
                  </a:lnTo>
                  <a:lnTo>
                    <a:pt x="989" y="1614"/>
                  </a:lnTo>
                  <a:lnTo>
                    <a:pt x="922" y="1640"/>
                  </a:lnTo>
                  <a:lnTo>
                    <a:pt x="858" y="1663"/>
                  </a:lnTo>
                  <a:lnTo>
                    <a:pt x="798" y="1683"/>
                  </a:lnTo>
                  <a:lnTo>
                    <a:pt x="739" y="1702"/>
                  </a:lnTo>
                  <a:lnTo>
                    <a:pt x="682" y="1717"/>
                  </a:lnTo>
                  <a:lnTo>
                    <a:pt x="628" y="1732"/>
                  </a:lnTo>
                  <a:lnTo>
                    <a:pt x="576" y="1743"/>
                  </a:lnTo>
                  <a:lnTo>
                    <a:pt x="527" y="1751"/>
                  </a:lnTo>
                  <a:lnTo>
                    <a:pt x="479" y="1759"/>
                  </a:lnTo>
                  <a:lnTo>
                    <a:pt x="435" y="1764"/>
                  </a:lnTo>
                  <a:lnTo>
                    <a:pt x="392" y="1767"/>
                  </a:lnTo>
                  <a:lnTo>
                    <a:pt x="352" y="1768"/>
                  </a:lnTo>
                  <a:lnTo>
                    <a:pt x="314" y="1767"/>
                  </a:lnTo>
                  <a:lnTo>
                    <a:pt x="278" y="1765"/>
                  </a:lnTo>
                  <a:lnTo>
                    <a:pt x="244" y="1761"/>
                  </a:lnTo>
                  <a:lnTo>
                    <a:pt x="212" y="1755"/>
                  </a:lnTo>
                  <a:lnTo>
                    <a:pt x="182" y="1746"/>
                  </a:lnTo>
                  <a:lnTo>
                    <a:pt x="154" y="1737"/>
                  </a:lnTo>
                  <a:lnTo>
                    <a:pt x="128" y="1727"/>
                  </a:lnTo>
                  <a:lnTo>
                    <a:pt x="104" y="1714"/>
                  </a:lnTo>
                  <a:lnTo>
                    <a:pt x="82" y="1701"/>
                  </a:lnTo>
                  <a:lnTo>
                    <a:pt x="62" y="1686"/>
                  </a:lnTo>
                  <a:lnTo>
                    <a:pt x="44" y="1670"/>
                  </a:lnTo>
                  <a:lnTo>
                    <a:pt x="27" y="1652"/>
                  </a:lnTo>
                  <a:lnTo>
                    <a:pt x="13" y="1635"/>
                  </a:lnTo>
                  <a:lnTo>
                    <a:pt x="0" y="16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7" name="Freeform 103"/>
            <p:cNvSpPr>
              <a:spLocks noChangeArrowheads="1"/>
            </p:cNvSpPr>
            <p:nvPr/>
          </p:nvSpPr>
          <p:spPr bwMode="auto">
            <a:xfrm>
              <a:off x="6604000" y="2138270"/>
              <a:ext cx="358775" cy="469910"/>
            </a:xfrm>
            <a:custGeom>
              <a:avLst/>
              <a:gdLst>
                <a:gd name="T0" fmla="*/ 340 w 805"/>
                <a:gd name="T1" fmla="*/ 850 h 850"/>
                <a:gd name="T2" fmla="*/ 805 w 805"/>
                <a:gd name="T3" fmla="*/ 638 h 850"/>
                <a:gd name="T4" fmla="*/ 594 w 805"/>
                <a:gd name="T5" fmla="*/ 384 h 850"/>
                <a:gd name="T6" fmla="*/ 466 w 805"/>
                <a:gd name="T7" fmla="*/ 0 h 850"/>
                <a:gd name="T8" fmla="*/ 382 w 805"/>
                <a:gd name="T9" fmla="*/ 596 h 850"/>
                <a:gd name="T10" fmla="*/ 0 w 805"/>
                <a:gd name="T11" fmla="*/ 850 h 850"/>
                <a:gd name="T12" fmla="*/ 340 w 805"/>
                <a:gd name="T13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5" h="850">
                  <a:moveTo>
                    <a:pt x="340" y="850"/>
                  </a:moveTo>
                  <a:lnTo>
                    <a:pt x="805" y="638"/>
                  </a:lnTo>
                  <a:lnTo>
                    <a:pt x="594" y="384"/>
                  </a:lnTo>
                  <a:lnTo>
                    <a:pt x="466" y="0"/>
                  </a:lnTo>
                  <a:lnTo>
                    <a:pt x="382" y="596"/>
                  </a:lnTo>
                  <a:lnTo>
                    <a:pt x="0" y="850"/>
                  </a:lnTo>
                  <a:lnTo>
                    <a:pt x="340" y="8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28" name="Freeform 104"/>
            <p:cNvSpPr>
              <a:spLocks noChangeArrowheads="1"/>
            </p:cNvSpPr>
            <p:nvPr/>
          </p:nvSpPr>
          <p:spPr bwMode="auto">
            <a:xfrm>
              <a:off x="6604000" y="2138270"/>
              <a:ext cx="358775" cy="469910"/>
            </a:xfrm>
            <a:custGeom>
              <a:avLst/>
              <a:gdLst>
                <a:gd name="T0" fmla="*/ 340 w 805"/>
                <a:gd name="T1" fmla="*/ 850 h 850"/>
                <a:gd name="T2" fmla="*/ 805 w 805"/>
                <a:gd name="T3" fmla="*/ 638 h 850"/>
                <a:gd name="T4" fmla="*/ 594 w 805"/>
                <a:gd name="T5" fmla="*/ 384 h 850"/>
                <a:gd name="T6" fmla="*/ 466 w 805"/>
                <a:gd name="T7" fmla="*/ 0 h 850"/>
                <a:gd name="T8" fmla="*/ 382 w 805"/>
                <a:gd name="T9" fmla="*/ 596 h 850"/>
                <a:gd name="T10" fmla="*/ 0 w 805"/>
                <a:gd name="T11" fmla="*/ 850 h 850"/>
                <a:gd name="T12" fmla="*/ 340 w 805"/>
                <a:gd name="T13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5" h="850">
                  <a:moveTo>
                    <a:pt x="340" y="850"/>
                  </a:moveTo>
                  <a:lnTo>
                    <a:pt x="805" y="638"/>
                  </a:lnTo>
                  <a:lnTo>
                    <a:pt x="594" y="384"/>
                  </a:lnTo>
                  <a:lnTo>
                    <a:pt x="466" y="0"/>
                  </a:lnTo>
                  <a:lnTo>
                    <a:pt x="382" y="596"/>
                  </a:lnTo>
                  <a:lnTo>
                    <a:pt x="0" y="850"/>
                  </a:lnTo>
                  <a:lnTo>
                    <a:pt x="340" y="8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33" name="Line 109"/>
            <p:cNvSpPr>
              <a:spLocks noChangeShapeType="1"/>
            </p:cNvSpPr>
            <p:nvPr userDrawn="1"/>
          </p:nvSpPr>
          <p:spPr bwMode="auto">
            <a:xfrm>
              <a:off x="0" y="6524625"/>
              <a:ext cx="9144000" cy="0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</p:grpSp>
      <p:sp>
        <p:nvSpPr>
          <p:cNvPr id="1134" name="Line 110"/>
          <p:cNvSpPr>
            <a:spLocks noChangeShapeType="1"/>
          </p:cNvSpPr>
          <p:nvPr/>
        </p:nvSpPr>
        <p:spPr bwMode="auto">
          <a:xfrm>
            <a:off x="0" y="965200"/>
            <a:ext cx="91408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pic>
        <p:nvPicPr>
          <p:cNvPr id="1041" name="Picture 11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077200" y="-3175"/>
            <a:ext cx="977900" cy="97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2" name="Rectangle 112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269875"/>
            <a:ext cx="7199313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4" r:id="rId2"/>
    <p:sldLayoutId id="2147483733" r:id="rId3"/>
    <p:sldLayoutId id="2147483732" r:id="rId4"/>
    <p:sldLayoutId id="2147483731" r:id="rId5"/>
    <p:sldLayoutId id="2147483730" r:id="rId6"/>
    <p:sldLayoutId id="2147483729" r:id="rId7"/>
    <p:sldLayoutId id="2147483728" r:id="rId8"/>
    <p:sldLayoutId id="2147483727" r:id="rId9"/>
    <p:sldLayoutId id="2147483726" r:id="rId10"/>
    <p:sldLayoutId id="2147483725" r:id="rId11"/>
    <p:sldLayoutId id="2147483806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230188" indent="-230188" algn="l" rtl="0" eaLnBrk="0" fontAlgn="base" latinLnBrk="1" hangingPunct="0">
        <a:spcBef>
          <a:spcPct val="50000"/>
        </a:spcBef>
        <a:spcAft>
          <a:spcPct val="0"/>
        </a:spcAft>
        <a:buClr>
          <a:schemeClr val="accent1"/>
        </a:buClr>
        <a:buFont typeface="Wingdings 2" pitchFamily="18" charset="2"/>
        <a:buChar char=""/>
        <a:defRPr kumimoji="1" sz="1600">
          <a:solidFill>
            <a:srgbClr val="000000"/>
          </a:solidFill>
          <a:latin typeface="+mn-lt"/>
          <a:ea typeface="+mn-ea"/>
          <a:cs typeface="+mn-cs"/>
        </a:defRPr>
      </a:lvl1pPr>
      <a:lvl2pPr marL="800100" indent="-228600" algn="l" rtl="0" eaLnBrk="0" fontAlgn="base" latinLnBrk="1" hangingPunct="0">
        <a:spcBef>
          <a:spcPct val="50000"/>
        </a:spcBef>
        <a:spcAft>
          <a:spcPct val="0"/>
        </a:spcAft>
        <a:buClr>
          <a:schemeClr val="accent1"/>
        </a:buClr>
        <a:buFont typeface="Arial" charset="0"/>
        <a:buChar char="–"/>
        <a:defRPr kumimoji="1" sz="1600">
          <a:solidFill>
            <a:srgbClr val="1C1C1C"/>
          </a:solidFill>
          <a:latin typeface="+mn-lt"/>
          <a:cs typeface="+mn-cs"/>
        </a:defRPr>
      </a:lvl2pPr>
      <a:lvl3pPr marL="1257300" indent="-168275" algn="l" rtl="0" eaLnBrk="0" fontAlgn="base" latinLnBrk="1" hangingPunct="0"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kumimoji="1" sz="1600">
          <a:solidFill>
            <a:srgbClr val="1C1C1C"/>
          </a:solidFill>
          <a:latin typeface="+mn-lt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5pPr>
      <a:lvl6pPr marL="25146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6pPr>
      <a:lvl7pPr marL="29718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7pPr>
      <a:lvl8pPr marL="34290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8pPr>
      <a:lvl9pPr marL="38862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116"/>
          <p:cNvGrpSpPr>
            <a:grpSpLocks/>
          </p:cNvGrpSpPr>
          <p:nvPr/>
        </p:nvGrpSpPr>
        <p:grpSpPr bwMode="auto">
          <a:xfrm>
            <a:off x="738188" y="1257300"/>
            <a:ext cx="7415212" cy="4997450"/>
            <a:chOff x="738187" y="746124"/>
            <a:chExt cx="7415213" cy="5635626"/>
          </a:xfrm>
        </p:grpSpPr>
        <p:sp>
          <p:nvSpPr>
            <p:cNvPr id="118" name="Freeform 3"/>
            <p:cNvSpPr>
              <a:spLocks noChangeArrowheads="1"/>
            </p:cNvSpPr>
            <p:nvPr userDrawn="1"/>
          </p:nvSpPr>
          <p:spPr bwMode="auto">
            <a:xfrm>
              <a:off x="4732338" y="905455"/>
              <a:ext cx="1454150" cy="814551"/>
            </a:xfrm>
            <a:custGeom>
              <a:avLst/>
              <a:gdLst>
                <a:gd name="T0" fmla="*/ 5 w 3230"/>
                <a:gd name="T1" fmla="*/ 102 h 1474"/>
                <a:gd name="T2" fmla="*/ 11 w 3230"/>
                <a:gd name="T3" fmla="*/ 89 h 1474"/>
                <a:gd name="T4" fmla="*/ 29 w 3230"/>
                <a:gd name="T5" fmla="*/ 66 h 1474"/>
                <a:gd name="T6" fmla="*/ 83 w 3230"/>
                <a:gd name="T7" fmla="*/ 32 h 1474"/>
                <a:gd name="T8" fmla="*/ 217 w 3230"/>
                <a:gd name="T9" fmla="*/ 5 h 1474"/>
                <a:gd name="T10" fmla="*/ 422 w 3230"/>
                <a:gd name="T11" fmla="*/ 1 h 1474"/>
                <a:gd name="T12" fmla="*/ 901 w 3230"/>
                <a:gd name="T13" fmla="*/ 44 h 1474"/>
                <a:gd name="T14" fmla="*/ 1442 w 3230"/>
                <a:gd name="T15" fmla="*/ 154 h 1474"/>
                <a:gd name="T16" fmla="*/ 1756 w 3230"/>
                <a:gd name="T17" fmla="*/ 248 h 1474"/>
                <a:gd name="T18" fmla="*/ 1906 w 3230"/>
                <a:gd name="T19" fmla="*/ 306 h 1474"/>
                <a:gd name="T20" fmla="*/ 2159 w 3230"/>
                <a:gd name="T21" fmla="*/ 413 h 1474"/>
                <a:gd name="T22" fmla="*/ 2392 w 3230"/>
                <a:gd name="T23" fmla="*/ 520 h 1474"/>
                <a:gd name="T24" fmla="*/ 2650 w 3230"/>
                <a:gd name="T25" fmla="*/ 653 h 1474"/>
                <a:gd name="T26" fmla="*/ 2887 w 3230"/>
                <a:gd name="T27" fmla="*/ 799 h 1474"/>
                <a:gd name="T28" fmla="*/ 3066 w 3230"/>
                <a:gd name="T29" fmla="*/ 942 h 1474"/>
                <a:gd name="T30" fmla="*/ 3182 w 3230"/>
                <a:gd name="T31" fmla="*/ 1083 h 1474"/>
                <a:gd name="T32" fmla="*/ 3229 w 3230"/>
                <a:gd name="T33" fmla="*/ 1220 h 1474"/>
                <a:gd name="T34" fmla="*/ 3209 w 3230"/>
                <a:gd name="T35" fmla="*/ 1327 h 1474"/>
                <a:gd name="T36" fmla="*/ 3122 w 3230"/>
                <a:gd name="T37" fmla="*/ 1412 h 1474"/>
                <a:gd name="T38" fmla="*/ 3001 w 3230"/>
                <a:gd name="T39" fmla="*/ 1456 h 1474"/>
                <a:gd name="T40" fmla="*/ 2844 w 3230"/>
                <a:gd name="T41" fmla="*/ 1474 h 1474"/>
                <a:gd name="T42" fmla="*/ 2626 w 3230"/>
                <a:gd name="T43" fmla="*/ 1461 h 1474"/>
                <a:gd name="T44" fmla="*/ 2368 w 3230"/>
                <a:gd name="T45" fmla="*/ 1421 h 1474"/>
                <a:gd name="T46" fmla="*/ 2075 w 3230"/>
                <a:gd name="T47" fmla="*/ 1354 h 1474"/>
                <a:gd name="T48" fmla="*/ 1413 w 3230"/>
                <a:gd name="T49" fmla="*/ 1151 h 1474"/>
                <a:gd name="T50" fmla="*/ 312 w 3230"/>
                <a:gd name="T51" fmla="*/ 172 h 1474"/>
                <a:gd name="T52" fmla="*/ 200 w 3230"/>
                <a:gd name="T53" fmla="*/ 179 h 1474"/>
                <a:gd name="T54" fmla="*/ 354 w 3230"/>
                <a:gd name="T55" fmla="*/ 322 h 1474"/>
                <a:gd name="T56" fmla="*/ 630 w 3230"/>
                <a:gd name="T57" fmla="*/ 526 h 1474"/>
                <a:gd name="T58" fmla="*/ 938 w 3230"/>
                <a:gd name="T59" fmla="*/ 722 h 1474"/>
                <a:gd name="T60" fmla="*/ 1154 w 3230"/>
                <a:gd name="T61" fmla="*/ 841 h 1474"/>
                <a:gd name="T62" fmla="*/ 1389 w 3230"/>
                <a:gd name="T63" fmla="*/ 954 h 1474"/>
                <a:gd name="T64" fmla="*/ 1799 w 3230"/>
                <a:gd name="T65" fmla="*/ 1099 h 1474"/>
                <a:gd name="T66" fmla="*/ 2342 w 3230"/>
                <a:gd name="T67" fmla="*/ 1242 h 1474"/>
                <a:gd name="T68" fmla="*/ 2593 w 3230"/>
                <a:gd name="T69" fmla="*/ 1286 h 1474"/>
                <a:gd name="T70" fmla="*/ 2804 w 3230"/>
                <a:gd name="T71" fmla="*/ 1303 h 1474"/>
                <a:gd name="T72" fmla="*/ 2946 w 3230"/>
                <a:gd name="T73" fmla="*/ 1293 h 1474"/>
                <a:gd name="T74" fmla="*/ 3030 w 3230"/>
                <a:gd name="T75" fmla="*/ 1268 h 1474"/>
                <a:gd name="T76" fmla="*/ 3059 w 3230"/>
                <a:gd name="T77" fmla="*/ 1207 h 1474"/>
                <a:gd name="T78" fmla="*/ 3016 w 3230"/>
                <a:gd name="T79" fmla="*/ 1121 h 1474"/>
                <a:gd name="T80" fmla="*/ 2917 w 3230"/>
                <a:gd name="T81" fmla="*/ 1025 h 1474"/>
                <a:gd name="T82" fmla="*/ 2741 w 3230"/>
                <a:gd name="T83" fmla="*/ 902 h 1474"/>
                <a:gd name="T84" fmla="*/ 2354 w 3230"/>
                <a:gd name="T85" fmla="*/ 692 h 1474"/>
                <a:gd name="T86" fmla="*/ 2130 w 3230"/>
                <a:gd name="T87" fmla="*/ 587 h 1474"/>
                <a:gd name="T88" fmla="*/ 1882 w 3230"/>
                <a:gd name="T89" fmla="*/ 481 h 1474"/>
                <a:gd name="T90" fmla="*/ 1650 w 3230"/>
                <a:gd name="T91" fmla="*/ 393 h 1474"/>
                <a:gd name="T92" fmla="*/ 1349 w 3230"/>
                <a:gd name="T93" fmla="*/ 308 h 1474"/>
                <a:gd name="T94" fmla="*/ 793 w 3230"/>
                <a:gd name="T95" fmla="*/ 203 h 1474"/>
                <a:gd name="T96" fmla="*/ 358 w 3230"/>
                <a:gd name="T97" fmla="*/ 172 h 1474"/>
                <a:gd name="T98" fmla="*/ 1361 w 3230"/>
                <a:gd name="T99" fmla="*/ 1128 h 1474"/>
                <a:gd name="T100" fmla="*/ 1115 w 3230"/>
                <a:gd name="T101" fmla="*/ 1013 h 1474"/>
                <a:gd name="T102" fmla="*/ 890 w 3230"/>
                <a:gd name="T103" fmla="*/ 891 h 1474"/>
                <a:gd name="T104" fmla="*/ 653 w 3230"/>
                <a:gd name="T105" fmla="*/ 745 h 1474"/>
                <a:gd name="T106" fmla="*/ 422 w 3230"/>
                <a:gd name="T107" fmla="*/ 580 h 1474"/>
                <a:gd name="T108" fmla="*/ 237 w 3230"/>
                <a:gd name="T109" fmla="*/ 424 h 1474"/>
                <a:gd name="T110" fmla="*/ 101 w 3230"/>
                <a:gd name="T111" fmla="*/ 290 h 1474"/>
                <a:gd name="T112" fmla="*/ 21 w 3230"/>
                <a:gd name="T113" fmla="*/ 188 h 1474"/>
                <a:gd name="T114" fmla="*/ 1405 w 3230"/>
                <a:gd name="T115" fmla="*/ 1147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30" h="1474">
                  <a:moveTo>
                    <a:pt x="0" y="135"/>
                  </a:moveTo>
                  <a:lnTo>
                    <a:pt x="0" y="126"/>
                  </a:lnTo>
                  <a:lnTo>
                    <a:pt x="1" y="118"/>
                  </a:lnTo>
                  <a:lnTo>
                    <a:pt x="3" y="110"/>
                  </a:lnTo>
                  <a:lnTo>
                    <a:pt x="6" y="102"/>
                  </a:lnTo>
                  <a:lnTo>
                    <a:pt x="5" y="102"/>
                  </a:lnTo>
                  <a:lnTo>
                    <a:pt x="6" y="102"/>
                  </a:lnTo>
                  <a:lnTo>
                    <a:pt x="6" y="101"/>
                  </a:lnTo>
                  <a:lnTo>
                    <a:pt x="8" y="96"/>
                  </a:lnTo>
                  <a:lnTo>
                    <a:pt x="9" y="94"/>
                  </a:lnTo>
                  <a:lnTo>
                    <a:pt x="10" y="91"/>
                  </a:lnTo>
                  <a:lnTo>
                    <a:pt x="11" y="89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8" y="78"/>
                  </a:lnTo>
                  <a:lnTo>
                    <a:pt x="23" y="72"/>
                  </a:lnTo>
                  <a:lnTo>
                    <a:pt x="29" y="66"/>
                  </a:lnTo>
                  <a:lnTo>
                    <a:pt x="35" y="61"/>
                  </a:lnTo>
                  <a:lnTo>
                    <a:pt x="41" y="54"/>
                  </a:lnTo>
                  <a:lnTo>
                    <a:pt x="48" y="49"/>
                  </a:lnTo>
                  <a:lnTo>
                    <a:pt x="56" y="45"/>
                  </a:lnTo>
                  <a:lnTo>
                    <a:pt x="65" y="40"/>
                  </a:lnTo>
                  <a:lnTo>
                    <a:pt x="83" y="32"/>
                  </a:lnTo>
                  <a:lnTo>
                    <a:pt x="104" y="24"/>
                  </a:lnTo>
                  <a:lnTo>
                    <a:pt x="126" y="18"/>
                  </a:lnTo>
                  <a:lnTo>
                    <a:pt x="151" y="13"/>
                  </a:lnTo>
                  <a:lnTo>
                    <a:pt x="171" y="10"/>
                  </a:lnTo>
                  <a:lnTo>
                    <a:pt x="193" y="8"/>
                  </a:lnTo>
                  <a:lnTo>
                    <a:pt x="217" y="5"/>
                  </a:lnTo>
                  <a:lnTo>
                    <a:pt x="242" y="4"/>
                  </a:lnTo>
                  <a:lnTo>
                    <a:pt x="269" y="2"/>
                  </a:lnTo>
                  <a:lnTo>
                    <a:pt x="297" y="1"/>
                  </a:lnTo>
                  <a:lnTo>
                    <a:pt x="327" y="0"/>
                  </a:lnTo>
                  <a:lnTo>
                    <a:pt x="358" y="0"/>
                  </a:lnTo>
                  <a:lnTo>
                    <a:pt x="422" y="1"/>
                  </a:lnTo>
                  <a:lnTo>
                    <a:pt x="490" y="3"/>
                  </a:lnTo>
                  <a:lnTo>
                    <a:pt x="564" y="8"/>
                  </a:lnTo>
                  <a:lnTo>
                    <a:pt x="643" y="14"/>
                  </a:lnTo>
                  <a:lnTo>
                    <a:pt x="725" y="22"/>
                  </a:lnTo>
                  <a:lnTo>
                    <a:pt x="811" y="32"/>
                  </a:lnTo>
                  <a:lnTo>
                    <a:pt x="901" y="44"/>
                  </a:lnTo>
                  <a:lnTo>
                    <a:pt x="994" y="59"/>
                  </a:lnTo>
                  <a:lnTo>
                    <a:pt x="1090" y="76"/>
                  </a:lnTo>
                  <a:lnTo>
                    <a:pt x="1188" y="96"/>
                  </a:lnTo>
                  <a:lnTo>
                    <a:pt x="1288" y="117"/>
                  </a:lnTo>
                  <a:lnTo>
                    <a:pt x="1390" y="141"/>
                  </a:lnTo>
                  <a:lnTo>
                    <a:pt x="1442" y="154"/>
                  </a:lnTo>
                  <a:lnTo>
                    <a:pt x="1493" y="169"/>
                  </a:lnTo>
                  <a:lnTo>
                    <a:pt x="1546" y="183"/>
                  </a:lnTo>
                  <a:lnTo>
                    <a:pt x="1598" y="199"/>
                  </a:lnTo>
                  <a:lnTo>
                    <a:pt x="1651" y="214"/>
                  </a:lnTo>
                  <a:lnTo>
                    <a:pt x="1703" y="231"/>
                  </a:lnTo>
                  <a:lnTo>
                    <a:pt x="1756" y="248"/>
                  </a:lnTo>
                  <a:lnTo>
                    <a:pt x="1808" y="267"/>
                  </a:lnTo>
                  <a:lnTo>
                    <a:pt x="1813" y="268"/>
                  </a:lnTo>
                  <a:lnTo>
                    <a:pt x="1817" y="270"/>
                  </a:lnTo>
                  <a:lnTo>
                    <a:pt x="1862" y="288"/>
                  </a:lnTo>
                  <a:lnTo>
                    <a:pt x="1906" y="306"/>
                  </a:lnTo>
                  <a:lnTo>
                    <a:pt x="1951" y="324"/>
                  </a:lnTo>
                  <a:lnTo>
                    <a:pt x="1994" y="342"/>
                  </a:lnTo>
                  <a:lnTo>
                    <a:pt x="2036" y="360"/>
                  </a:lnTo>
                  <a:lnTo>
                    <a:pt x="2078" y="378"/>
                  </a:lnTo>
                  <a:lnTo>
                    <a:pt x="2118" y="396"/>
                  </a:lnTo>
                  <a:lnTo>
                    <a:pt x="2159" y="413"/>
                  </a:lnTo>
                  <a:lnTo>
                    <a:pt x="2199" y="431"/>
                  </a:lnTo>
                  <a:lnTo>
                    <a:pt x="2239" y="449"/>
                  </a:lnTo>
                  <a:lnTo>
                    <a:pt x="2278" y="467"/>
                  </a:lnTo>
                  <a:lnTo>
                    <a:pt x="2316" y="484"/>
                  </a:lnTo>
                  <a:lnTo>
                    <a:pt x="2354" y="503"/>
                  </a:lnTo>
                  <a:lnTo>
                    <a:pt x="2392" y="520"/>
                  </a:lnTo>
                  <a:lnTo>
                    <a:pt x="2429" y="538"/>
                  </a:lnTo>
                  <a:lnTo>
                    <a:pt x="2465" y="555"/>
                  </a:lnTo>
                  <a:lnTo>
                    <a:pt x="2513" y="580"/>
                  </a:lnTo>
                  <a:lnTo>
                    <a:pt x="2560" y="605"/>
                  </a:lnTo>
                  <a:lnTo>
                    <a:pt x="2606" y="629"/>
                  </a:lnTo>
                  <a:lnTo>
                    <a:pt x="2650" y="653"/>
                  </a:lnTo>
                  <a:lnTo>
                    <a:pt x="2693" y="677"/>
                  </a:lnTo>
                  <a:lnTo>
                    <a:pt x="2734" y="702"/>
                  </a:lnTo>
                  <a:lnTo>
                    <a:pt x="2775" y="726"/>
                  </a:lnTo>
                  <a:lnTo>
                    <a:pt x="2814" y="750"/>
                  </a:lnTo>
                  <a:lnTo>
                    <a:pt x="2851" y="775"/>
                  </a:lnTo>
                  <a:lnTo>
                    <a:pt x="2887" y="799"/>
                  </a:lnTo>
                  <a:lnTo>
                    <a:pt x="2921" y="822"/>
                  </a:lnTo>
                  <a:lnTo>
                    <a:pt x="2953" y="847"/>
                  </a:lnTo>
                  <a:lnTo>
                    <a:pt x="2984" y="871"/>
                  </a:lnTo>
                  <a:lnTo>
                    <a:pt x="3013" y="894"/>
                  </a:lnTo>
                  <a:lnTo>
                    <a:pt x="3040" y="918"/>
                  </a:lnTo>
                  <a:lnTo>
                    <a:pt x="3066" y="942"/>
                  </a:lnTo>
                  <a:lnTo>
                    <a:pt x="3090" y="966"/>
                  </a:lnTo>
                  <a:lnTo>
                    <a:pt x="3112" y="989"/>
                  </a:lnTo>
                  <a:lnTo>
                    <a:pt x="3133" y="1013"/>
                  </a:lnTo>
                  <a:lnTo>
                    <a:pt x="3152" y="1037"/>
                  </a:lnTo>
                  <a:lnTo>
                    <a:pt x="3168" y="1060"/>
                  </a:lnTo>
                  <a:lnTo>
                    <a:pt x="3182" y="1083"/>
                  </a:lnTo>
                  <a:lnTo>
                    <a:pt x="3196" y="1107"/>
                  </a:lnTo>
                  <a:lnTo>
                    <a:pt x="3206" y="1130"/>
                  </a:lnTo>
                  <a:lnTo>
                    <a:pt x="3215" y="1152"/>
                  </a:lnTo>
                  <a:lnTo>
                    <a:pt x="3222" y="1175"/>
                  </a:lnTo>
                  <a:lnTo>
                    <a:pt x="3227" y="1198"/>
                  </a:lnTo>
                  <a:lnTo>
                    <a:pt x="3229" y="1220"/>
                  </a:lnTo>
                  <a:lnTo>
                    <a:pt x="3230" y="1243"/>
                  </a:lnTo>
                  <a:lnTo>
                    <a:pt x="3228" y="1266"/>
                  </a:lnTo>
                  <a:lnTo>
                    <a:pt x="3224" y="1287"/>
                  </a:lnTo>
                  <a:lnTo>
                    <a:pt x="3218" y="1309"/>
                  </a:lnTo>
                  <a:lnTo>
                    <a:pt x="3214" y="1319"/>
                  </a:lnTo>
                  <a:lnTo>
                    <a:pt x="3209" y="1327"/>
                  </a:lnTo>
                  <a:lnTo>
                    <a:pt x="3198" y="1345"/>
                  </a:lnTo>
                  <a:lnTo>
                    <a:pt x="3186" y="1360"/>
                  </a:lnTo>
                  <a:lnTo>
                    <a:pt x="3172" y="1375"/>
                  </a:lnTo>
                  <a:lnTo>
                    <a:pt x="3157" y="1388"/>
                  </a:lnTo>
                  <a:lnTo>
                    <a:pt x="3140" y="1401"/>
                  </a:lnTo>
                  <a:lnTo>
                    <a:pt x="3122" y="1412"/>
                  </a:lnTo>
                  <a:lnTo>
                    <a:pt x="3102" y="1422"/>
                  </a:lnTo>
                  <a:lnTo>
                    <a:pt x="3082" y="1432"/>
                  </a:lnTo>
                  <a:lnTo>
                    <a:pt x="3063" y="1439"/>
                  </a:lnTo>
                  <a:lnTo>
                    <a:pt x="3043" y="1446"/>
                  </a:lnTo>
                  <a:lnTo>
                    <a:pt x="3023" y="1451"/>
                  </a:lnTo>
                  <a:lnTo>
                    <a:pt x="3001" y="1456"/>
                  </a:lnTo>
                  <a:lnTo>
                    <a:pt x="2979" y="1461"/>
                  </a:lnTo>
                  <a:lnTo>
                    <a:pt x="2956" y="1465"/>
                  </a:lnTo>
                  <a:lnTo>
                    <a:pt x="2931" y="1468"/>
                  </a:lnTo>
                  <a:lnTo>
                    <a:pt x="2906" y="1471"/>
                  </a:lnTo>
                  <a:lnTo>
                    <a:pt x="2876" y="1473"/>
                  </a:lnTo>
                  <a:lnTo>
                    <a:pt x="2844" y="1474"/>
                  </a:lnTo>
                  <a:lnTo>
                    <a:pt x="2811" y="1474"/>
                  </a:lnTo>
                  <a:lnTo>
                    <a:pt x="2777" y="1473"/>
                  </a:lnTo>
                  <a:lnTo>
                    <a:pt x="2741" y="1472"/>
                  </a:lnTo>
                  <a:lnTo>
                    <a:pt x="2704" y="1469"/>
                  </a:lnTo>
                  <a:lnTo>
                    <a:pt x="2665" y="1466"/>
                  </a:lnTo>
                  <a:lnTo>
                    <a:pt x="2626" y="1461"/>
                  </a:lnTo>
                  <a:lnTo>
                    <a:pt x="2586" y="1457"/>
                  </a:lnTo>
                  <a:lnTo>
                    <a:pt x="2545" y="1451"/>
                  </a:lnTo>
                  <a:lnTo>
                    <a:pt x="2502" y="1445"/>
                  </a:lnTo>
                  <a:lnTo>
                    <a:pt x="2458" y="1438"/>
                  </a:lnTo>
                  <a:lnTo>
                    <a:pt x="2413" y="1431"/>
                  </a:lnTo>
                  <a:lnTo>
                    <a:pt x="2368" y="1421"/>
                  </a:lnTo>
                  <a:lnTo>
                    <a:pt x="2321" y="1412"/>
                  </a:lnTo>
                  <a:lnTo>
                    <a:pt x="2274" y="1402"/>
                  </a:lnTo>
                  <a:lnTo>
                    <a:pt x="2226" y="1391"/>
                  </a:lnTo>
                  <a:lnTo>
                    <a:pt x="2176" y="1380"/>
                  </a:lnTo>
                  <a:lnTo>
                    <a:pt x="2126" y="1368"/>
                  </a:lnTo>
                  <a:lnTo>
                    <a:pt x="2075" y="1354"/>
                  </a:lnTo>
                  <a:lnTo>
                    <a:pt x="1970" y="1326"/>
                  </a:lnTo>
                  <a:lnTo>
                    <a:pt x="1864" y="1297"/>
                  </a:lnTo>
                  <a:lnTo>
                    <a:pt x="1754" y="1264"/>
                  </a:lnTo>
                  <a:lnTo>
                    <a:pt x="1643" y="1228"/>
                  </a:lnTo>
                  <a:lnTo>
                    <a:pt x="1529" y="1190"/>
                  </a:lnTo>
                  <a:lnTo>
                    <a:pt x="1413" y="1151"/>
                  </a:lnTo>
                  <a:lnTo>
                    <a:pt x="1405" y="1147"/>
                  </a:lnTo>
                  <a:lnTo>
                    <a:pt x="1409" y="1149"/>
                  </a:lnTo>
                  <a:lnTo>
                    <a:pt x="0" y="135"/>
                  </a:lnTo>
                  <a:close/>
                  <a:moveTo>
                    <a:pt x="358" y="172"/>
                  </a:moveTo>
                  <a:lnTo>
                    <a:pt x="335" y="172"/>
                  </a:lnTo>
                  <a:lnTo>
                    <a:pt x="312" y="172"/>
                  </a:lnTo>
                  <a:lnTo>
                    <a:pt x="289" y="173"/>
                  </a:lnTo>
                  <a:lnTo>
                    <a:pt x="270" y="174"/>
                  </a:lnTo>
                  <a:lnTo>
                    <a:pt x="250" y="175"/>
                  </a:lnTo>
                  <a:lnTo>
                    <a:pt x="232" y="176"/>
                  </a:lnTo>
                  <a:lnTo>
                    <a:pt x="215" y="178"/>
                  </a:lnTo>
                  <a:lnTo>
                    <a:pt x="200" y="179"/>
                  </a:lnTo>
                  <a:lnTo>
                    <a:pt x="216" y="198"/>
                  </a:lnTo>
                  <a:lnTo>
                    <a:pt x="237" y="218"/>
                  </a:lnTo>
                  <a:lnTo>
                    <a:pt x="260" y="242"/>
                  </a:lnTo>
                  <a:lnTo>
                    <a:pt x="288" y="267"/>
                  </a:lnTo>
                  <a:lnTo>
                    <a:pt x="320" y="293"/>
                  </a:lnTo>
                  <a:lnTo>
                    <a:pt x="354" y="322"/>
                  </a:lnTo>
                  <a:lnTo>
                    <a:pt x="392" y="353"/>
                  </a:lnTo>
                  <a:lnTo>
                    <a:pt x="433" y="385"/>
                  </a:lnTo>
                  <a:lnTo>
                    <a:pt x="479" y="418"/>
                  </a:lnTo>
                  <a:lnTo>
                    <a:pt x="526" y="453"/>
                  </a:lnTo>
                  <a:lnTo>
                    <a:pt x="577" y="489"/>
                  </a:lnTo>
                  <a:lnTo>
                    <a:pt x="630" y="526"/>
                  </a:lnTo>
                  <a:lnTo>
                    <a:pt x="687" y="565"/>
                  </a:lnTo>
                  <a:lnTo>
                    <a:pt x="746" y="603"/>
                  </a:lnTo>
                  <a:lnTo>
                    <a:pt x="807" y="643"/>
                  </a:lnTo>
                  <a:lnTo>
                    <a:pt x="872" y="682"/>
                  </a:lnTo>
                  <a:lnTo>
                    <a:pt x="905" y="702"/>
                  </a:lnTo>
                  <a:lnTo>
                    <a:pt x="938" y="722"/>
                  </a:lnTo>
                  <a:lnTo>
                    <a:pt x="973" y="742"/>
                  </a:lnTo>
                  <a:lnTo>
                    <a:pt x="1008" y="761"/>
                  </a:lnTo>
                  <a:lnTo>
                    <a:pt x="1043" y="781"/>
                  </a:lnTo>
                  <a:lnTo>
                    <a:pt x="1079" y="801"/>
                  </a:lnTo>
                  <a:lnTo>
                    <a:pt x="1116" y="821"/>
                  </a:lnTo>
                  <a:lnTo>
                    <a:pt x="1154" y="841"/>
                  </a:lnTo>
                  <a:lnTo>
                    <a:pt x="1193" y="860"/>
                  </a:lnTo>
                  <a:lnTo>
                    <a:pt x="1231" y="879"/>
                  </a:lnTo>
                  <a:lnTo>
                    <a:pt x="1270" y="899"/>
                  </a:lnTo>
                  <a:lnTo>
                    <a:pt x="1309" y="917"/>
                  </a:lnTo>
                  <a:lnTo>
                    <a:pt x="1349" y="936"/>
                  </a:lnTo>
                  <a:lnTo>
                    <a:pt x="1389" y="954"/>
                  </a:lnTo>
                  <a:lnTo>
                    <a:pt x="1429" y="972"/>
                  </a:lnTo>
                  <a:lnTo>
                    <a:pt x="1471" y="989"/>
                  </a:lnTo>
                  <a:lnTo>
                    <a:pt x="1582" y="1028"/>
                  </a:lnTo>
                  <a:lnTo>
                    <a:pt x="1692" y="1065"/>
                  </a:lnTo>
                  <a:lnTo>
                    <a:pt x="1799" y="1099"/>
                  </a:lnTo>
                  <a:lnTo>
                    <a:pt x="1904" y="1130"/>
                  </a:lnTo>
                  <a:lnTo>
                    <a:pt x="2007" y="1159"/>
                  </a:lnTo>
                  <a:lnTo>
                    <a:pt x="2106" y="1186"/>
                  </a:lnTo>
                  <a:lnTo>
                    <a:pt x="2203" y="1211"/>
                  </a:lnTo>
                  <a:lnTo>
                    <a:pt x="2297" y="1233"/>
                  </a:lnTo>
                  <a:lnTo>
                    <a:pt x="2342" y="1242"/>
                  </a:lnTo>
                  <a:lnTo>
                    <a:pt x="2386" y="1251"/>
                  </a:lnTo>
                  <a:lnTo>
                    <a:pt x="2430" y="1259"/>
                  </a:lnTo>
                  <a:lnTo>
                    <a:pt x="2472" y="1268"/>
                  </a:lnTo>
                  <a:lnTo>
                    <a:pt x="2513" y="1275"/>
                  </a:lnTo>
                  <a:lnTo>
                    <a:pt x="2554" y="1280"/>
                  </a:lnTo>
                  <a:lnTo>
                    <a:pt x="2593" y="1286"/>
                  </a:lnTo>
                  <a:lnTo>
                    <a:pt x="2631" y="1290"/>
                  </a:lnTo>
                  <a:lnTo>
                    <a:pt x="2669" y="1294"/>
                  </a:lnTo>
                  <a:lnTo>
                    <a:pt x="2705" y="1298"/>
                  </a:lnTo>
                  <a:lnTo>
                    <a:pt x="2739" y="1300"/>
                  </a:lnTo>
                  <a:lnTo>
                    <a:pt x="2773" y="1302"/>
                  </a:lnTo>
                  <a:lnTo>
                    <a:pt x="2804" y="1303"/>
                  </a:lnTo>
                  <a:lnTo>
                    <a:pt x="2835" y="1302"/>
                  </a:lnTo>
                  <a:lnTo>
                    <a:pt x="2864" y="1302"/>
                  </a:lnTo>
                  <a:lnTo>
                    <a:pt x="2893" y="1300"/>
                  </a:lnTo>
                  <a:lnTo>
                    <a:pt x="2912" y="1298"/>
                  </a:lnTo>
                  <a:lnTo>
                    <a:pt x="2929" y="1295"/>
                  </a:lnTo>
                  <a:lnTo>
                    <a:pt x="2946" y="1293"/>
                  </a:lnTo>
                  <a:lnTo>
                    <a:pt x="2962" y="1290"/>
                  </a:lnTo>
                  <a:lnTo>
                    <a:pt x="2976" y="1286"/>
                  </a:lnTo>
                  <a:lnTo>
                    <a:pt x="2991" y="1283"/>
                  </a:lnTo>
                  <a:lnTo>
                    <a:pt x="3004" y="1278"/>
                  </a:lnTo>
                  <a:lnTo>
                    <a:pt x="3017" y="1274"/>
                  </a:lnTo>
                  <a:lnTo>
                    <a:pt x="3030" y="1268"/>
                  </a:lnTo>
                  <a:lnTo>
                    <a:pt x="3041" y="1260"/>
                  </a:lnTo>
                  <a:lnTo>
                    <a:pt x="3051" y="1253"/>
                  </a:lnTo>
                  <a:lnTo>
                    <a:pt x="3059" y="1246"/>
                  </a:lnTo>
                  <a:lnTo>
                    <a:pt x="3061" y="1234"/>
                  </a:lnTo>
                  <a:lnTo>
                    <a:pt x="3061" y="1220"/>
                  </a:lnTo>
                  <a:lnTo>
                    <a:pt x="3059" y="1207"/>
                  </a:lnTo>
                  <a:lnTo>
                    <a:pt x="3056" y="1193"/>
                  </a:lnTo>
                  <a:lnTo>
                    <a:pt x="3051" y="1180"/>
                  </a:lnTo>
                  <a:lnTo>
                    <a:pt x="3044" y="1166"/>
                  </a:lnTo>
                  <a:lnTo>
                    <a:pt x="3036" y="1151"/>
                  </a:lnTo>
                  <a:lnTo>
                    <a:pt x="3027" y="1137"/>
                  </a:lnTo>
                  <a:lnTo>
                    <a:pt x="3016" y="1121"/>
                  </a:lnTo>
                  <a:lnTo>
                    <a:pt x="3002" y="1106"/>
                  </a:lnTo>
                  <a:lnTo>
                    <a:pt x="2988" y="1090"/>
                  </a:lnTo>
                  <a:lnTo>
                    <a:pt x="2972" y="1075"/>
                  </a:lnTo>
                  <a:lnTo>
                    <a:pt x="2956" y="1058"/>
                  </a:lnTo>
                  <a:lnTo>
                    <a:pt x="2937" y="1042"/>
                  </a:lnTo>
                  <a:lnTo>
                    <a:pt x="2917" y="1025"/>
                  </a:lnTo>
                  <a:lnTo>
                    <a:pt x="2896" y="1008"/>
                  </a:lnTo>
                  <a:lnTo>
                    <a:pt x="2873" y="991"/>
                  </a:lnTo>
                  <a:lnTo>
                    <a:pt x="2849" y="974"/>
                  </a:lnTo>
                  <a:lnTo>
                    <a:pt x="2824" y="956"/>
                  </a:lnTo>
                  <a:lnTo>
                    <a:pt x="2797" y="939"/>
                  </a:lnTo>
                  <a:lnTo>
                    <a:pt x="2741" y="902"/>
                  </a:lnTo>
                  <a:lnTo>
                    <a:pt x="2679" y="865"/>
                  </a:lnTo>
                  <a:lnTo>
                    <a:pt x="2613" y="827"/>
                  </a:lnTo>
                  <a:lnTo>
                    <a:pt x="2543" y="788"/>
                  </a:lnTo>
                  <a:lnTo>
                    <a:pt x="2468" y="749"/>
                  </a:lnTo>
                  <a:lnTo>
                    <a:pt x="2389" y="709"/>
                  </a:lnTo>
                  <a:lnTo>
                    <a:pt x="2354" y="692"/>
                  </a:lnTo>
                  <a:lnTo>
                    <a:pt x="2318" y="675"/>
                  </a:lnTo>
                  <a:lnTo>
                    <a:pt x="2282" y="657"/>
                  </a:lnTo>
                  <a:lnTo>
                    <a:pt x="2245" y="640"/>
                  </a:lnTo>
                  <a:lnTo>
                    <a:pt x="2207" y="622"/>
                  </a:lnTo>
                  <a:lnTo>
                    <a:pt x="2169" y="605"/>
                  </a:lnTo>
                  <a:lnTo>
                    <a:pt x="2130" y="587"/>
                  </a:lnTo>
                  <a:lnTo>
                    <a:pt x="2091" y="570"/>
                  </a:lnTo>
                  <a:lnTo>
                    <a:pt x="2049" y="552"/>
                  </a:lnTo>
                  <a:lnTo>
                    <a:pt x="2008" y="535"/>
                  </a:lnTo>
                  <a:lnTo>
                    <a:pt x="1966" y="516"/>
                  </a:lnTo>
                  <a:lnTo>
                    <a:pt x="1925" y="499"/>
                  </a:lnTo>
                  <a:lnTo>
                    <a:pt x="1882" y="481"/>
                  </a:lnTo>
                  <a:lnTo>
                    <a:pt x="1839" y="464"/>
                  </a:lnTo>
                  <a:lnTo>
                    <a:pt x="1797" y="446"/>
                  </a:lnTo>
                  <a:lnTo>
                    <a:pt x="1754" y="429"/>
                  </a:lnTo>
                  <a:lnTo>
                    <a:pt x="1752" y="427"/>
                  </a:lnTo>
                  <a:lnTo>
                    <a:pt x="1700" y="410"/>
                  </a:lnTo>
                  <a:lnTo>
                    <a:pt x="1650" y="393"/>
                  </a:lnTo>
                  <a:lnTo>
                    <a:pt x="1599" y="378"/>
                  </a:lnTo>
                  <a:lnTo>
                    <a:pt x="1549" y="363"/>
                  </a:lnTo>
                  <a:lnTo>
                    <a:pt x="1498" y="347"/>
                  </a:lnTo>
                  <a:lnTo>
                    <a:pt x="1448" y="334"/>
                  </a:lnTo>
                  <a:lnTo>
                    <a:pt x="1399" y="320"/>
                  </a:lnTo>
                  <a:lnTo>
                    <a:pt x="1349" y="308"/>
                  </a:lnTo>
                  <a:lnTo>
                    <a:pt x="1251" y="284"/>
                  </a:lnTo>
                  <a:lnTo>
                    <a:pt x="1154" y="264"/>
                  </a:lnTo>
                  <a:lnTo>
                    <a:pt x="1061" y="245"/>
                  </a:lnTo>
                  <a:lnTo>
                    <a:pt x="969" y="229"/>
                  </a:lnTo>
                  <a:lnTo>
                    <a:pt x="879" y="214"/>
                  </a:lnTo>
                  <a:lnTo>
                    <a:pt x="793" y="203"/>
                  </a:lnTo>
                  <a:lnTo>
                    <a:pt x="710" y="192"/>
                  </a:lnTo>
                  <a:lnTo>
                    <a:pt x="631" y="185"/>
                  </a:lnTo>
                  <a:lnTo>
                    <a:pt x="556" y="179"/>
                  </a:lnTo>
                  <a:lnTo>
                    <a:pt x="485" y="175"/>
                  </a:lnTo>
                  <a:lnTo>
                    <a:pt x="419" y="172"/>
                  </a:lnTo>
                  <a:lnTo>
                    <a:pt x="358" y="172"/>
                  </a:lnTo>
                  <a:close/>
                  <a:moveTo>
                    <a:pt x="3209" y="1327"/>
                  </a:moveTo>
                  <a:lnTo>
                    <a:pt x="3209" y="1327"/>
                  </a:lnTo>
                  <a:close/>
                  <a:moveTo>
                    <a:pt x="1405" y="1147"/>
                  </a:moveTo>
                  <a:lnTo>
                    <a:pt x="1404" y="1147"/>
                  </a:lnTo>
                  <a:lnTo>
                    <a:pt x="1361" y="1128"/>
                  </a:lnTo>
                  <a:lnTo>
                    <a:pt x="1318" y="1110"/>
                  </a:lnTo>
                  <a:lnTo>
                    <a:pt x="1277" y="1090"/>
                  </a:lnTo>
                  <a:lnTo>
                    <a:pt x="1236" y="1072"/>
                  </a:lnTo>
                  <a:lnTo>
                    <a:pt x="1195" y="1052"/>
                  </a:lnTo>
                  <a:lnTo>
                    <a:pt x="1154" y="1033"/>
                  </a:lnTo>
                  <a:lnTo>
                    <a:pt x="1115" y="1013"/>
                  </a:lnTo>
                  <a:lnTo>
                    <a:pt x="1076" y="992"/>
                  </a:lnTo>
                  <a:lnTo>
                    <a:pt x="1038" y="973"/>
                  </a:lnTo>
                  <a:lnTo>
                    <a:pt x="1000" y="953"/>
                  </a:lnTo>
                  <a:lnTo>
                    <a:pt x="963" y="933"/>
                  </a:lnTo>
                  <a:lnTo>
                    <a:pt x="927" y="912"/>
                  </a:lnTo>
                  <a:lnTo>
                    <a:pt x="890" y="891"/>
                  </a:lnTo>
                  <a:lnTo>
                    <a:pt x="855" y="871"/>
                  </a:lnTo>
                  <a:lnTo>
                    <a:pt x="819" y="849"/>
                  </a:lnTo>
                  <a:lnTo>
                    <a:pt x="785" y="828"/>
                  </a:lnTo>
                  <a:lnTo>
                    <a:pt x="739" y="801"/>
                  </a:lnTo>
                  <a:lnTo>
                    <a:pt x="695" y="773"/>
                  </a:lnTo>
                  <a:lnTo>
                    <a:pt x="653" y="745"/>
                  </a:lnTo>
                  <a:lnTo>
                    <a:pt x="612" y="717"/>
                  </a:lnTo>
                  <a:lnTo>
                    <a:pt x="570" y="689"/>
                  </a:lnTo>
                  <a:lnTo>
                    <a:pt x="531" y="662"/>
                  </a:lnTo>
                  <a:lnTo>
                    <a:pt x="494" y="635"/>
                  </a:lnTo>
                  <a:lnTo>
                    <a:pt x="457" y="607"/>
                  </a:lnTo>
                  <a:lnTo>
                    <a:pt x="422" y="580"/>
                  </a:lnTo>
                  <a:lnTo>
                    <a:pt x="387" y="553"/>
                  </a:lnTo>
                  <a:lnTo>
                    <a:pt x="354" y="526"/>
                  </a:lnTo>
                  <a:lnTo>
                    <a:pt x="323" y="501"/>
                  </a:lnTo>
                  <a:lnTo>
                    <a:pt x="292" y="475"/>
                  </a:lnTo>
                  <a:lnTo>
                    <a:pt x="263" y="449"/>
                  </a:lnTo>
                  <a:lnTo>
                    <a:pt x="237" y="424"/>
                  </a:lnTo>
                  <a:lnTo>
                    <a:pt x="210" y="401"/>
                  </a:lnTo>
                  <a:lnTo>
                    <a:pt x="185" y="377"/>
                  </a:lnTo>
                  <a:lnTo>
                    <a:pt x="163" y="354"/>
                  </a:lnTo>
                  <a:lnTo>
                    <a:pt x="140" y="333"/>
                  </a:lnTo>
                  <a:lnTo>
                    <a:pt x="120" y="311"/>
                  </a:lnTo>
                  <a:lnTo>
                    <a:pt x="101" y="290"/>
                  </a:lnTo>
                  <a:lnTo>
                    <a:pt x="84" y="271"/>
                  </a:lnTo>
                  <a:lnTo>
                    <a:pt x="68" y="252"/>
                  </a:lnTo>
                  <a:lnTo>
                    <a:pt x="54" y="235"/>
                  </a:lnTo>
                  <a:lnTo>
                    <a:pt x="41" y="218"/>
                  </a:lnTo>
                  <a:lnTo>
                    <a:pt x="31" y="203"/>
                  </a:lnTo>
                  <a:lnTo>
                    <a:pt x="21" y="188"/>
                  </a:lnTo>
                  <a:lnTo>
                    <a:pt x="13" y="175"/>
                  </a:lnTo>
                  <a:lnTo>
                    <a:pt x="7" y="163"/>
                  </a:lnTo>
                  <a:lnTo>
                    <a:pt x="3" y="152"/>
                  </a:lnTo>
                  <a:lnTo>
                    <a:pt x="1" y="143"/>
                  </a:lnTo>
                  <a:lnTo>
                    <a:pt x="0" y="135"/>
                  </a:lnTo>
                  <a:lnTo>
                    <a:pt x="1405" y="11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19" name="Freeform 4"/>
            <p:cNvSpPr>
              <a:spLocks noChangeArrowheads="1"/>
            </p:cNvSpPr>
            <p:nvPr userDrawn="1"/>
          </p:nvSpPr>
          <p:spPr bwMode="auto">
            <a:xfrm>
              <a:off x="4775200" y="959161"/>
              <a:ext cx="1374775" cy="716090"/>
            </a:xfrm>
            <a:custGeom>
              <a:avLst/>
              <a:gdLst>
                <a:gd name="T0" fmla="*/ 10 w 3060"/>
                <a:gd name="T1" fmla="*/ 34 h 1302"/>
                <a:gd name="T2" fmla="*/ 59 w 3060"/>
                <a:gd name="T3" fmla="*/ 16 h 1302"/>
                <a:gd name="T4" fmla="*/ 146 w 3060"/>
                <a:gd name="T5" fmla="*/ 4 h 1302"/>
                <a:gd name="T6" fmla="*/ 266 w 3060"/>
                <a:gd name="T7" fmla="*/ 0 h 1302"/>
                <a:gd name="T8" fmla="*/ 416 w 3060"/>
                <a:gd name="T9" fmla="*/ 3 h 1302"/>
                <a:gd name="T10" fmla="*/ 590 w 3060"/>
                <a:gd name="T11" fmla="*/ 17 h 1302"/>
                <a:gd name="T12" fmla="*/ 786 w 3060"/>
                <a:gd name="T13" fmla="*/ 40 h 1302"/>
                <a:gd name="T14" fmla="*/ 999 w 3060"/>
                <a:gd name="T15" fmla="*/ 77 h 1302"/>
                <a:gd name="T16" fmla="*/ 1224 w 3060"/>
                <a:gd name="T17" fmla="*/ 124 h 1302"/>
                <a:gd name="T18" fmla="*/ 1458 w 3060"/>
                <a:gd name="T19" fmla="*/ 185 h 1302"/>
                <a:gd name="T20" fmla="*/ 1696 w 3060"/>
                <a:gd name="T21" fmla="*/ 261 h 1302"/>
                <a:gd name="T22" fmla="*/ 1927 w 3060"/>
                <a:gd name="T23" fmla="*/ 357 h 1302"/>
                <a:gd name="T24" fmla="*/ 2143 w 3060"/>
                <a:gd name="T25" fmla="*/ 452 h 1302"/>
                <a:gd name="T26" fmla="*/ 2341 w 3060"/>
                <a:gd name="T27" fmla="*/ 547 h 1302"/>
                <a:gd name="T28" fmla="*/ 2520 w 3060"/>
                <a:gd name="T29" fmla="*/ 639 h 1302"/>
                <a:gd name="T30" fmla="*/ 2676 w 3060"/>
                <a:gd name="T31" fmla="*/ 731 h 1302"/>
                <a:gd name="T32" fmla="*/ 2809 w 3060"/>
                <a:gd name="T33" fmla="*/ 820 h 1302"/>
                <a:gd name="T34" fmla="*/ 2916 w 3060"/>
                <a:gd name="T35" fmla="*/ 907 h 1302"/>
                <a:gd name="T36" fmla="*/ 2996 w 3060"/>
                <a:gd name="T37" fmla="*/ 991 h 1302"/>
                <a:gd name="T38" fmla="*/ 3044 w 3060"/>
                <a:gd name="T39" fmla="*/ 1071 h 1302"/>
                <a:gd name="T40" fmla="*/ 3060 w 3060"/>
                <a:gd name="T41" fmla="*/ 1148 h 1302"/>
                <a:gd name="T42" fmla="*/ 3038 w 3060"/>
                <a:gd name="T43" fmla="*/ 1216 h 1302"/>
                <a:gd name="T44" fmla="*/ 2977 w 3060"/>
                <a:gd name="T45" fmla="*/ 1261 h 1302"/>
                <a:gd name="T46" fmla="*/ 2888 w 3060"/>
                <a:gd name="T47" fmla="*/ 1289 h 1302"/>
                <a:gd name="T48" fmla="*/ 2773 w 3060"/>
                <a:gd name="T49" fmla="*/ 1301 h 1302"/>
                <a:gd name="T50" fmla="*/ 2634 w 3060"/>
                <a:gd name="T51" fmla="*/ 1298 h 1302"/>
                <a:gd name="T52" fmla="*/ 2474 w 3060"/>
                <a:gd name="T53" fmla="*/ 1282 h 1302"/>
                <a:gd name="T54" fmla="*/ 2295 w 3060"/>
                <a:gd name="T55" fmla="*/ 1251 h 1302"/>
                <a:gd name="T56" fmla="*/ 2099 w 3060"/>
                <a:gd name="T57" fmla="*/ 1207 h 1302"/>
                <a:gd name="T58" fmla="*/ 1889 w 3060"/>
                <a:gd name="T59" fmla="*/ 1153 h 1302"/>
                <a:gd name="T60" fmla="*/ 1668 w 3060"/>
                <a:gd name="T61" fmla="*/ 1087 h 1302"/>
                <a:gd name="T62" fmla="*/ 1435 w 3060"/>
                <a:gd name="T63" fmla="*/ 1012 h 1302"/>
                <a:gd name="T64" fmla="*/ 1208 w 3060"/>
                <a:gd name="T65" fmla="*/ 919 h 1302"/>
                <a:gd name="T66" fmla="*/ 998 w 3060"/>
                <a:gd name="T67" fmla="*/ 815 h 1302"/>
                <a:gd name="T68" fmla="*/ 805 w 3060"/>
                <a:gd name="T69" fmla="*/ 706 h 1302"/>
                <a:gd name="T70" fmla="*/ 629 w 3060"/>
                <a:gd name="T71" fmla="*/ 597 h 1302"/>
                <a:gd name="T72" fmla="*/ 470 w 3060"/>
                <a:gd name="T73" fmla="*/ 490 h 1302"/>
                <a:gd name="T74" fmla="*/ 333 w 3060"/>
                <a:gd name="T75" fmla="*/ 387 h 1302"/>
                <a:gd name="T76" fmla="*/ 217 w 3060"/>
                <a:gd name="T77" fmla="*/ 292 h 1302"/>
                <a:gd name="T78" fmla="*/ 124 w 3060"/>
                <a:gd name="T79" fmla="*/ 209 h 1302"/>
                <a:gd name="T80" fmla="*/ 56 w 3060"/>
                <a:gd name="T81" fmla="*/ 137 h 1302"/>
                <a:gd name="T82" fmla="*/ 15 w 3060"/>
                <a:gd name="T83" fmla="*/ 84 h 1302"/>
                <a:gd name="T84" fmla="*/ 0 w 3060"/>
                <a:gd name="T85" fmla="*/ 49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0" h="1302">
                  <a:moveTo>
                    <a:pt x="0" y="49"/>
                  </a:moveTo>
                  <a:lnTo>
                    <a:pt x="2" y="42"/>
                  </a:lnTo>
                  <a:lnTo>
                    <a:pt x="10" y="34"/>
                  </a:lnTo>
                  <a:lnTo>
                    <a:pt x="22" y="27"/>
                  </a:lnTo>
                  <a:lnTo>
                    <a:pt x="38" y="21"/>
                  </a:lnTo>
                  <a:lnTo>
                    <a:pt x="59" y="16"/>
                  </a:lnTo>
                  <a:lnTo>
                    <a:pt x="84" y="12"/>
                  </a:lnTo>
                  <a:lnTo>
                    <a:pt x="113" y="8"/>
                  </a:lnTo>
                  <a:lnTo>
                    <a:pt x="146" y="4"/>
                  </a:lnTo>
                  <a:lnTo>
                    <a:pt x="183" y="2"/>
                  </a:lnTo>
                  <a:lnTo>
                    <a:pt x="223" y="0"/>
                  </a:lnTo>
                  <a:lnTo>
                    <a:pt x="266" y="0"/>
                  </a:lnTo>
                  <a:lnTo>
                    <a:pt x="313" y="0"/>
                  </a:lnTo>
                  <a:lnTo>
                    <a:pt x="363" y="1"/>
                  </a:lnTo>
                  <a:lnTo>
                    <a:pt x="416" y="3"/>
                  </a:lnTo>
                  <a:lnTo>
                    <a:pt x="472" y="8"/>
                  </a:lnTo>
                  <a:lnTo>
                    <a:pt x="530" y="12"/>
                  </a:lnTo>
                  <a:lnTo>
                    <a:pt x="590" y="17"/>
                  </a:lnTo>
                  <a:lnTo>
                    <a:pt x="654" y="24"/>
                  </a:lnTo>
                  <a:lnTo>
                    <a:pt x="719" y="31"/>
                  </a:lnTo>
                  <a:lnTo>
                    <a:pt x="786" y="40"/>
                  </a:lnTo>
                  <a:lnTo>
                    <a:pt x="856" y="51"/>
                  </a:lnTo>
                  <a:lnTo>
                    <a:pt x="926" y="63"/>
                  </a:lnTo>
                  <a:lnTo>
                    <a:pt x="999" y="77"/>
                  </a:lnTo>
                  <a:lnTo>
                    <a:pt x="1074" y="90"/>
                  </a:lnTo>
                  <a:lnTo>
                    <a:pt x="1148" y="106"/>
                  </a:lnTo>
                  <a:lnTo>
                    <a:pt x="1224" y="124"/>
                  </a:lnTo>
                  <a:lnTo>
                    <a:pt x="1301" y="143"/>
                  </a:lnTo>
                  <a:lnTo>
                    <a:pt x="1379" y="163"/>
                  </a:lnTo>
                  <a:lnTo>
                    <a:pt x="1458" y="185"/>
                  </a:lnTo>
                  <a:lnTo>
                    <a:pt x="1537" y="209"/>
                  </a:lnTo>
                  <a:lnTo>
                    <a:pt x="1616" y="234"/>
                  </a:lnTo>
                  <a:lnTo>
                    <a:pt x="1696" y="261"/>
                  </a:lnTo>
                  <a:lnTo>
                    <a:pt x="1774" y="293"/>
                  </a:lnTo>
                  <a:lnTo>
                    <a:pt x="1851" y="325"/>
                  </a:lnTo>
                  <a:lnTo>
                    <a:pt x="1927" y="357"/>
                  </a:lnTo>
                  <a:lnTo>
                    <a:pt x="2001" y="389"/>
                  </a:lnTo>
                  <a:lnTo>
                    <a:pt x="2073" y="420"/>
                  </a:lnTo>
                  <a:lnTo>
                    <a:pt x="2143" y="452"/>
                  </a:lnTo>
                  <a:lnTo>
                    <a:pt x="2211" y="484"/>
                  </a:lnTo>
                  <a:lnTo>
                    <a:pt x="2278" y="515"/>
                  </a:lnTo>
                  <a:lnTo>
                    <a:pt x="2341" y="547"/>
                  </a:lnTo>
                  <a:lnTo>
                    <a:pt x="2403" y="578"/>
                  </a:lnTo>
                  <a:lnTo>
                    <a:pt x="2462" y="608"/>
                  </a:lnTo>
                  <a:lnTo>
                    <a:pt x="2520" y="639"/>
                  </a:lnTo>
                  <a:lnTo>
                    <a:pt x="2574" y="670"/>
                  </a:lnTo>
                  <a:lnTo>
                    <a:pt x="2627" y="700"/>
                  </a:lnTo>
                  <a:lnTo>
                    <a:pt x="2676" y="731"/>
                  </a:lnTo>
                  <a:lnTo>
                    <a:pt x="2724" y="761"/>
                  </a:lnTo>
                  <a:lnTo>
                    <a:pt x="2768" y="791"/>
                  </a:lnTo>
                  <a:lnTo>
                    <a:pt x="2809" y="820"/>
                  </a:lnTo>
                  <a:lnTo>
                    <a:pt x="2848" y="850"/>
                  </a:lnTo>
                  <a:lnTo>
                    <a:pt x="2883" y="879"/>
                  </a:lnTo>
                  <a:lnTo>
                    <a:pt x="2916" y="907"/>
                  </a:lnTo>
                  <a:lnTo>
                    <a:pt x="2946" y="935"/>
                  </a:lnTo>
                  <a:lnTo>
                    <a:pt x="2972" y="963"/>
                  </a:lnTo>
                  <a:lnTo>
                    <a:pt x="2996" y="991"/>
                  </a:lnTo>
                  <a:lnTo>
                    <a:pt x="3015" y="1018"/>
                  </a:lnTo>
                  <a:lnTo>
                    <a:pt x="3031" y="1045"/>
                  </a:lnTo>
                  <a:lnTo>
                    <a:pt x="3044" y="1071"/>
                  </a:lnTo>
                  <a:lnTo>
                    <a:pt x="3053" y="1097"/>
                  </a:lnTo>
                  <a:lnTo>
                    <a:pt x="3058" y="1123"/>
                  </a:lnTo>
                  <a:lnTo>
                    <a:pt x="3060" y="1148"/>
                  </a:lnTo>
                  <a:lnTo>
                    <a:pt x="3058" y="1172"/>
                  </a:lnTo>
                  <a:lnTo>
                    <a:pt x="3052" y="1196"/>
                  </a:lnTo>
                  <a:lnTo>
                    <a:pt x="3038" y="1216"/>
                  </a:lnTo>
                  <a:lnTo>
                    <a:pt x="3021" y="1232"/>
                  </a:lnTo>
                  <a:lnTo>
                    <a:pt x="3001" y="1248"/>
                  </a:lnTo>
                  <a:lnTo>
                    <a:pt x="2977" y="1261"/>
                  </a:lnTo>
                  <a:lnTo>
                    <a:pt x="2950" y="1272"/>
                  </a:lnTo>
                  <a:lnTo>
                    <a:pt x="2921" y="1282"/>
                  </a:lnTo>
                  <a:lnTo>
                    <a:pt x="2888" y="1289"/>
                  </a:lnTo>
                  <a:lnTo>
                    <a:pt x="2852" y="1295"/>
                  </a:lnTo>
                  <a:lnTo>
                    <a:pt x="2814" y="1299"/>
                  </a:lnTo>
                  <a:lnTo>
                    <a:pt x="2773" y="1301"/>
                  </a:lnTo>
                  <a:lnTo>
                    <a:pt x="2730" y="1302"/>
                  </a:lnTo>
                  <a:lnTo>
                    <a:pt x="2683" y="1301"/>
                  </a:lnTo>
                  <a:lnTo>
                    <a:pt x="2634" y="1298"/>
                  </a:lnTo>
                  <a:lnTo>
                    <a:pt x="2584" y="1294"/>
                  </a:lnTo>
                  <a:lnTo>
                    <a:pt x="2530" y="1289"/>
                  </a:lnTo>
                  <a:lnTo>
                    <a:pt x="2474" y="1282"/>
                  </a:lnTo>
                  <a:lnTo>
                    <a:pt x="2417" y="1272"/>
                  </a:lnTo>
                  <a:lnTo>
                    <a:pt x="2357" y="1263"/>
                  </a:lnTo>
                  <a:lnTo>
                    <a:pt x="2295" y="1251"/>
                  </a:lnTo>
                  <a:lnTo>
                    <a:pt x="2232" y="1238"/>
                  </a:lnTo>
                  <a:lnTo>
                    <a:pt x="2166" y="1224"/>
                  </a:lnTo>
                  <a:lnTo>
                    <a:pt x="2099" y="1207"/>
                  </a:lnTo>
                  <a:lnTo>
                    <a:pt x="2031" y="1191"/>
                  </a:lnTo>
                  <a:lnTo>
                    <a:pt x="1961" y="1172"/>
                  </a:lnTo>
                  <a:lnTo>
                    <a:pt x="1889" y="1153"/>
                  </a:lnTo>
                  <a:lnTo>
                    <a:pt x="1817" y="1132"/>
                  </a:lnTo>
                  <a:lnTo>
                    <a:pt x="1743" y="1111"/>
                  </a:lnTo>
                  <a:lnTo>
                    <a:pt x="1668" y="1087"/>
                  </a:lnTo>
                  <a:lnTo>
                    <a:pt x="1591" y="1063"/>
                  </a:lnTo>
                  <a:lnTo>
                    <a:pt x="1513" y="1037"/>
                  </a:lnTo>
                  <a:lnTo>
                    <a:pt x="1435" y="1012"/>
                  </a:lnTo>
                  <a:lnTo>
                    <a:pt x="1357" y="984"/>
                  </a:lnTo>
                  <a:lnTo>
                    <a:pt x="1282" y="952"/>
                  </a:lnTo>
                  <a:lnTo>
                    <a:pt x="1208" y="919"/>
                  </a:lnTo>
                  <a:lnTo>
                    <a:pt x="1136" y="885"/>
                  </a:lnTo>
                  <a:lnTo>
                    <a:pt x="1067" y="850"/>
                  </a:lnTo>
                  <a:lnTo>
                    <a:pt x="998" y="815"/>
                  </a:lnTo>
                  <a:lnTo>
                    <a:pt x="932" y="779"/>
                  </a:lnTo>
                  <a:lnTo>
                    <a:pt x="868" y="742"/>
                  </a:lnTo>
                  <a:lnTo>
                    <a:pt x="805" y="706"/>
                  </a:lnTo>
                  <a:lnTo>
                    <a:pt x="744" y="670"/>
                  </a:lnTo>
                  <a:lnTo>
                    <a:pt x="685" y="633"/>
                  </a:lnTo>
                  <a:lnTo>
                    <a:pt x="629" y="597"/>
                  </a:lnTo>
                  <a:lnTo>
                    <a:pt x="573" y="561"/>
                  </a:lnTo>
                  <a:lnTo>
                    <a:pt x="520" y="525"/>
                  </a:lnTo>
                  <a:lnTo>
                    <a:pt x="470" y="490"/>
                  </a:lnTo>
                  <a:lnTo>
                    <a:pt x="423" y="455"/>
                  </a:lnTo>
                  <a:lnTo>
                    <a:pt x="376" y="421"/>
                  </a:lnTo>
                  <a:lnTo>
                    <a:pt x="333" y="387"/>
                  </a:lnTo>
                  <a:lnTo>
                    <a:pt x="292" y="355"/>
                  </a:lnTo>
                  <a:lnTo>
                    <a:pt x="253" y="323"/>
                  </a:lnTo>
                  <a:lnTo>
                    <a:pt x="217" y="292"/>
                  </a:lnTo>
                  <a:lnTo>
                    <a:pt x="184" y="263"/>
                  </a:lnTo>
                  <a:lnTo>
                    <a:pt x="153" y="235"/>
                  </a:lnTo>
                  <a:lnTo>
                    <a:pt x="124" y="209"/>
                  </a:lnTo>
                  <a:lnTo>
                    <a:pt x="99" y="183"/>
                  </a:lnTo>
                  <a:lnTo>
                    <a:pt x="76" y="159"/>
                  </a:lnTo>
                  <a:lnTo>
                    <a:pt x="56" y="137"/>
                  </a:lnTo>
                  <a:lnTo>
                    <a:pt x="39" y="118"/>
                  </a:lnTo>
                  <a:lnTo>
                    <a:pt x="25" y="99"/>
                  </a:lnTo>
                  <a:lnTo>
                    <a:pt x="15" y="84"/>
                  </a:lnTo>
                  <a:lnTo>
                    <a:pt x="6" y="69"/>
                  </a:lnTo>
                  <a:lnTo>
                    <a:pt x="1" y="5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0" name="Freeform 5"/>
            <p:cNvSpPr>
              <a:spLocks noChangeArrowheads="1"/>
            </p:cNvSpPr>
            <p:nvPr userDrawn="1"/>
          </p:nvSpPr>
          <p:spPr bwMode="auto">
            <a:xfrm>
              <a:off x="4616450" y="1277821"/>
              <a:ext cx="1533525" cy="540648"/>
            </a:xfrm>
            <a:custGeom>
              <a:avLst/>
              <a:gdLst>
                <a:gd name="T0" fmla="*/ 260 w 3395"/>
                <a:gd name="T1" fmla="*/ 235 h 975"/>
                <a:gd name="T2" fmla="*/ 459 w 3395"/>
                <a:gd name="T3" fmla="*/ 201 h 975"/>
                <a:gd name="T4" fmla="*/ 808 w 3395"/>
                <a:gd name="T5" fmla="*/ 101 h 975"/>
                <a:gd name="T6" fmla="*/ 1163 w 3395"/>
                <a:gd name="T7" fmla="*/ 26 h 975"/>
                <a:gd name="T8" fmla="*/ 1392 w 3395"/>
                <a:gd name="T9" fmla="*/ 3 h 975"/>
                <a:gd name="T10" fmla="*/ 1649 w 3395"/>
                <a:gd name="T11" fmla="*/ 2 h 975"/>
                <a:gd name="T12" fmla="*/ 2024 w 3395"/>
                <a:gd name="T13" fmla="*/ 39 h 975"/>
                <a:gd name="T14" fmla="*/ 2439 w 3395"/>
                <a:gd name="T15" fmla="*/ 110 h 975"/>
                <a:gd name="T16" fmla="*/ 2739 w 3395"/>
                <a:gd name="T17" fmla="*/ 185 h 975"/>
                <a:gd name="T18" fmla="*/ 2990 w 3395"/>
                <a:gd name="T19" fmla="*/ 271 h 975"/>
                <a:gd name="T20" fmla="*/ 3198 w 3395"/>
                <a:gd name="T21" fmla="*/ 373 h 975"/>
                <a:gd name="T22" fmla="*/ 3333 w 3395"/>
                <a:gd name="T23" fmla="*/ 484 h 975"/>
                <a:gd name="T24" fmla="*/ 3376 w 3395"/>
                <a:gd name="T25" fmla="*/ 548 h 975"/>
                <a:gd name="T26" fmla="*/ 3394 w 3395"/>
                <a:gd name="T27" fmla="*/ 614 h 975"/>
                <a:gd name="T28" fmla="*/ 3393 w 3395"/>
                <a:gd name="T29" fmla="*/ 660 h 975"/>
                <a:gd name="T30" fmla="*/ 3379 w 3395"/>
                <a:gd name="T31" fmla="*/ 710 h 975"/>
                <a:gd name="T32" fmla="*/ 3340 w 3395"/>
                <a:gd name="T33" fmla="*/ 762 h 975"/>
                <a:gd name="T34" fmla="*/ 3223 w 3395"/>
                <a:gd name="T35" fmla="*/ 837 h 975"/>
                <a:gd name="T36" fmla="*/ 3008 w 3395"/>
                <a:gd name="T37" fmla="*/ 905 h 975"/>
                <a:gd name="T38" fmla="*/ 2753 w 3395"/>
                <a:gd name="T39" fmla="*/ 946 h 975"/>
                <a:gd name="T40" fmla="*/ 2445 w 3395"/>
                <a:gd name="T41" fmla="*/ 971 h 975"/>
                <a:gd name="T42" fmla="*/ 2081 w 3395"/>
                <a:gd name="T43" fmla="*/ 974 h 975"/>
                <a:gd name="T44" fmla="*/ 1647 w 3395"/>
                <a:gd name="T45" fmla="*/ 947 h 975"/>
                <a:gd name="T46" fmla="*/ 1179 w 3395"/>
                <a:gd name="T47" fmla="*/ 885 h 975"/>
                <a:gd name="T48" fmla="*/ 925 w 3395"/>
                <a:gd name="T49" fmla="*/ 836 h 975"/>
                <a:gd name="T50" fmla="*/ 628 w 3395"/>
                <a:gd name="T51" fmla="*/ 759 h 975"/>
                <a:gd name="T52" fmla="*/ 380 w 3395"/>
                <a:gd name="T53" fmla="*/ 672 h 975"/>
                <a:gd name="T54" fmla="*/ 173 w 3395"/>
                <a:gd name="T55" fmla="*/ 566 h 975"/>
                <a:gd name="T56" fmla="*/ 75 w 3395"/>
                <a:gd name="T57" fmla="*/ 485 h 975"/>
                <a:gd name="T58" fmla="*/ 26 w 3395"/>
                <a:gd name="T59" fmla="*/ 422 h 975"/>
                <a:gd name="T60" fmla="*/ 2 w 3395"/>
                <a:gd name="T61" fmla="*/ 356 h 975"/>
                <a:gd name="T62" fmla="*/ 1 w 3395"/>
                <a:gd name="T63" fmla="*/ 307 h 975"/>
                <a:gd name="T64" fmla="*/ 18 w 3395"/>
                <a:gd name="T65" fmla="*/ 259 h 975"/>
                <a:gd name="T66" fmla="*/ 57 w 3395"/>
                <a:gd name="T67" fmla="*/ 230 h 975"/>
                <a:gd name="T68" fmla="*/ 103 w 3395"/>
                <a:gd name="T69" fmla="*/ 226 h 975"/>
                <a:gd name="T70" fmla="*/ 457 w 3395"/>
                <a:gd name="T71" fmla="*/ 377 h 975"/>
                <a:gd name="T72" fmla="*/ 293 w 3395"/>
                <a:gd name="T73" fmla="*/ 405 h 975"/>
                <a:gd name="T74" fmla="*/ 381 w 3395"/>
                <a:gd name="T75" fmla="*/ 485 h 975"/>
                <a:gd name="T76" fmla="*/ 597 w 3395"/>
                <a:gd name="T77" fmla="*/ 569 h 975"/>
                <a:gd name="T78" fmla="*/ 865 w 3395"/>
                <a:gd name="T79" fmla="*/ 645 h 975"/>
                <a:gd name="T80" fmla="*/ 1137 w 3395"/>
                <a:gd name="T81" fmla="*/ 704 h 975"/>
                <a:gd name="T82" fmla="*/ 1586 w 3395"/>
                <a:gd name="T83" fmla="*/ 770 h 975"/>
                <a:gd name="T84" fmla="*/ 2014 w 3395"/>
                <a:gd name="T85" fmla="*/ 800 h 975"/>
                <a:gd name="T86" fmla="*/ 2382 w 3395"/>
                <a:gd name="T87" fmla="*/ 801 h 975"/>
                <a:gd name="T88" fmla="*/ 2683 w 3395"/>
                <a:gd name="T89" fmla="*/ 781 h 975"/>
                <a:gd name="T90" fmla="*/ 2935 w 3395"/>
                <a:gd name="T91" fmla="*/ 745 h 975"/>
                <a:gd name="T92" fmla="*/ 3167 w 3395"/>
                <a:gd name="T93" fmla="*/ 684 h 975"/>
                <a:gd name="T94" fmla="*/ 3220 w 3395"/>
                <a:gd name="T95" fmla="*/ 653 h 975"/>
                <a:gd name="T96" fmla="*/ 3224 w 3395"/>
                <a:gd name="T97" fmla="*/ 620 h 975"/>
                <a:gd name="T98" fmla="*/ 3183 w 3395"/>
                <a:gd name="T99" fmla="*/ 568 h 975"/>
                <a:gd name="T100" fmla="*/ 3068 w 3395"/>
                <a:gd name="T101" fmla="*/ 494 h 975"/>
                <a:gd name="T102" fmla="*/ 2852 w 3395"/>
                <a:gd name="T103" fmla="*/ 401 h 975"/>
                <a:gd name="T104" fmla="*/ 2598 w 3395"/>
                <a:gd name="T105" fmla="*/ 324 h 975"/>
                <a:gd name="T106" fmla="*/ 2284 w 3395"/>
                <a:gd name="T107" fmla="*/ 253 h 975"/>
                <a:gd name="T108" fmla="*/ 1850 w 3395"/>
                <a:gd name="T109" fmla="*/ 191 h 975"/>
                <a:gd name="T110" fmla="*/ 1558 w 3395"/>
                <a:gd name="T111" fmla="*/ 171 h 975"/>
                <a:gd name="T112" fmla="*/ 1325 w 3395"/>
                <a:gd name="T113" fmla="*/ 179 h 975"/>
                <a:gd name="T114" fmla="*/ 962 w 3395"/>
                <a:gd name="T115" fmla="*/ 23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95" h="975">
                  <a:moveTo>
                    <a:pt x="103" y="226"/>
                  </a:moveTo>
                  <a:lnTo>
                    <a:pt x="134" y="231"/>
                  </a:lnTo>
                  <a:lnTo>
                    <a:pt x="166" y="235"/>
                  </a:lnTo>
                  <a:lnTo>
                    <a:pt x="197" y="236"/>
                  </a:lnTo>
                  <a:lnTo>
                    <a:pt x="229" y="236"/>
                  </a:lnTo>
                  <a:lnTo>
                    <a:pt x="260" y="235"/>
                  </a:lnTo>
                  <a:lnTo>
                    <a:pt x="293" y="232"/>
                  </a:lnTo>
                  <a:lnTo>
                    <a:pt x="325" y="228"/>
                  </a:lnTo>
                  <a:lnTo>
                    <a:pt x="358" y="223"/>
                  </a:lnTo>
                  <a:lnTo>
                    <a:pt x="391" y="216"/>
                  </a:lnTo>
                  <a:lnTo>
                    <a:pt x="425" y="209"/>
                  </a:lnTo>
                  <a:lnTo>
                    <a:pt x="459" y="201"/>
                  </a:lnTo>
                  <a:lnTo>
                    <a:pt x="494" y="192"/>
                  </a:lnTo>
                  <a:lnTo>
                    <a:pt x="566" y="171"/>
                  </a:lnTo>
                  <a:lnTo>
                    <a:pt x="641" y="149"/>
                  </a:lnTo>
                  <a:lnTo>
                    <a:pt x="695" y="134"/>
                  </a:lnTo>
                  <a:lnTo>
                    <a:pt x="750" y="117"/>
                  </a:lnTo>
                  <a:lnTo>
                    <a:pt x="808" y="101"/>
                  </a:lnTo>
                  <a:lnTo>
                    <a:pt x="868" y="85"/>
                  </a:lnTo>
                  <a:lnTo>
                    <a:pt x="929" y="71"/>
                  </a:lnTo>
                  <a:lnTo>
                    <a:pt x="993" y="57"/>
                  </a:lnTo>
                  <a:lnTo>
                    <a:pt x="1059" y="43"/>
                  </a:lnTo>
                  <a:lnTo>
                    <a:pt x="1128" y="31"/>
                  </a:lnTo>
                  <a:lnTo>
                    <a:pt x="1163" y="26"/>
                  </a:lnTo>
                  <a:lnTo>
                    <a:pt x="1199" y="21"/>
                  </a:lnTo>
                  <a:lnTo>
                    <a:pt x="1236" y="16"/>
                  </a:lnTo>
                  <a:lnTo>
                    <a:pt x="1274" y="12"/>
                  </a:lnTo>
                  <a:lnTo>
                    <a:pt x="1313" y="8"/>
                  </a:lnTo>
                  <a:lnTo>
                    <a:pt x="1352" y="5"/>
                  </a:lnTo>
                  <a:lnTo>
                    <a:pt x="1392" y="3"/>
                  </a:lnTo>
                  <a:lnTo>
                    <a:pt x="1432" y="1"/>
                  </a:lnTo>
                  <a:lnTo>
                    <a:pt x="1474" y="0"/>
                  </a:lnTo>
                  <a:lnTo>
                    <a:pt x="1517" y="0"/>
                  </a:lnTo>
                  <a:lnTo>
                    <a:pt x="1560" y="0"/>
                  </a:lnTo>
                  <a:lnTo>
                    <a:pt x="1604" y="1"/>
                  </a:lnTo>
                  <a:lnTo>
                    <a:pt x="1649" y="2"/>
                  </a:lnTo>
                  <a:lnTo>
                    <a:pt x="1696" y="5"/>
                  </a:lnTo>
                  <a:lnTo>
                    <a:pt x="1742" y="8"/>
                  </a:lnTo>
                  <a:lnTo>
                    <a:pt x="1790" y="12"/>
                  </a:lnTo>
                  <a:lnTo>
                    <a:pt x="1870" y="21"/>
                  </a:lnTo>
                  <a:lnTo>
                    <a:pt x="1948" y="29"/>
                  </a:lnTo>
                  <a:lnTo>
                    <a:pt x="2024" y="39"/>
                  </a:lnTo>
                  <a:lnTo>
                    <a:pt x="2101" y="49"/>
                  </a:lnTo>
                  <a:lnTo>
                    <a:pt x="2174" y="61"/>
                  </a:lnTo>
                  <a:lnTo>
                    <a:pt x="2246" y="73"/>
                  </a:lnTo>
                  <a:lnTo>
                    <a:pt x="2316" y="85"/>
                  </a:lnTo>
                  <a:lnTo>
                    <a:pt x="2385" y="99"/>
                  </a:lnTo>
                  <a:lnTo>
                    <a:pt x="2439" y="110"/>
                  </a:lnTo>
                  <a:lnTo>
                    <a:pt x="2492" y="122"/>
                  </a:lnTo>
                  <a:lnTo>
                    <a:pt x="2543" y="134"/>
                  </a:lnTo>
                  <a:lnTo>
                    <a:pt x="2595" y="145"/>
                  </a:lnTo>
                  <a:lnTo>
                    <a:pt x="2644" y="159"/>
                  </a:lnTo>
                  <a:lnTo>
                    <a:pt x="2693" y="172"/>
                  </a:lnTo>
                  <a:lnTo>
                    <a:pt x="2739" y="185"/>
                  </a:lnTo>
                  <a:lnTo>
                    <a:pt x="2784" y="199"/>
                  </a:lnTo>
                  <a:lnTo>
                    <a:pt x="2829" y="212"/>
                  </a:lnTo>
                  <a:lnTo>
                    <a:pt x="2872" y="227"/>
                  </a:lnTo>
                  <a:lnTo>
                    <a:pt x="2913" y="241"/>
                  </a:lnTo>
                  <a:lnTo>
                    <a:pt x="2952" y="257"/>
                  </a:lnTo>
                  <a:lnTo>
                    <a:pt x="2990" y="271"/>
                  </a:lnTo>
                  <a:lnTo>
                    <a:pt x="3028" y="286"/>
                  </a:lnTo>
                  <a:lnTo>
                    <a:pt x="3063" y="302"/>
                  </a:lnTo>
                  <a:lnTo>
                    <a:pt x="3095" y="317"/>
                  </a:lnTo>
                  <a:lnTo>
                    <a:pt x="3132" y="335"/>
                  </a:lnTo>
                  <a:lnTo>
                    <a:pt x="3167" y="355"/>
                  </a:lnTo>
                  <a:lnTo>
                    <a:pt x="3198" y="373"/>
                  </a:lnTo>
                  <a:lnTo>
                    <a:pt x="3228" y="393"/>
                  </a:lnTo>
                  <a:lnTo>
                    <a:pt x="3255" y="412"/>
                  </a:lnTo>
                  <a:lnTo>
                    <a:pt x="3281" y="433"/>
                  </a:lnTo>
                  <a:lnTo>
                    <a:pt x="3304" y="453"/>
                  </a:lnTo>
                  <a:lnTo>
                    <a:pt x="3324" y="474"/>
                  </a:lnTo>
                  <a:lnTo>
                    <a:pt x="3333" y="484"/>
                  </a:lnTo>
                  <a:lnTo>
                    <a:pt x="3342" y="495"/>
                  </a:lnTo>
                  <a:lnTo>
                    <a:pt x="3350" y="505"/>
                  </a:lnTo>
                  <a:lnTo>
                    <a:pt x="3357" y="516"/>
                  </a:lnTo>
                  <a:lnTo>
                    <a:pt x="3364" y="527"/>
                  </a:lnTo>
                  <a:lnTo>
                    <a:pt x="3371" y="538"/>
                  </a:lnTo>
                  <a:lnTo>
                    <a:pt x="3376" y="548"/>
                  </a:lnTo>
                  <a:lnTo>
                    <a:pt x="3381" y="560"/>
                  </a:lnTo>
                  <a:lnTo>
                    <a:pt x="3385" y="570"/>
                  </a:lnTo>
                  <a:lnTo>
                    <a:pt x="3388" y="581"/>
                  </a:lnTo>
                  <a:lnTo>
                    <a:pt x="3391" y="593"/>
                  </a:lnTo>
                  <a:lnTo>
                    <a:pt x="3393" y="603"/>
                  </a:lnTo>
                  <a:lnTo>
                    <a:pt x="3394" y="614"/>
                  </a:lnTo>
                  <a:lnTo>
                    <a:pt x="3395" y="626"/>
                  </a:lnTo>
                  <a:lnTo>
                    <a:pt x="3395" y="637"/>
                  </a:lnTo>
                  <a:lnTo>
                    <a:pt x="3394" y="648"/>
                  </a:lnTo>
                  <a:lnTo>
                    <a:pt x="3394" y="652"/>
                  </a:lnTo>
                  <a:lnTo>
                    <a:pt x="3393" y="660"/>
                  </a:lnTo>
                  <a:lnTo>
                    <a:pt x="3392" y="666"/>
                  </a:lnTo>
                  <a:lnTo>
                    <a:pt x="3392" y="673"/>
                  </a:lnTo>
                  <a:lnTo>
                    <a:pt x="3389" y="682"/>
                  </a:lnTo>
                  <a:lnTo>
                    <a:pt x="3387" y="692"/>
                  </a:lnTo>
                  <a:lnTo>
                    <a:pt x="3383" y="701"/>
                  </a:lnTo>
                  <a:lnTo>
                    <a:pt x="3379" y="710"/>
                  </a:lnTo>
                  <a:lnTo>
                    <a:pt x="3375" y="719"/>
                  </a:lnTo>
                  <a:lnTo>
                    <a:pt x="3368" y="728"/>
                  </a:lnTo>
                  <a:lnTo>
                    <a:pt x="3362" y="737"/>
                  </a:lnTo>
                  <a:lnTo>
                    <a:pt x="3356" y="745"/>
                  </a:lnTo>
                  <a:lnTo>
                    <a:pt x="3348" y="753"/>
                  </a:lnTo>
                  <a:lnTo>
                    <a:pt x="3340" y="762"/>
                  </a:lnTo>
                  <a:lnTo>
                    <a:pt x="3331" y="770"/>
                  </a:lnTo>
                  <a:lnTo>
                    <a:pt x="3322" y="778"/>
                  </a:lnTo>
                  <a:lnTo>
                    <a:pt x="3300" y="794"/>
                  </a:lnTo>
                  <a:lnTo>
                    <a:pt x="3278" y="809"/>
                  </a:lnTo>
                  <a:lnTo>
                    <a:pt x="3251" y="824"/>
                  </a:lnTo>
                  <a:lnTo>
                    <a:pt x="3223" y="837"/>
                  </a:lnTo>
                  <a:lnTo>
                    <a:pt x="3192" y="850"/>
                  </a:lnTo>
                  <a:lnTo>
                    <a:pt x="3160" y="863"/>
                  </a:lnTo>
                  <a:lnTo>
                    <a:pt x="3124" y="874"/>
                  </a:lnTo>
                  <a:lnTo>
                    <a:pt x="3087" y="885"/>
                  </a:lnTo>
                  <a:lnTo>
                    <a:pt x="3048" y="896"/>
                  </a:lnTo>
                  <a:lnTo>
                    <a:pt x="3008" y="905"/>
                  </a:lnTo>
                  <a:lnTo>
                    <a:pt x="2969" y="913"/>
                  </a:lnTo>
                  <a:lnTo>
                    <a:pt x="2929" y="920"/>
                  </a:lnTo>
                  <a:lnTo>
                    <a:pt x="2887" y="928"/>
                  </a:lnTo>
                  <a:lnTo>
                    <a:pt x="2844" y="935"/>
                  </a:lnTo>
                  <a:lnTo>
                    <a:pt x="2799" y="941"/>
                  </a:lnTo>
                  <a:lnTo>
                    <a:pt x="2753" y="946"/>
                  </a:lnTo>
                  <a:lnTo>
                    <a:pt x="2704" y="951"/>
                  </a:lnTo>
                  <a:lnTo>
                    <a:pt x="2655" y="957"/>
                  </a:lnTo>
                  <a:lnTo>
                    <a:pt x="2604" y="961"/>
                  </a:lnTo>
                  <a:lnTo>
                    <a:pt x="2553" y="965"/>
                  </a:lnTo>
                  <a:lnTo>
                    <a:pt x="2499" y="968"/>
                  </a:lnTo>
                  <a:lnTo>
                    <a:pt x="2445" y="971"/>
                  </a:lnTo>
                  <a:lnTo>
                    <a:pt x="2389" y="973"/>
                  </a:lnTo>
                  <a:lnTo>
                    <a:pt x="2332" y="974"/>
                  </a:lnTo>
                  <a:lnTo>
                    <a:pt x="2275" y="975"/>
                  </a:lnTo>
                  <a:lnTo>
                    <a:pt x="2216" y="975"/>
                  </a:lnTo>
                  <a:lnTo>
                    <a:pt x="2149" y="975"/>
                  </a:lnTo>
                  <a:lnTo>
                    <a:pt x="2081" y="974"/>
                  </a:lnTo>
                  <a:lnTo>
                    <a:pt x="2011" y="972"/>
                  </a:lnTo>
                  <a:lnTo>
                    <a:pt x="1941" y="969"/>
                  </a:lnTo>
                  <a:lnTo>
                    <a:pt x="1869" y="965"/>
                  </a:lnTo>
                  <a:lnTo>
                    <a:pt x="1796" y="960"/>
                  </a:lnTo>
                  <a:lnTo>
                    <a:pt x="1721" y="954"/>
                  </a:lnTo>
                  <a:lnTo>
                    <a:pt x="1647" y="947"/>
                  </a:lnTo>
                  <a:lnTo>
                    <a:pt x="1566" y="939"/>
                  </a:lnTo>
                  <a:lnTo>
                    <a:pt x="1486" y="930"/>
                  </a:lnTo>
                  <a:lnTo>
                    <a:pt x="1406" y="920"/>
                  </a:lnTo>
                  <a:lnTo>
                    <a:pt x="1329" y="909"/>
                  </a:lnTo>
                  <a:lnTo>
                    <a:pt x="1253" y="898"/>
                  </a:lnTo>
                  <a:lnTo>
                    <a:pt x="1179" y="885"/>
                  </a:lnTo>
                  <a:lnTo>
                    <a:pt x="1106" y="872"/>
                  </a:lnTo>
                  <a:lnTo>
                    <a:pt x="1034" y="859"/>
                  </a:lnTo>
                  <a:lnTo>
                    <a:pt x="980" y="847"/>
                  </a:lnTo>
                  <a:lnTo>
                    <a:pt x="925" y="836"/>
                  </a:lnTo>
                  <a:lnTo>
                    <a:pt x="873" y="824"/>
                  </a:lnTo>
                  <a:lnTo>
                    <a:pt x="821" y="811"/>
                  </a:lnTo>
                  <a:lnTo>
                    <a:pt x="771" y="799"/>
                  </a:lnTo>
                  <a:lnTo>
                    <a:pt x="722" y="785"/>
                  </a:lnTo>
                  <a:lnTo>
                    <a:pt x="674" y="773"/>
                  </a:lnTo>
                  <a:lnTo>
                    <a:pt x="628" y="759"/>
                  </a:lnTo>
                  <a:lnTo>
                    <a:pt x="583" y="745"/>
                  </a:lnTo>
                  <a:lnTo>
                    <a:pt x="539" y="731"/>
                  </a:lnTo>
                  <a:lnTo>
                    <a:pt x="497" y="716"/>
                  </a:lnTo>
                  <a:lnTo>
                    <a:pt x="457" y="702"/>
                  </a:lnTo>
                  <a:lnTo>
                    <a:pt x="417" y="686"/>
                  </a:lnTo>
                  <a:lnTo>
                    <a:pt x="380" y="672"/>
                  </a:lnTo>
                  <a:lnTo>
                    <a:pt x="344" y="657"/>
                  </a:lnTo>
                  <a:lnTo>
                    <a:pt x="310" y="641"/>
                  </a:lnTo>
                  <a:lnTo>
                    <a:pt x="273" y="624"/>
                  </a:lnTo>
                  <a:lnTo>
                    <a:pt x="237" y="605"/>
                  </a:lnTo>
                  <a:lnTo>
                    <a:pt x="204" y="585"/>
                  </a:lnTo>
                  <a:lnTo>
                    <a:pt x="173" y="566"/>
                  </a:lnTo>
                  <a:lnTo>
                    <a:pt x="145" y="546"/>
                  </a:lnTo>
                  <a:lnTo>
                    <a:pt x="119" y="527"/>
                  </a:lnTo>
                  <a:lnTo>
                    <a:pt x="106" y="516"/>
                  </a:lnTo>
                  <a:lnTo>
                    <a:pt x="95" y="506"/>
                  </a:lnTo>
                  <a:lnTo>
                    <a:pt x="85" y="496"/>
                  </a:lnTo>
                  <a:lnTo>
                    <a:pt x="75" y="485"/>
                  </a:lnTo>
                  <a:lnTo>
                    <a:pt x="64" y="475"/>
                  </a:lnTo>
                  <a:lnTo>
                    <a:pt x="55" y="465"/>
                  </a:lnTo>
                  <a:lnTo>
                    <a:pt x="47" y="453"/>
                  </a:lnTo>
                  <a:lnTo>
                    <a:pt x="39" y="443"/>
                  </a:lnTo>
                  <a:lnTo>
                    <a:pt x="32" y="433"/>
                  </a:lnTo>
                  <a:lnTo>
                    <a:pt x="26" y="422"/>
                  </a:lnTo>
                  <a:lnTo>
                    <a:pt x="20" y="411"/>
                  </a:lnTo>
                  <a:lnTo>
                    <a:pt x="16" y="400"/>
                  </a:lnTo>
                  <a:lnTo>
                    <a:pt x="11" y="390"/>
                  </a:lnTo>
                  <a:lnTo>
                    <a:pt x="8" y="378"/>
                  </a:lnTo>
                  <a:lnTo>
                    <a:pt x="4" y="367"/>
                  </a:lnTo>
                  <a:lnTo>
                    <a:pt x="2" y="356"/>
                  </a:lnTo>
                  <a:lnTo>
                    <a:pt x="0" y="345"/>
                  </a:lnTo>
                  <a:lnTo>
                    <a:pt x="0" y="334"/>
                  </a:lnTo>
                  <a:lnTo>
                    <a:pt x="0" y="323"/>
                  </a:lnTo>
                  <a:lnTo>
                    <a:pt x="0" y="311"/>
                  </a:lnTo>
                  <a:lnTo>
                    <a:pt x="1" y="307"/>
                  </a:lnTo>
                  <a:lnTo>
                    <a:pt x="2" y="298"/>
                  </a:lnTo>
                  <a:lnTo>
                    <a:pt x="3" y="289"/>
                  </a:lnTo>
                  <a:lnTo>
                    <a:pt x="7" y="280"/>
                  </a:lnTo>
                  <a:lnTo>
                    <a:pt x="10" y="273"/>
                  </a:lnTo>
                  <a:lnTo>
                    <a:pt x="14" y="266"/>
                  </a:lnTo>
                  <a:lnTo>
                    <a:pt x="18" y="259"/>
                  </a:lnTo>
                  <a:lnTo>
                    <a:pt x="24" y="252"/>
                  </a:lnTo>
                  <a:lnTo>
                    <a:pt x="29" y="246"/>
                  </a:lnTo>
                  <a:lnTo>
                    <a:pt x="35" y="241"/>
                  </a:lnTo>
                  <a:lnTo>
                    <a:pt x="43" y="237"/>
                  </a:lnTo>
                  <a:lnTo>
                    <a:pt x="50" y="233"/>
                  </a:lnTo>
                  <a:lnTo>
                    <a:pt x="57" y="230"/>
                  </a:lnTo>
                  <a:lnTo>
                    <a:pt x="65" y="227"/>
                  </a:lnTo>
                  <a:lnTo>
                    <a:pt x="73" y="226"/>
                  </a:lnTo>
                  <a:lnTo>
                    <a:pt x="82" y="225"/>
                  </a:lnTo>
                  <a:lnTo>
                    <a:pt x="91" y="225"/>
                  </a:lnTo>
                  <a:lnTo>
                    <a:pt x="99" y="225"/>
                  </a:lnTo>
                  <a:lnTo>
                    <a:pt x="103" y="226"/>
                  </a:lnTo>
                  <a:close/>
                  <a:moveTo>
                    <a:pt x="689" y="313"/>
                  </a:moveTo>
                  <a:lnTo>
                    <a:pt x="629" y="331"/>
                  </a:lnTo>
                  <a:lnTo>
                    <a:pt x="570" y="348"/>
                  </a:lnTo>
                  <a:lnTo>
                    <a:pt x="513" y="364"/>
                  </a:lnTo>
                  <a:lnTo>
                    <a:pt x="457" y="377"/>
                  </a:lnTo>
                  <a:lnTo>
                    <a:pt x="429" y="383"/>
                  </a:lnTo>
                  <a:lnTo>
                    <a:pt x="402" y="389"/>
                  </a:lnTo>
                  <a:lnTo>
                    <a:pt x="374" y="394"/>
                  </a:lnTo>
                  <a:lnTo>
                    <a:pt x="347" y="398"/>
                  </a:lnTo>
                  <a:lnTo>
                    <a:pt x="320" y="402"/>
                  </a:lnTo>
                  <a:lnTo>
                    <a:pt x="293" y="405"/>
                  </a:lnTo>
                  <a:lnTo>
                    <a:pt x="266" y="407"/>
                  </a:lnTo>
                  <a:lnTo>
                    <a:pt x="239" y="408"/>
                  </a:lnTo>
                  <a:lnTo>
                    <a:pt x="268" y="427"/>
                  </a:lnTo>
                  <a:lnTo>
                    <a:pt x="302" y="445"/>
                  </a:lnTo>
                  <a:lnTo>
                    <a:pt x="339" y="465"/>
                  </a:lnTo>
                  <a:lnTo>
                    <a:pt x="381" y="485"/>
                  </a:lnTo>
                  <a:lnTo>
                    <a:pt x="413" y="500"/>
                  </a:lnTo>
                  <a:lnTo>
                    <a:pt x="447" y="514"/>
                  </a:lnTo>
                  <a:lnTo>
                    <a:pt x="482" y="529"/>
                  </a:lnTo>
                  <a:lnTo>
                    <a:pt x="518" y="542"/>
                  </a:lnTo>
                  <a:lnTo>
                    <a:pt x="558" y="556"/>
                  </a:lnTo>
                  <a:lnTo>
                    <a:pt x="597" y="569"/>
                  </a:lnTo>
                  <a:lnTo>
                    <a:pt x="638" y="582"/>
                  </a:lnTo>
                  <a:lnTo>
                    <a:pt x="681" y="596"/>
                  </a:lnTo>
                  <a:lnTo>
                    <a:pt x="724" y="608"/>
                  </a:lnTo>
                  <a:lnTo>
                    <a:pt x="770" y="622"/>
                  </a:lnTo>
                  <a:lnTo>
                    <a:pt x="817" y="634"/>
                  </a:lnTo>
                  <a:lnTo>
                    <a:pt x="865" y="645"/>
                  </a:lnTo>
                  <a:lnTo>
                    <a:pt x="914" y="658"/>
                  </a:lnTo>
                  <a:lnTo>
                    <a:pt x="963" y="669"/>
                  </a:lnTo>
                  <a:lnTo>
                    <a:pt x="1015" y="680"/>
                  </a:lnTo>
                  <a:lnTo>
                    <a:pt x="1067" y="691"/>
                  </a:lnTo>
                  <a:lnTo>
                    <a:pt x="1137" y="704"/>
                  </a:lnTo>
                  <a:lnTo>
                    <a:pt x="1210" y="716"/>
                  </a:lnTo>
                  <a:lnTo>
                    <a:pt x="1282" y="729"/>
                  </a:lnTo>
                  <a:lnTo>
                    <a:pt x="1356" y="740"/>
                  </a:lnTo>
                  <a:lnTo>
                    <a:pt x="1431" y="751"/>
                  </a:lnTo>
                  <a:lnTo>
                    <a:pt x="1508" y="761"/>
                  </a:lnTo>
                  <a:lnTo>
                    <a:pt x="1586" y="770"/>
                  </a:lnTo>
                  <a:lnTo>
                    <a:pt x="1664" y="777"/>
                  </a:lnTo>
                  <a:lnTo>
                    <a:pt x="1735" y="783"/>
                  </a:lnTo>
                  <a:lnTo>
                    <a:pt x="1805" y="790"/>
                  </a:lnTo>
                  <a:lnTo>
                    <a:pt x="1875" y="794"/>
                  </a:lnTo>
                  <a:lnTo>
                    <a:pt x="1945" y="798"/>
                  </a:lnTo>
                  <a:lnTo>
                    <a:pt x="2014" y="800"/>
                  </a:lnTo>
                  <a:lnTo>
                    <a:pt x="2082" y="802"/>
                  </a:lnTo>
                  <a:lnTo>
                    <a:pt x="2149" y="803"/>
                  </a:lnTo>
                  <a:lnTo>
                    <a:pt x="2216" y="804"/>
                  </a:lnTo>
                  <a:lnTo>
                    <a:pt x="2273" y="804"/>
                  </a:lnTo>
                  <a:lnTo>
                    <a:pt x="2327" y="803"/>
                  </a:lnTo>
                  <a:lnTo>
                    <a:pt x="2382" y="801"/>
                  </a:lnTo>
                  <a:lnTo>
                    <a:pt x="2435" y="799"/>
                  </a:lnTo>
                  <a:lnTo>
                    <a:pt x="2488" y="797"/>
                  </a:lnTo>
                  <a:lnTo>
                    <a:pt x="2538" y="794"/>
                  </a:lnTo>
                  <a:lnTo>
                    <a:pt x="2589" y="791"/>
                  </a:lnTo>
                  <a:lnTo>
                    <a:pt x="2637" y="786"/>
                  </a:lnTo>
                  <a:lnTo>
                    <a:pt x="2683" y="781"/>
                  </a:lnTo>
                  <a:lnTo>
                    <a:pt x="2730" y="776"/>
                  </a:lnTo>
                  <a:lnTo>
                    <a:pt x="2773" y="771"/>
                  </a:lnTo>
                  <a:lnTo>
                    <a:pt x="2816" y="765"/>
                  </a:lnTo>
                  <a:lnTo>
                    <a:pt x="2858" y="759"/>
                  </a:lnTo>
                  <a:lnTo>
                    <a:pt x="2897" y="752"/>
                  </a:lnTo>
                  <a:lnTo>
                    <a:pt x="2935" y="745"/>
                  </a:lnTo>
                  <a:lnTo>
                    <a:pt x="2971" y="738"/>
                  </a:lnTo>
                  <a:lnTo>
                    <a:pt x="3025" y="726"/>
                  </a:lnTo>
                  <a:lnTo>
                    <a:pt x="3074" y="713"/>
                  </a:lnTo>
                  <a:lnTo>
                    <a:pt x="3116" y="701"/>
                  </a:lnTo>
                  <a:lnTo>
                    <a:pt x="3151" y="690"/>
                  </a:lnTo>
                  <a:lnTo>
                    <a:pt x="3167" y="684"/>
                  </a:lnTo>
                  <a:lnTo>
                    <a:pt x="3180" y="679"/>
                  </a:lnTo>
                  <a:lnTo>
                    <a:pt x="3192" y="674"/>
                  </a:lnTo>
                  <a:lnTo>
                    <a:pt x="3202" y="669"/>
                  </a:lnTo>
                  <a:lnTo>
                    <a:pt x="3210" y="664"/>
                  </a:lnTo>
                  <a:lnTo>
                    <a:pt x="3216" y="659"/>
                  </a:lnTo>
                  <a:lnTo>
                    <a:pt x="3220" y="653"/>
                  </a:lnTo>
                  <a:lnTo>
                    <a:pt x="3222" y="649"/>
                  </a:lnTo>
                  <a:lnTo>
                    <a:pt x="3223" y="646"/>
                  </a:lnTo>
                  <a:lnTo>
                    <a:pt x="3223" y="642"/>
                  </a:lnTo>
                  <a:lnTo>
                    <a:pt x="3223" y="638"/>
                  </a:lnTo>
                  <a:lnTo>
                    <a:pt x="3225" y="628"/>
                  </a:lnTo>
                  <a:lnTo>
                    <a:pt x="3224" y="620"/>
                  </a:lnTo>
                  <a:lnTo>
                    <a:pt x="3221" y="612"/>
                  </a:lnTo>
                  <a:lnTo>
                    <a:pt x="3216" y="604"/>
                  </a:lnTo>
                  <a:lnTo>
                    <a:pt x="3211" y="596"/>
                  </a:lnTo>
                  <a:lnTo>
                    <a:pt x="3203" y="586"/>
                  </a:lnTo>
                  <a:lnTo>
                    <a:pt x="3193" y="577"/>
                  </a:lnTo>
                  <a:lnTo>
                    <a:pt x="3183" y="568"/>
                  </a:lnTo>
                  <a:lnTo>
                    <a:pt x="3171" y="558"/>
                  </a:lnTo>
                  <a:lnTo>
                    <a:pt x="3157" y="548"/>
                  </a:lnTo>
                  <a:lnTo>
                    <a:pt x="3142" y="538"/>
                  </a:lnTo>
                  <a:lnTo>
                    <a:pt x="3125" y="527"/>
                  </a:lnTo>
                  <a:lnTo>
                    <a:pt x="3107" y="516"/>
                  </a:lnTo>
                  <a:lnTo>
                    <a:pt x="3068" y="494"/>
                  </a:lnTo>
                  <a:lnTo>
                    <a:pt x="3022" y="471"/>
                  </a:lnTo>
                  <a:lnTo>
                    <a:pt x="2991" y="458"/>
                  </a:lnTo>
                  <a:lnTo>
                    <a:pt x="2959" y="443"/>
                  </a:lnTo>
                  <a:lnTo>
                    <a:pt x="2925" y="429"/>
                  </a:lnTo>
                  <a:lnTo>
                    <a:pt x="2889" y="415"/>
                  </a:lnTo>
                  <a:lnTo>
                    <a:pt x="2852" y="401"/>
                  </a:lnTo>
                  <a:lnTo>
                    <a:pt x="2813" y="387"/>
                  </a:lnTo>
                  <a:lnTo>
                    <a:pt x="2773" y="374"/>
                  </a:lnTo>
                  <a:lnTo>
                    <a:pt x="2732" y="362"/>
                  </a:lnTo>
                  <a:lnTo>
                    <a:pt x="2689" y="348"/>
                  </a:lnTo>
                  <a:lnTo>
                    <a:pt x="2644" y="336"/>
                  </a:lnTo>
                  <a:lnTo>
                    <a:pt x="2598" y="324"/>
                  </a:lnTo>
                  <a:lnTo>
                    <a:pt x="2552" y="311"/>
                  </a:lnTo>
                  <a:lnTo>
                    <a:pt x="2503" y="300"/>
                  </a:lnTo>
                  <a:lnTo>
                    <a:pt x="2454" y="289"/>
                  </a:lnTo>
                  <a:lnTo>
                    <a:pt x="2403" y="277"/>
                  </a:lnTo>
                  <a:lnTo>
                    <a:pt x="2351" y="267"/>
                  </a:lnTo>
                  <a:lnTo>
                    <a:pt x="2284" y="253"/>
                  </a:lnTo>
                  <a:lnTo>
                    <a:pt x="2215" y="241"/>
                  </a:lnTo>
                  <a:lnTo>
                    <a:pt x="2144" y="230"/>
                  </a:lnTo>
                  <a:lnTo>
                    <a:pt x="2073" y="218"/>
                  </a:lnTo>
                  <a:lnTo>
                    <a:pt x="2000" y="208"/>
                  </a:lnTo>
                  <a:lnTo>
                    <a:pt x="1925" y="199"/>
                  </a:lnTo>
                  <a:lnTo>
                    <a:pt x="1850" y="191"/>
                  </a:lnTo>
                  <a:lnTo>
                    <a:pt x="1774" y="182"/>
                  </a:lnTo>
                  <a:lnTo>
                    <a:pt x="1730" y="178"/>
                  </a:lnTo>
                  <a:lnTo>
                    <a:pt x="1685" y="175"/>
                  </a:lnTo>
                  <a:lnTo>
                    <a:pt x="1642" y="173"/>
                  </a:lnTo>
                  <a:lnTo>
                    <a:pt x="1600" y="172"/>
                  </a:lnTo>
                  <a:lnTo>
                    <a:pt x="1558" y="171"/>
                  </a:lnTo>
                  <a:lnTo>
                    <a:pt x="1518" y="171"/>
                  </a:lnTo>
                  <a:lnTo>
                    <a:pt x="1477" y="171"/>
                  </a:lnTo>
                  <a:lnTo>
                    <a:pt x="1438" y="172"/>
                  </a:lnTo>
                  <a:lnTo>
                    <a:pt x="1400" y="174"/>
                  </a:lnTo>
                  <a:lnTo>
                    <a:pt x="1362" y="176"/>
                  </a:lnTo>
                  <a:lnTo>
                    <a:pt x="1325" y="179"/>
                  </a:lnTo>
                  <a:lnTo>
                    <a:pt x="1289" y="182"/>
                  </a:lnTo>
                  <a:lnTo>
                    <a:pt x="1219" y="191"/>
                  </a:lnTo>
                  <a:lnTo>
                    <a:pt x="1151" y="201"/>
                  </a:lnTo>
                  <a:lnTo>
                    <a:pt x="1086" y="212"/>
                  </a:lnTo>
                  <a:lnTo>
                    <a:pt x="1023" y="225"/>
                  </a:lnTo>
                  <a:lnTo>
                    <a:pt x="962" y="239"/>
                  </a:lnTo>
                  <a:lnTo>
                    <a:pt x="905" y="253"/>
                  </a:lnTo>
                  <a:lnTo>
                    <a:pt x="848" y="268"/>
                  </a:lnTo>
                  <a:lnTo>
                    <a:pt x="793" y="283"/>
                  </a:lnTo>
                  <a:lnTo>
                    <a:pt x="741" y="299"/>
                  </a:lnTo>
                  <a:lnTo>
                    <a:pt x="689" y="31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1" name="Freeform 6"/>
            <p:cNvSpPr>
              <a:spLocks noChangeArrowheads="1"/>
            </p:cNvSpPr>
            <p:nvPr userDrawn="1"/>
          </p:nvSpPr>
          <p:spPr bwMode="auto">
            <a:xfrm>
              <a:off x="4660900" y="1331528"/>
              <a:ext cx="1446213" cy="442185"/>
            </a:xfrm>
            <a:custGeom>
              <a:avLst/>
              <a:gdLst>
                <a:gd name="T0" fmla="*/ 41 w 3225"/>
                <a:gd name="T1" fmla="*/ 231 h 805"/>
                <a:gd name="T2" fmla="*/ 120 w 3225"/>
                <a:gd name="T3" fmla="*/ 238 h 805"/>
                <a:gd name="T4" fmla="*/ 200 w 3225"/>
                <a:gd name="T5" fmla="*/ 234 h 805"/>
                <a:gd name="T6" fmla="*/ 280 w 3225"/>
                <a:gd name="T7" fmla="*/ 223 h 805"/>
                <a:gd name="T8" fmla="*/ 361 w 3225"/>
                <a:gd name="T9" fmla="*/ 207 h 805"/>
                <a:gd name="T10" fmla="*/ 447 w 3225"/>
                <a:gd name="T11" fmla="*/ 185 h 805"/>
                <a:gd name="T12" fmla="*/ 580 w 3225"/>
                <a:gd name="T13" fmla="*/ 147 h 805"/>
                <a:gd name="T14" fmla="*/ 724 w 3225"/>
                <a:gd name="T15" fmla="*/ 105 h 805"/>
                <a:gd name="T16" fmla="*/ 827 w 3225"/>
                <a:gd name="T17" fmla="*/ 78 h 805"/>
                <a:gd name="T18" fmla="*/ 937 w 3225"/>
                <a:gd name="T19" fmla="*/ 53 h 805"/>
                <a:gd name="T20" fmla="*/ 1055 w 3225"/>
                <a:gd name="T21" fmla="*/ 31 h 805"/>
                <a:gd name="T22" fmla="*/ 1180 w 3225"/>
                <a:gd name="T23" fmla="*/ 14 h 805"/>
                <a:gd name="T24" fmla="*/ 1315 w 3225"/>
                <a:gd name="T25" fmla="*/ 4 h 805"/>
                <a:gd name="T26" fmla="*/ 1460 w 3225"/>
                <a:gd name="T27" fmla="*/ 0 h 805"/>
                <a:gd name="T28" fmla="*/ 1615 w 3225"/>
                <a:gd name="T29" fmla="*/ 6 h 805"/>
                <a:gd name="T30" fmla="*/ 1780 w 3225"/>
                <a:gd name="T31" fmla="*/ 21 h 805"/>
                <a:gd name="T32" fmla="*/ 1941 w 3225"/>
                <a:gd name="T33" fmla="*/ 41 h 805"/>
                <a:gd name="T34" fmla="*/ 2097 w 3225"/>
                <a:gd name="T35" fmla="*/ 64 h 805"/>
                <a:gd name="T36" fmla="*/ 2245 w 3225"/>
                <a:gd name="T37" fmla="*/ 90 h 805"/>
                <a:gd name="T38" fmla="*/ 2386 w 3225"/>
                <a:gd name="T39" fmla="*/ 120 h 805"/>
                <a:gd name="T40" fmla="*/ 2519 w 3225"/>
                <a:gd name="T41" fmla="*/ 152 h 805"/>
                <a:gd name="T42" fmla="*/ 2643 w 3225"/>
                <a:gd name="T43" fmla="*/ 186 h 805"/>
                <a:gd name="T44" fmla="*/ 2757 w 3225"/>
                <a:gd name="T45" fmla="*/ 222 h 805"/>
                <a:gd name="T46" fmla="*/ 2860 w 3225"/>
                <a:gd name="T47" fmla="*/ 260 h 805"/>
                <a:gd name="T48" fmla="*/ 2952 w 3225"/>
                <a:gd name="T49" fmla="*/ 299 h 805"/>
                <a:gd name="T50" fmla="*/ 3032 w 3225"/>
                <a:gd name="T51" fmla="*/ 340 h 805"/>
                <a:gd name="T52" fmla="*/ 3099 w 3225"/>
                <a:gd name="T53" fmla="*/ 380 h 805"/>
                <a:gd name="T54" fmla="*/ 3153 w 3225"/>
                <a:gd name="T55" fmla="*/ 422 h 805"/>
                <a:gd name="T56" fmla="*/ 3192 w 3225"/>
                <a:gd name="T57" fmla="*/ 463 h 805"/>
                <a:gd name="T58" fmla="*/ 3216 w 3225"/>
                <a:gd name="T59" fmla="*/ 505 h 805"/>
                <a:gd name="T60" fmla="*/ 3225 w 3225"/>
                <a:gd name="T61" fmla="*/ 545 h 805"/>
                <a:gd name="T62" fmla="*/ 3221 w 3225"/>
                <a:gd name="T63" fmla="*/ 581 h 805"/>
                <a:gd name="T64" fmla="*/ 3203 w 3225"/>
                <a:gd name="T65" fmla="*/ 612 h 805"/>
                <a:gd name="T66" fmla="*/ 3169 w 3225"/>
                <a:gd name="T67" fmla="*/ 641 h 805"/>
                <a:gd name="T68" fmla="*/ 3120 w 3225"/>
                <a:gd name="T69" fmla="*/ 668 h 805"/>
                <a:gd name="T70" fmla="*/ 3056 w 3225"/>
                <a:gd name="T71" fmla="*/ 694 h 805"/>
                <a:gd name="T72" fmla="*/ 2979 w 3225"/>
                <a:gd name="T73" fmla="*/ 718 h 805"/>
                <a:gd name="T74" fmla="*/ 2888 w 3225"/>
                <a:gd name="T75" fmla="*/ 740 h 805"/>
                <a:gd name="T76" fmla="*/ 2786 w 3225"/>
                <a:gd name="T77" fmla="*/ 758 h 805"/>
                <a:gd name="T78" fmla="*/ 2673 w 3225"/>
                <a:gd name="T79" fmla="*/ 775 h 805"/>
                <a:gd name="T80" fmla="*/ 2549 w 3225"/>
                <a:gd name="T81" fmla="*/ 787 h 805"/>
                <a:gd name="T82" fmla="*/ 2417 w 3225"/>
                <a:gd name="T83" fmla="*/ 797 h 805"/>
                <a:gd name="T84" fmla="*/ 2277 w 3225"/>
                <a:gd name="T85" fmla="*/ 802 h 805"/>
                <a:gd name="T86" fmla="*/ 2130 w 3225"/>
                <a:gd name="T87" fmla="*/ 805 h 805"/>
                <a:gd name="T88" fmla="*/ 1975 w 3225"/>
                <a:gd name="T89" fmla="*/ 802 h 805"/>
                <a:gd name="T90" fmla="*/ 1817 w 3225"/>
                <a:gd name="T91" fmla="*/ 796 h 805"/>
                <a:gd name="T92" fmla="*/ 1653 w 3225"/>
                <a:gd name="T93" fmla="*/ 785 h 805"/>
                <a:gd name="T94" fmla="*/ 1487 w 3225"/>
                <a:gd name="T95" fmla="*/ 769 h 805"/>
                <a:gd name="T96" fmla="*/ 1324 w 3225"/>
                <a:gd name="T97" fmla="*/ 750 h 805"/>
                <a:gd name="T98" fmla="*/ 1168 w 3225"/>
                <a:gd name="T99" fmla="*/ 726 h 805"/>
                <a:gd name="T100" fmla="*/ 1016 w 3225"/>
                <a:gd name="T101" fmla="*/ 699 h 805"/>
                <a:gd name="T102" fmla="*/ 872 w 3225"/>
                <a:gd name="T103" fmla="*/ 671 h 805"/>
                <a:gd name="T104" fmla="*/ 736 w 3225"/>
                <a:gd name="T105" fmla="*/ 639 h 805"/>
                <a:gd name="T106" fmla="*/ 610 w 3225"/>
                <a:gd name="T107" fmla="*/ 604 h 805"/>
                <a:gd name="T108" fmla="*/ 491 w 3225"/>
                <a:gd name="T109" fmla="*/ 567 h 805"/>
                <a:gd name="T110" fmla="*/ 384 w 3225"/>
                <a:gd name="T111" fmla="*/ 530 h 805"/>
                <a:gd name="T112" fmla="*/ 288 w 3225"/>
                <a:gd name="T113" fmla="*/ 491 h 805"/>
                <a:gd name="T114" fmla="*/ 205 w 3225"/>
                <a:gd name="T115" fmla="*/ 451 h 805"/>
                <a:gd name="T116" fmla="*/ 134 w 3225"/>
                <a:gd name="T117" fmla="*/ 410 h 805"/>
                <a:gd name="T118" fmla="*/ 77 w 3225"/>
                <a:gd name="T119" fmla="*/ 368 h 805"/>
                <a:gd name="T120" fmla="*/ 36 w 3225"/>
                <a:gd name="T121" fmla="*/ 327 h 805"/>
                <a:gd name="T122" fmla="*/ 9 w 3225"/>
                <a:gd name="T123" fmla="*/ 286 h 805"/>
                <a:gd name="T124" fmla="*/ 0 w 3225"/>
                <a:gd name="T125" fmla="*/ 245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25" h="805">
                  <a:moveTo>
                    <a:pt x="2" y="225"/>
                  </a:moveTo>
                  <a:lnTo>
                    <a:pt x="41" y="231"/>
                  </a:lnTo>
                  <a:lnTo>
                    <a:pt x="81" y="235"/>
                  </a:lnTo>
                  <a:lnTo>
                    <a:pt x="120" y="238"/>
                  </a:lnTo>
                  <a:lnTo>
                    <a:pt x="159" y="237"/>
                  </a:lnTo>
                  <a:lnTo>
                    <a:pt x="200" y="234"/>
                  </a:lnTo>
                  <a:lnTo>
                    <a:pt x="240" y="229"/>
                  </a:lnTo>
                  <a:lnTo>
                    <a:pt x="280" y="223"/>
                  </a:lnTo>
                  <a:lnTo>
                    <a:pt x="320" y="216"/>
                  </a:lnTo>
                  <a:lnTo>
                    <a:pt x="361" y="207"/>
                  </a:lnTo>
                  <a:lnTo>
                    <a:pt x="404" y="196"/>
                  </a:lnTo>
                  <a:lnTo>
                    <a:pt x="447" y="185"/>
                  </a:lnTo>
                  <a:lnTo>
                    <a:pt x="490" y="173"/>
                  </a:lnTo>
                  <a:lnTo>
                    <a:pt x="580" y="147"/>
                  </a:lnTo>
                  <a:lnTo>
                    <a:pt x="674" y="119"/>
                  </a:lnTo>
                  <a:lnTo>
                    <a:pt x="724" y="105"/>
                  </a:lnTo>
                  <a:lnTo>
                    <a:pt x="775" y="91"/>
                  </a:lnTo>
                  <a:lnTo>
                    <a:pt x="827" y="78"/>
                  </a:lnTo>
                  <a:lnTo>
                    <a:pt x="881" y="64"/>
                  </a:lnTo>
                  <a:lnTo>
                    <a:pt x="937" y="53"/>
                  </a:lnTo>
                  <a:lnTo>
                    <a:pt x="995" y="41"/>
                  </a:lnTo>
                  <a:lnTo>
                    <a:pt x="1055" y="31"/>
                  </a:lnTo>
                  <a:lnTo>
                    <a:pt x="1116" y="22"/>
                  </a:lnTo>
                  <a:lnTo>
                    <a:pt x="1180" y="14"/>
                  </a:lnTo>
                  <a:lnTo>
                    <a:pt x="1246" y="8"/>
                  </a:lnTo>
                  <a:lnTo>
                    <a:pt x="1315" y="4"/>
                  </a:lnTo>
                  <a:lnTo>
                    <a:pt x="1386" y="0"/>
                  </a:lnTo>
                  <a:lnTo>
                    <a:pt x="1460" y="0"/>
                  </a:lnTo>
                  <a:lnTo>
                    <a:pt x="1537" y="1"/>
                  </a:lnTo>
                  <a:lnTo>
                    <a:pt x="1615" y="6"/>
                  </a:lnTo>
                  <a:lnTo>
                    <a:pt x="1697" y="13"/>
                  </a:lnTo>
                  <a:lnTo>
                    <a:pt x="1780" y="21"/>
                  </a:lnTo>
                  <a:lnTo>
                    <a:pt x="1862" y="30"/>
                  </a:lnTo>
                  <a:lnTo>
                    <a:pt x="1941" y="41"/>
                  </a:lnTo>
                  <a:lnTo>
                    <a:pt x="2020" y="52"/>
                  </a:lnTo>
                  <a:lnTo>
                    <a:pt x="2097" y="64"/>
                  </a:lnTo>
                  <a:lnTo>
                    <a:pt x="2172" y="77"/>
                  </a:lnTo>
                  <a:lnTo>
                    <a:pt x="2245" y="90"/>
                  </a:lnTo>
                  <a:lnTo>
                    <a:pt x="2317" y="105"/>
                  </a:lnTo>
                  <a:lnTo>
                    <a:pt x="2386" y="120"/>
                  </a:lnTo>
                  <a:lnTo>
                    <a:pt x="2454" y="136"/>
                  </a:lnTo>
                  <a:lnTo>
                    <a:pt x="2519" y="152"/>
                  </a:lnTo>
                  <a:lnTo>
                    <a:pt x="2582" y="168"/>
                  </a:lnTo>
                  <a:lnTo>
                    <a:pt x="2643" y="186"/>
                  </a:lnTo>
                  <a:lnTo>
                    <a:pt x="2701" y="204"/>
                  </a:lnTo>
                  <a:lnTo>
                    <a:pt x="2757" y="222"/>
                  </a:lnTo>
                  <a:lnTo>
                    <a:pt x="2810" y="241"/>
                  </a:lnTo>
                  <a:lnTo>
                    <a:pt x="2860" y="260"/>
                  </a:lnTo>
                  <a:lnTo>
                    <a:pt x="2907" y="280"/>
                  </a:lnTo>
                  <a:lnTo>
                    <a:pt x="2952" y="299"/>
                  </a:lnTo>
                  <a:lnTo>
                    <a:pt x="2994" y="319"/>
                  </a:lnTo>
                  <a:lnTo>
                    <a:pt x="3032" y="340"/>
                  </a:lnTo>
                  <a:lnTo>
                    <a:pt x="3067" y="359"/>
                  </a:lnTo>
                  <a:lnTo>
                    <a:pt x="3099" y="380"/>
                  </a:lnTo>
                  <a:lnTo>
                    <a:pt x="3128" y="400"/>
                  </a:lnTo>
                  <a:lnTo>
                    <a:pt x="3153" y="422"/>
                  </a:lnTo>
                  <a:lnTo>
                    <a:pt x="3174" y="443"/>
                  </a:lnTo>
                  <a:lnTo>
                    <a:pt x="3192" y="463"/>
                  </a:lnTo>
                  <a:lnTo>
                    <a:pt x="3206" y="484"/>
                  </a:lnTo>
                  <a:lnTo>
                    <a:pt x="3216" y="505"/>
                  </a:lnTo>
                  <a:lnTo>
                    <a:pt x="3223" y="525"/>
                  </a:lnTo>
                  <a:lnTo>
                    <a:pt x="3225" y="545"/>
                  </a:lnTo>
                  <a:lnTo>
                    <a:pt x="3223" y="565"/>
                  </a:lnTo>
                  <a:lnTo>
                    <a:pt x="3221" y="581"/>
                  </a:lnTo>
                  <a:lnTo>
                    <a:pt x="3214" y="596"/>
                  </a:lnTo>
                  <a:lnTo>
                    <a:pt x="3203" y="612"/>
                  </a:lnTo>
                  <a:lnTo>
                    <a:pt x="3189" y="626"/>
                  </a:lnTo>
                  <a:lnTo>
                    <a:pt x="3169" y="641"/>
                  </a:lnTo>
                  <a:lnTo>
                    <a:pt x="3146" y="655"/>
                  </a:lnTo>
                  <a:lnTo>
                    <a:pt x="3120" y="668"/>
                  </a:lnTo>
                  <a:lnTo>
                    <a:pt x="3090" y="682"/>
                  </a:lnTo>
                  <a:lnTo>
                    <a:pt x="3056" y="694"/>
                  </a:lnTo>
                  <a:lnTo>
                    <a:pt x="3019" y="707"/>
                  </a:lnTo>
                  <a:lnTo>
                    <a:pt x="2979" y="718"/>
                  </a:lnTo>
                  <a:lnTo>
                    <a:pt x="2934" y="729"/>
                  </a:lnTo>
                  <a:lnTo>
                    <a:pt x="2888" y="740"/>
                  </a:lnTo>
                  <a:lnTo>
                    <a:pt x="2838" y="750"/>
                  </a:lnTo>
                  <a:lnTo>
                    <a:pt x="2786" y="758"/>
                  </a:lnTo>
                  <a:lnTo>
                    <a:pt x="2730" y="766"/>
                  </a:lnTo>
                  <a:lnTo>
                    <a:pt x="2673" y="775"/>
                  </a:lnTo>
                  <a:lnTo>
                    <a:pt x="2612" y="782"/>
                  </a:lnTo>
                  <a:lnTo>
                    <a:pt x="2549" y="787"/>
                  </a:lnTo>
                  <a:lnTo>
                    <a:pt x="2484" y="792"/>
                  </a:lnTo>
                  <a:lnTo>
                    <a:pt x="2417" y="797"/>
                  </a:lnTo>
                  <a:lnTo>
                    <a:pt x="2348" y="800"/>
                  </a:lnTo>
                  <a:lnTo>
                    <a:pt x="2277" y="802"/>
                  </a:lnTo>
                  <a:lnTo>
                    <a:pt x="2204" y="805"/>
                  </a:lnTo>
                  <a:lnTo>
                    <a:pt x="2130" y="805"/>
                  </a:lnTo>
                  <a:lnTo>
                    <a:pt x="2054" y="805"/>
                  </a:lnTo>
                  <a:lnTo>
                    <a:pt x="1975" y="802"/>
                  </a:lnTo>
                  <a:lnTo>
                    <a:pt x="1897" y="799"/>
                  </a:lnTo>
                  <a:lnTo>
                    <a:pt x="1817" y="796"/>
                  </a:lnTo>
                  <a:lnTo>
                    <a:pt x="1735" y="791"/>
                  </a:lnTo>
                  <a:lnTo>
                    <a:pt x="1653" y="785"/>
                  </a:lnTo>
                  <a:lnTo>
                    <a:pt x="1571" y="778"/>
                  </a:lnTo>
                  <a:lnTo>
                    <a:pt x="1487" y="769"/>
                  </a:lnTo>
                  <a:lnTo>
                    <a:pt x="1406" y="759"/>
                  </a:lnTo>
                  <a:lnTo>
                    <a:pt x="1324" y="750"/>
                  </a:lnTo>
                  <a:lnTo>
                    <a:pt x="1246" y="739"/>
                  </a:lnTo>
                  <a:lnTo>
                    <a:pt x="1168" y="726"/>
                  </a:lnTo>
                  <a:lnTo>
                    <a:pt x="1092" y="713"/>
                  </a:lnTo>
                  <a:lnTo>
                    <a:pt x="1016" y="699"/>
                  </a:lnTo>
                  <a:lnTo>
                    <a:pt x="943" y="685"/>
                  </a:lnTo>
                  <a:lnTo>
                    <a:pt x="872" y="671"/>
                  </a:lnTo>
                  <a:lnTo>
                    <a:pt x="803" y="654"/>
                  </a:lnTo>
                  <a:lnTo>
                    <a:pt x="736" y="639"/>
                  </a:lnTo>
                  <a:lnTo>
                    <a:pt x="671" y="621"/>
                  </a:lnTo>
                  <a:lnTo>
                    <a:pt x="610" y="604"/>
                  </a:lnTo>
                  <a:lnTo>
                    <a:pt x="549" y="586"/>
                  </a:lnTo>
                  <a:lnTo>
                    <a:pt x="491" y="567"/>
                  </a:lnTo>
                  <a:lnTo>
                    <a:pt x="437" y="549"/>
                  </a:lnTo>
                  <a:lnTo>
                    <a:pt x="384" y="530"/>
                  </a:lnTo>
                  <a:lnTo>
                    <a:pt x="335" y="511"/>
                  </a:lnTo>
                  <a:lnTo>
                    <a:pt x="288" y="491"/>
                  </a:lnTo>
                  <a:lnTo>
                    <a:pt x="245" y="471"/>
                  </a:lnTo>
                  <a:lnTo>
                    <a:pt x="205" y="451"/>
                  </a:lnTo>
                  <a:lnTo>
                    <a:pt x="168" y="430"/>
                  </a:lnTo>
                  <a:lnTo>
                    <a:pt x="134" y="410"/>
                  </a:lnTo>
                  <a:lnTo>
                    <a:pt x="104" y="389"/>
                  </a:lnTo>
                  <a:lnTo>
                    <a:pt x="77" y="368"/>
                  </a:lnTo>
                  <a:lnTo>
                    <a:pt x="54" y="348"/>
                  </a:lnTo>
                  <a:lnTo>
                    <a:pt x="36" y="327"/>
                  </a:lnTo>
                  <a:lnTo>
                    <a:pt x="20" y="307"/>
                  </a:lnTo>
                  <a:lnTo>
                    <a:pt x="9" y="286"/>
                  </a:lnTo>
                  <a:lnTo>
                    <a:pt x="3" y="265"/>
                  </a:lnTo>
                  <a:lnTo>
                    <a:pt x="0" y="245"/>
                  </a:lnTo>
                  <a:lnTo>
                    <a:pt x="2" y="22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2" name="Freeform 7"/>
            <p:cNvSpPr>
              <a:spLocks noChangeArrowheads="1"/>
            </p:cNvSpPr>
            <p:nvPr userDrawn="1"/>
          </p:nvSpPr>
          <p:spPr bwMode="auto">
            <a:xfrm>
              <a:off x="5192713" y="746124"/>
              <a:ext cx="1006475" cy="984623"/>
            </a:xfrm>
            <a:custGeom>
              <a:avLst/>
              <a:gdLst>
                <a:gd name="T0" fmla="*/ 384 w 2241"/>
                <a:gd name="T1" fmla="*/ 59 h 1772"/>
                <a:gd name="T2" fmla="*/ 652 w 2241"/>
                <a:gd name="T3" fmla="*/ 122 h 1772"/>
                <a:gd name="T4" fmla="*/ 858 w 2241"/>
                <a:gd name="T5" fmla="*/ 190 h 1772"/>
                <a:gd name="T6" fmla="*/ 961 w 2241"/>
                <a:gd name="T7" fmla="*/ 240 h 1772"/>
                <a:gd name="T8" fmla="*/ 1158 w 2241"/>
                <a:gd name="T9" fmla="*/ 369 h 1772"/>
                <a:gd name="T10" fmla="*/ 1417 w 2241"/>
                <a:gd name="T11" fmla="*/ 557 h 1772"/>
                <a:gd name="T12" fmla="*/ 1694 w 2241"/>
                <a:gd name="T13" fmla="*/ 779 h 1772"/>
                <a:gd name="T14" fmla="*/ 1953 w 2241"/>
                <a:gd name="T15" fmla="*/ 1023 h 1772"/>
                <a:gd name="T16" fmla="*/ 2072 w 2241"/>
                <a:gd name="T17" fmla="*/ 1157 h 1772"/>
                <a:gd name="T18" fmla="*/ 2170 w 2241"/>
                <a:gd name="T19" fmla="*/ 1297 h 1772"/>
                <a:gd name="T20" fmla="*/ 2230 w 2241"/>
                <a:gd name="T21" fmla="*/ 1437 h 1772"/>
                <a:gd name="T22" fmla="*/ 2241 w 2241"/>
                <a:gd name="T23" fmla="*/ 1504 h 1772"/>
                <a:gd name="T24" fmla="*/ 2237 w 2241"/>
                <a:gd name="T25" fmla="*/ 1566 h 1772"/>
                <a:gd name="T26" fmla="*/ 2216 w 2241"/>
                <a:gd name="T27" fmla="*/ 1625 h 1772"/>
                <a:gd name="T28" fmla="*/ 2175 w 2241"/>
                <a:gd name="T29" fmla="*/ 1683 h 1772"/>
                <a:gd name="T30" fmla="*/ 2126 w 2241"/>
                <a:gd name="T31" fmla="*/ 1722 h 1772"/>
                <a:gd name="T32" fmla="*/ 2057 w 2241"/>
                <a:gd name="T33" fmla="*/ 1751 h 1772"/>
                <a:gd name="T34" fmla="*/ 1907 w 2241"/>
                <a:gd name="T35" fmla="*/ 1772 h 1772"/>
                <a:gd name="T36" fmla="*/ 1725 w 2241"/>
                <a:gd name="T37" fmla="*/ 1753 h 1772"/>
                <a:gd name="T38" fmla="*/ 1533 w 2241"/>
                <a:gd name="T39" fmla="*/ 1701 h 1772"/>
                <a:gd name="T40" fmla="*/ 1329 w 2241"/>
                <a:gd name="T41" fmla="*/ 1615 h 1772"/>
                <a:gd name="T42" fmla="*/ 1122 w 2241"/>
                <a:gd name="T43" fmla="*/ 1496 h 1772"/>
                <a:gd name="T44" fmla="*/ 942 w 2241"/>
                <a:gd name="T45" fmla="*/ 1358 h 1772"/>
                <a:gd name="T46" fmla="*/ 785 w 2241"/>
                <a:gd name="T47" fmla="*/ 1206 h 1772"/>
                <a:gd name="T48" fmla="*/ 453 w 2241"/>
                <a:gd name="T49" fmla="*/ 828 h 1772"/>
                <a:gd name="T50" fmla="*/ 251 w 2241"/>
                <a:gd name="T51" fmla="*/ 550 h 1772"/>
                <a:gd name="T52" fmla="*/ 68 w 2241"/>
                <a:gd name="T53" fmla="*/ 234 h 1772"/>
                <a:gd name="T54" fmla="*/ 1 w 2241"/>
                <a:gd name="T55" fmla="*/ 102 h 1772"/>
                <a:gd name="T56" fmla="*/ 4 w 2241"/>
                <a:gd name="T57" fmla="*/ 61 h 1772"/>
                <a:gd name="T58" fmla="*/ 24 w 2241"/>
                <a:gd name="T59" fmla="*/ 26 h 1772"/>
                <a:gd name="T60" fmla="*/ 59 w 2241"/>
                <a:gd name="T61" fmla="*/ 4 h 1772"/>
                <a:gd name="T62" fmla="*/ 95 w 2241"/>
                <a:gd name="T63" fmla="*/ 1 h 1772"/>
                <a:gd name="T64" fmla="*/ 495 w 2241"/>
                <a:gd name="T65" fmla="*/ 259 h 1772"/>
                <a:gd name="T66" fmla="*/ 295 w 2241"/>
                <a:gd name="T67" fmla="*/ 215 h 1772"/>
                <a:gd name="T68" fmla="*/ 372 w 2241"/>
                <a:gd name="T69" fmla="*/ 421 h 1772"/>
                <a:gd name="T70" fmla="*/ 534 w 2241"/>
                <a:gd name="T71" fmla="*/ 656 h 1772"/>
                <a:gd name="T72" fmla="*/ 776 w 2241"/>
                <a:gd name="T73" fmla="*/ 940 h 1772"/>
                <a:gd name="T74" fmla="*/ 995 w 2241"/>
                <a:gd name="T75" fmla="*/ 1176 h 1772"/>
                <a:gd name="T76" fmla="*/ 1143 w 2241"/>
                <a:gd name="T77" fmla="*/ 1300 h 1772"/>
                <a:gd name="T78" fmla="*/ 1329 w 2241"/>
                <a:gd name="T79" fmla="*/ 1423 h 1772"/>
                <a:gd name="T80" fmla="*/ 1515 w 2241"/>
                <a:gd name="T81" fmla="*/ 1512 h 1772"/>
                <a:gd name="T82" fmla="*/ 1690 w 2241"/>
                <a:gd name="T83" fmla="*/ 1570 h 1772"/>
                <a:gd name="T84" fmla="*/ 1834 w 2241"/>
                <a:gd name="T85" fmla="*/ 1598 h 1772"/>
                <a:gd name="T86" fmla="*/ 1948 w 2241"/>
                <a:gd name="T87" fmla="*/ 1602 h 1772"/>
                <a:gd name="T88" fmla="*/ 2027 w 2241"/>
                <a:gd name="T89" fmla="*/ 1582 h 1772"/>
                <a:gd name="T90" fmla="*/ 2055 w 2241"/>
                <a:gd name="T91" fmla="*/ 1560 h 1772"/>
                <a:gd name="T92" fmla="*/ 2062 w 2241"/>
                <a:gd name="T93" fmla="*/ 1550 h 1772"/>
                <a:gd name="T94" fmla="*/ 2070 w 2241"/>
                <a:gd name="T95" fmla="*/ 1494 h 1772"/>
                <a:gd name="T96" fmla="*/ 2043 w 2241"/>
                <a:gd name="T97" fmla="*/ 1419 h 1772"/>
                <a:gd name="T98" fmla="*/ 1988 w 2241"/>
                <a:gd name="T99" fmla="*/ 1330 h 1772"/>
                <a:gd name="T100" fmla="*/ 1897 w 2241"/>
                <a:gd name="T101" fmla="*/ 1213 h 1772"/>
                <a:gd name="T102" fmla="*/ 1640 w 2241"/>
                <a:gd name="T103" fmla="*/ 960 h 1772"/>
                <a:gd name="T104" fmla="*/ 1368 w 2241"/>
                <a:gd name="T105" fmla="*/ 735 h 1772"/>
                <a:gd name="T106" fmla="*/ 1113 w 2241"/>
                <a:gd name="T107" fmla="*/ 545 h 1772"/>
                <a:gd name="T108" fmla="*/ 909 w 2241"/>
                <a:gd name="T109" fmla="*/ 409 h 1772"/>
                <a:gd name="T110" fmla="*/ 756 w 2241"/>
                <a:gd name="T111" fmla="*/ 334 h 1772"/>
                <a:gd name="T112" fmla="*/ 563 w 2241"/>
                <a:gd name="T113" fmla="*/ 275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41" h="1772">
                  <a:moveTo>
                    <a:pt x="102" y="1"/>
                  </a:moveTo>
                  <a:lnTo>
                    <a:pt x="180" y="16"/>
                  </a:lnTo>
                  <a:lnTo>
                    <a:pt x="252" y="32"/>
                  </a:lnTo>
                  <a:lnTo>
                    <a:pt x="320" y="45"/>
                  </a:lnTo>
                  <a:lnTo>
                    <a:pt x="384" y="59"/>
                  </a:lnTo>
                  <a:lnTo>
                    <a:pt x="443" y="72"/>
                  </a:lnTo>
                  <a:lnTo>
                    <a:pt x="500" y="85"/>
                  </a:lnTo>
                  <a:lnTo>
                    <a:pt x="554" y="97"/>
                  </a:lnTo>
                  <a:lnTo>
                    <a:pt x="604" y="108"/>
                  </a:lnTo>
                  <a:lnTo>
                    <a:pt x="652" y="122"/>
                  </a:lnTo>
                  <a:lnTo>
                    <a:pt x="698" y="134"/>
                  </a:lnTo>
                  <a:lnTo>
                    <a:pt x="741" y="147"/>
                  </a:lnTo>
                  <a:lnTo>
                    <a:pt x="782" y="161"/>
                  </a:lnTo>
                  <a:lnTo>
                    <a:pt x="820" y="174"/>
                  </a:lnTo>
                  <a:lnTo>
                    <a:pt x="858" y="190"/>
                  </a:lnTo>
                  <a:lnTo>
                    <a:pt x="894" y="205"/>
                  </a:lnTo>
                  <a:lnTo>
                    <a:pt x="928" y="222"/>
                  </a:lnTo>
                  <a:lnTo>
                    <a:pt x="933" y="224"/>
                  </a:lnTo>
                  <a:lnTo>
                    <a:pt x="961" y="240"/>
                  </a:lnTo>
                  <a:lnTo>
                    <a:pt x="993" y="261"/>
                  </a:lnTo>
                  <a:lnTo>
                    <a:pt x="1029" y="283"/>
                  </a:lnTo>
                  <a:lnTo>
                    <a:pt x="1070" y="309"/>
                  </a:lnTo>
                  <a:lnTo>
                    <a:pt x="1113" y="338"/>
                  </a:lnTo>
                  <a:lnTo>
                    <a:pt x="1158" y="369"/>
                  </a:lnTo>
                  <a:lnTo>
                    <a:pt x="1207" y="402"/>
                  </a:lnTo>
                  <a:lnTo>
                    <a:pt x="1257" y="438"/>
                  </a:lnTo>
                  <a:lnTo>
                    <a:pt x="1309" y="475"/>
                  </a:lnTo>
                  <a:lnTo>
                    <a:pt x="1362" y="515"/>
                  </a:lnTo>
                  <a:lnTo>
                    <a:pt x="1417" y="557"/>
                  </a:lnTo>
                  <a:lnTo>
                    <a:pt x="1472" y="599"/>
                  </a:lnTo>
                  <a:lnTo>
                    <a:pt x="1528" y="642"/>
                  </a:lnTo>
                  <a:lnTo>
                    <a:pt x="1584" y="688"/>
                  </a:lnTo>
                  <a:lnTo>
                    <a:pt x="1639" y="733"/>
                  </a:lnTo>
                  <a:lnTo>
                    <a:pt x="1694" y="779"/>
                  </a:lnTo>
                  <a:lnTo>
                    <a:pt x="1755" y="833"/>
                  </a:lnTo>
                  <a:lnTo>
                    <a:pt x="1814" y="887"/>
                  </a:lnTo>
                  <a:lnTo>
                    <a:pt x="1872" y="941"/>
                  </a:lnTo>
                  <a:lnTo>
                    <a:pt x="1928" y="996"/>
                  </a:lnTo>
                  <a:lnTo>
                    <a:pt x="1953" y="1023"/>
                  </a:lnTo>
                  <a:lnTo>
                    <a:pt x="1979" y="1050"/>
                  </a:lnTo>
                  <a:lnTo>
                    <a:pt x="2004" y="1077"/>
                  </a:lnTo>
                  <a:lnTo>
                    <a:pt x="2027" y="1104"/>
                  </a:lnTo>
                  <a:lnTo>
                    <a:pt x="2050" y="1131"/>
                  </a:lnTo>
                  <a:lnTo>
                    <a:pt x="2072" y="1157"/>
                  </a:lnTo>
                  <a:lnTo>
                    <a:pt x="2092" y="1183"/>
                  </a:lnTo>
                  <a:lnTo>
                    <a:pt x="2112" y="1209"/>
                  </a:lnTo>
                  <a:lnTo>
                    <a:pt x="2133" y="1239"/>
                  </a:lnTo>
                  <a:lnTo>
                    <a:pt x="2152" y="1268"/>
                  </a:lnTo>
                  <a:lnTo>
                    <a:pt x="2170" y="1297"/>
                  </a:lnTo>
                  <a:lnTo>
                    <a:pt x="2186" y="1326"/>
                  </a:lnTo>
                  <a:lnTo>
                    <a:pt x="2199" y="1355"/>
                  </a:lnTo>
                  <a:lnTo>
                    <a:pt x="2212" y="1382"/>
                  </a:lnTo>
                  <a:lnTo>
                    <a:pt x="2222" y="1410"/>
                  </a:lnTo>
                  <a:lnTo>
                    <a:pt x="2230" y="1437"/>
                  </a:lnTo>
                  <a:lnTo>
                    <a:pt x="2233" y="1451"/>
                  </a:lnTo>
                  <a:lnTo>
                    <a:pt x="2236" y="1464"/>
                  </a:lnTo>
                  <a:lnTo>
                    <a:pt x="2238" y="1477"/>
                  </a:lnTo>
                  <a:lnTo>
                    <a:pt x="2240" y="1491"/>
                  </a:lnTo>
                  <a:lnTo>
                    <a:pt x="2241" y="1504"/>
                  </a:lnTo>
                  <a:lnTo>
                    <a:pt x="2241" y="1516"/>
                  </a:lnTo>
                  <a:lnTo>
                    <a:pt x="2241" y="1529"/>
                  </a:lnTo>
                  <a:lnTo>
                    <a:pt x="2240" y="1541"/>
                  </a:lnTo>
                  <a:lnTo>
                    <a:pt x="2239" y="1553"/>
                  </a:lnTo>
                  <a:lnTo>
                    <a:pt x="2237" y="1566"/>
                  </a:lnTo>
                  <a:lnTo>
                    <a:pt x="2233" y="1578"/>
                  </a:lnTo>
                  <a:lnTo>
                    <a:pt x="2230" y="1590"/>
                  </a:lnTo>
                  <a:lnTo>
                    <a:pt x="2226" y="1602"/>
                  </a:lnTo>
                  <a:lnTo>
                    <a:pt x="2222" y="1613"/>
                  </a:lnTo>
                  <a:lnTo>
                    <a:pt x="2216" y="1625"/>
                  </a:lnTo>
                  <a:lnTo>
                    <a:pt x="2211" y="1636"/>
                  </a:lnTo>
                  <a:lnTo>
                    <a:pt x="2207" y="1641"/>
                  </a:lnTo>
                  <a:lnTo>
                    <a:pt x="2196" y="1657"/>
                  </a:lnTo>
                  <a:lnTo>
                    <a:pt x="2185" y="1671"/>
                  </a:lnTo>
                  <a:lnTo>
                    <a:pt x="2175" y="1683"/>
                  </a:lnTo>
                  <a:lnTo>
                    <a:pt x="2162" y="1695"/>
                  </a:lnTo>
                  <a:lnTo>
                    <a:pt x="2154" y="1703"/>
                  </a:lnTo>
                  <a:lnTo>
                    <a:pt x="2146" y="1709"/>
                  </a:lnTo>
                  <a:lnTo>
                    <a:pt x="2136" y="1716"/>
                  </a:lnTo>
                  <a:lnTo>
                    <a:pt x="2126" y="1722"/>
                  </a:lnTo>
                  <a:lnTo>
                    <a:pt x="2116" y="1728"/>
                  </a:lnTo>
                  <a:lnTo>
                    <a:pt x="2105" y="1733"/>
                  </a:lnTo>
                  <a:lnTo>
                    <a:pt x="2093" y="1739"/>
                  </a:lnTo>
                  <a:lnTo>
                    <a:pt x="2082" y="1743"/>
                  </a:lnTo>
                  <a:lnTo>
                    <a:pt x="2057" y="1751"/>
                  </a:lnTo>
                  <a:lnTo>
                    <a:pt x="2030" y="1759"/>
                  </a:lnTo>
                  <a:lnTo>
                    <a:pt x="2002" y="1764"/>
                  </a:lnTo>
                  <a:lnTo>
                    <a:pt x="1972" y="1768"/>
                  </a:lnTo>
                  <a:lnTo>
                    <a:pt x="1940" y="1771"/>
                  </a:lnTo>
                  <a:lnTo>
                    <a:pt x="1907" y="1772"/>
                  </a:lnTo>
                  <a:lnTo>
                    <a:pt x="1873" y="1771"/>
                  </a:lnTo>
                  <a:lnTo>
                    <a:pt x="1838" y="1769"/>
                  </a:lnTo>
                  <a:lnTo>
                    <a:pt x="1801" y="1766"/>
                  </a:lnTo>
                  <a:lnTo>
                    <a:pt x="1764" y="1761"/>
                  </a:lnTo>
                  <a:lnTo>
                    <a:pt x="1725" y="1753"/>
                  </a:lnTo>
                  <a:lnTo>
                    <a:pt x="1686" y="1745"/>
                  </a:lnTo>
                  <a:lnTo>
                    <a:pt x="1648" y="1737"/>
                  </a:lnTo>
                  <a:lnTo>
                    <a:pt x="1610" y="1726"/>
                  </a:lnTo>
                  <a:lnTo>
                    <a:pt x="1572" y="1714"/>
                  </a:lnTo>
                  <a:lnTo>
                    <a:pt x="1533" y="1701"/>
                  </a:lnTo>
                  <a:lnTo>
                    <a:pt x="1493" y="1687"/>
                  </a:lnTo>
                  <a:lnTo>
                    <a:pt x="1453" y="1671"/>
                  </a:lnTo>
                  <a:lnTo>
                    <a:pt x="1412" y="1655"/>
                  </a:lnTo>
                  <a:lnTo>
                    <a:pt x="1371" y="1636"/>
                  </a:lnTo>
                  <a:lnTo>
                    <a:pt x="1329" y="1615"/>
                  </a:lnTo>
                  <a:lnTo>
                    <a:pt x="1288" y="1595"/>
                  </a:lnTo>
                  <a:lnTo>
                    <a:pt x="1247" y="1572"/>
                  </a:lnTo>
                  <a:lnTo>
                    <a:pt x="1206" y="1547"/>
                  </a:lnTo>
                  <a:lnTo>
                    <a:pt x="1163" y="1523"/>
                  </a:lnTo>
                  <a:lnTo>
                    <a:pt x="1122" y="1496"/>
                  </a:lnTo>
                  <a:lnTo>
                    <a:pt x="1081" y="1467"/>
                  </a:lnTo>
                  <a:lnTo>
                    <a:pt x="1040" y="1437"/>
                  </a:lnTo>
                  <a:lnTo>
                    <a:pt x="1008" y="1411"/>
                  </a:lnTo>
                  <a:lnTo>
                    <a:pt x="975" y="1385"/>
                  </a:lnTo>
                  <a:lnTo>
                    <a:pt x="942" y="1358"/>
                  </a:lnTo>
                  <a:lnTo>
                    <a:pt x="910" y="1330"/>
                  </a:lnTo>
                  <a:lnTo>
                    <a:pt x="878" y="1300"/>
                  </a:lnTo>
                  <a:lnTo>
                    <a:pt x="847" y="1270"/>
                  </a:lnTo>
                  <a:lnTo>
                    <a:pt x="816" y="1238"/>
                  </a:lnTo>
                  <a:lnTo>
                    <a:pt x="785" y="1206"/>
                  </a:lnTo>
                  <a:lnTo>
                    <a:pt x="703" y="1115"/>
                  </a:lnTo>
                  <a:lnTo>
                    <a:pt x="630" y="1033"/>
                  </a:lnTo>
                  <a:lnTo>
                    <a:pt x="564" y="959"/>
                  </a:lnTo>
                  <a:lnTo>
                    <a:pt x="505" y="891"/>
                  </a:lnTo>
                  <a:lnTo>
                    <a:pt x="453" y="828"/>
                  </a:lnTo>
                  <a:lnTo>
                    <a:pt x="405" y="769"/>
                  </a:lnTo>
                  <a:lnTo>
                    <a:pt x="363" y="712"/>
                  </a:lnTo>
                  <a:lnTo>
                    <a:pt x="323" y="659"/>
                  </a:lnTo>
                  <a:lnTo>
                    <a:pt x="286" y="605"/>
                  </a:lnTo>
                  <a:lnTo>
                    <a:pt x="251" y="550"/>
                  </a:lnTo>
                  <a:lnTo>
                    <a:pt x="217" y="495"/>
                  </a:lnTo>
                  <a:lnTo>
                    <a:pt x="182" y="437"/>
                  </a:lnTo>
                  <a:lnTo>
                    <a:pt x="147" y="374"/>
                  </a:lnTo>
                  <a:lnTo>
                    <a:pt x="110" y="307"/>
                  </a:lnTo>
                  <a:lnTo>
                    <a:pt x="68" y="234"/>
                  </a:lnTo>
                  <a:lnTo>
                    <a:pt x="25" y="153"/>
                  </a:lnTo>
                  <a:lnTo>
                    <a:pt x="11" y="127"/>
                  </a:lnTo>
                  <a:lnTo>
                    <a:pt x="7" y="119"/>
                  </a:lnTo>
                  <a:lnTo>
                    <a:pt x="4" y="110"/>
                  </a:lnTo>
                  <a:lnTo>
                    <a:pt x="1" y="102"/>
                  </a:lnTo>
                  <a:lnTo>
                    <a:pt x="0" y="94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4" y="61"/>
                  </a:lnTo>
                  <a:lnTo>
                    <a:pt x="7" y="54"/>
                  </a:lnTo>
                  <a:lnTo>
                    <a:pt x="10" y="46"/>
                  </a:lnTo>
                  <a:lnTo>
                    <a:pt x="14" y="39"/>
                  </a:lnTo>
                  <a:lnTo>
                    <a:pt x="19" y="32"/>
                  </a:lnTo>
                  <a:lnTo>
                    <a:pt x="24" y="26"/>
                  </a:lnTo>
                  <a:lnTo>
                    <a:pt x="30" y="21"/>
                  </a:lnTo>
                  <a:lnTo>
                    <a:pt x="38" y="15"/>
                  </a:lnTo>
                  <a:lnTo>
                    <a:pt x="45" y="10"/>
                  </a:lnTo>
                  <a:lnTo>
                    <a:pt x="52" y="7"/>
                  </a:lnTo>
                  <a:lnTo>
                    <a:pt x="59" y="4"/>
                  </a:lnTo>
                  <a:lnTo>
                    <a:pt x="66" y="2"/>
                  </a:lnTo>
                  <a:lnTo>
                    <a:pt x="74" y="1"/>
                  </a:lnTo>
                  <a:lnTo>
                    <a:pt x="81" y="0"/>
                  </a:lnTo>
                  <a:lnTo>
                    <a:pt x="88" y="0"/>
                  </a:lnTo>
                  <a:lnTo>
                    <a:pt x="95" y="1"/>
                  </a:lnTo>
                  <a:lnTo>
                    <a:pt x="102" y="2"/>
                  </a:lnTo>
                  <a:lnTo>
                    <a:pt x="102" y="1"/>
                  </a:lnTo>
                  <a:close/>
                  <a:moveTo>
                    <a:pt x="563" y="275"/>
                  </a:moveTo>
                  <a:lnTo>
                    <a:pt x="530" y="267"/>
                  </a:lnTo>
                  <a:lnTo>
                    <a:pt x="495" y="259"/>
                  </a:lnTo>
                  <a:lnTo>
                    <a:pt x="459" y="250"/>
                  </a:lnTo>
                  <a:lnTo>
                    <a:pt x="421" y="242"/>
                  </a:lnTo>
                  <a:lnTo>
                    <a:pt x="380" y="234"/>
                  </a:lnTo>
                  <a:lnTo>
                    <a:pt x="338" y="225"/>
                  </a:lnTo>
                  <a:lnTo>
                    <a:pt x="295" y="215"/>
                  </a:lnTo>
                  <a:lnTo>
                    <a:pt x="249" y="206"/>
                  </a:lnTo>
                  <a:lnTo>
                    <a:pt x="282" y="265"/>
                  </a:lnTo>
                  <a:lnTo>
                    <a:pt x="313" y="321"/>
                  </a:lnTo>
                  <a:lnTo>
                    <a:pt x="342" y="372"/>
                  </a:lnTo>
                  <a:lnTo>
                    <a:pt x="372" y="421"/>
                  </a:lnTo>
                  <a:lnTo>
                    <a:pt x="401" y="468"/>
                  </a:lnTo>
                  <a:lnTo>
                    <a:pt x="432" y="514"/>
                  </a:lnTo>
                  <a:lnTo>
                    <a:pt x="464" y="561"/>
                  </a:lnTo>
                  <a:lnTo>
                    <a:pt x="498" y="607"/>
                  </a:lnTo>
                  <a:lnTo>
                    <a:pt x="534" y="656"/>
                  </a:lnTo>
                  <a:lnTo>
                    <a:pt x="573" y="705"/>
                  </a:lnTo>
                  <a:lnTo>
                    <a:pt x="616" y="758"/>
                  </a:lnTo>
                  <a:lnTo>
                    <a:pt x="665" y="814"/>
                  </a:lnTo>
                  <a:lnTo>
                    <a:pt x="717" y="875"/>
                  </a:lnTo>
                  <a:lnTo>
                    <a:pt x="776" y="940"/>
                  </a:lnTo>
                  <a:lnTo>
                    <a:pt x="840" y="1012"/>
                  </a:lnTo>
                  <a:lnTo>
                    <a:pt x="912" y="1091"/>
                  </a:lnTo>
                  <a:lnTo>
                    <a:pt x="939" y="1119"/>
                  </a:lnTo>
                  <a:lnTo>
                    <a:pt x="967" y="1148"/>
                  </a:lnTo>
                  <a:lnTo>
                    <a:pt x="995" y="1176"/>
                  </a:lnTo>
                  <a:lnTo>
                    <a:pt x="1024" y="1202"/>
                  </a:lnTo>
                  <a:lnTo>
                    <a:pt x="1053" y="1228"/>
                  </a:lnTo>
                  <a:lnTo>
                    <a:pt x="1083" y="1252"/>
                  </a:lnTo>
                  <a:lnTo>
                    <a:pt x="1113" y="1277"/>
                  </a:lnTo>
                  <a:lnTo>
                    <a:pt x="1143" y="1300"/>
                  </a:lnTo>
                  <a:lnTo>
                    <a:pt x="1180" y="1327"/>
                  </a:lnTo>
                  <a:lnTo>
                    <a:pt x="1217" y="1352"/>
                  </a:lnTo>
                  <a:lnTo>
                    <a:pt x="1254" y="1377"/>
                  </a:lnTo>
                  <a:lnTo>
                    <a:pt x="1291" y="1400"/>
                  </a:lnTo>
                  <a:lnTo>
                    <a:pt x="1329" y="1423"/>
                  </a:lnTo>
                  <a:lnTo>
                    <a:pt x="1366" y="1442"/>
                  </a:lnTo>
                  <a:lnTo>
                    <a:pt x="1403" y="1462"/>
                  </a:lnTo>
                  <a:lnTo>
                    <a:pt x="1440" y="1479"/>
                  </a:lnTo>
                  <a:lnTo>
                    <a:pt x="1477" y="1497"/>
                  </a:lnTo>
                  <a:lnTo>
                    <a:pt x="1515" y="1512"/>
                  </a:lnTo>
                  <a:lnTo>
                    <a:pt x="1551" y="1526"/>
                  </a:lnTo>
                  <a:lnTo>
                    <a:pt x="1586" y="1539"/>
                  </a:lnTo>
                  <a:lnTo>
                    <a:pt x="1622" y="1550"/>
                  </a:lnTo>
                  <a:lnTo>
                    <a:pt x="1656" y="1561"/>
                  </a:lnTo>
                  <a:lnTo>
                    <a:pt x="1690" y="1570"/>
                  </a:lnTo>
                  <a:lnTo>
                    <a:pt x="1724" y="1578"/>
                  </a:lnTo>
                  <a:lnTo>
                    <a:pt x="1752" y="1584"/>
                  </a:lnTo>
                  <a:lnTo>
                    <a:pt x="1780" y="1590"/>
                  </a:lnTo>
                  <a:lnTo>
                    <a:pt x="1808" y="1595"/>
                  </a:lnTo>
                  <a:lnTo>
                    <a:pt x="1834" y="1598"/>
                  </a:lnTo>
                  <a:lnTo>
                    <a:pt x="1860" y="1601"/>
                  </a:lnTo>
                  <a:lnTo>
                    <a:pt x="1883" y="1602"/>
                  </a:lnTo>
                  <a:lnTo>
                    <a:pt x="1906" y="1603"/>
                  </a:lnTo>
                  <a:lnTo>
                    <a:pt x="1928" y="1603"/>
                  </a:lnTo>
                  <a:lnTo>
                    <a:pt x="1948" y="1602"/>
                  </a:lnTo>
                  <a:lnTo>
                    <a:pt x="1967" y="1600"/>
                  </a:lnTo>
                  <a:lnTo>
                    <a:pt x="1984" y="1597"/>
                  </a:lnTo>
                  <a:lnTo>
                    <a:pt x="2001" y="1593"/>
                  </a:lnTo>
                  <a:lnTo>
                    <a:pt x="2015" y="1589"/>
                  </a:lnTo>
                  <a:lnTo>
                    <a:pt x="2027" y="1582"/>
                  </a:lnTo>
                  <a:lnTo>
                    <a:pt x="2039" y="1576"/>
                  </a:lnTo>
                  <a:lnTo>
                    <a:pt x="2048" y="1569"/>
                  </a:lnTo>
                  <a:lnTo>
                    <a:pt x="2051" y="1565"/>
                  </a:lnTo>
                  <a:lnTo>
                    <a:pt x="2055" y="1560"/>
                  </a:lnTo>
                  <a:lnTo>
                    <a:pt x="2058" y="1557"/>
                  </a:lnTo>
                  <a:lnTo>
                    <a:pt x="2060" y="1553"/>
                  </a:lnTo>
                  <a:lnTo>
                    <a:pt x="2060" y="1552"/>
                  </a:lnTo>
                  <a:lnTo>
                    <a:pt x="2061" y="1552"/>
                  </a:lnTo>
                  <a:lnTo>
                    <a:pt x="2062" y="1550"/>
                  </a:lnTo>
                  <a:lnTo>
                    <a:pt x="2067" y="1541"/>
                  </a:lnTo>
                  <a:lnTo>
                    <a:pt x="2070" y="1531"/>
                  </a:lnTo>
                  <a:lnTo>
                    <a:pt x="2071" y="1519"/>
                  </a:lnTo>
                  <a:lnTo>
                    <a:pt x="2071" y="1507"/>
                  </a:lnTo>
                  <a:lnTo>
                    <a:pt x="2070" y="1494"/>
                  </a:lnTo>
                  <a:lnTo>
                    <a:pt x="2067" y="1480"/>
                  </a:lnTo>
                  <a:lnTo>
                    <a:pt x="2062" y="1466"/>
                  </a:lnTo>
                  <a:lnTo>
                    <a:pt x="2057" y="1451"/>
                  </a:lnTo>
                  <a:lnTo>
                    <a:pt x="2050" y="1436"/>
                  </a:lnTo>
                  <a:lnTo>
                    <a:pt x="2043" y="1419"/>
                  </a:lnTo>
                  <a:lnTo>
                    <a:pt x="2034" y="1402"/>
                  </a:lnTo>
                  <a:lnTo>
                    <a:pt x="2024" y="1384"/>
                  </a:lnTo>
                  <a:lnTo>
                    <a:pt x="2013" y="1367"/>
                  </a:lnTo>
                  <a:lnTo>
                    <a:pt x="2001" y="1348"/>
                  </a:lnTo>
                  <a:lnTo>
                    <a:pt x="1988" y="1330"/>
                  </a:lnTo>
                  <a:lnTo>
                    <a:pt x="1974" y="1310"/>
                  </a:lnTo>
                  <a:lnTo>
                    <a:pt x="1956" y="1286"/>
                  </a:lnTo>
                  <a:lnTo>
                    <a:pt x="1938" y="1262"/>
                  </a:lnTo>
                  <a:lnTo>
                    <a:pt x="1917" y="1238"/>
                  </a:lnTo>
                  <a:lnTo>
                    <a:pt x="1897" y="1213"/>
                  </a:lnTo>
                  <a:lnTo>
                    <a:pt x="1851" y="1164"/>
                  </a:lnTo>
                  <a:lnTo>
                    <a:pt x="1802" y="1112"/>
                  </a:lnTo>
                  <a:lnTo>
                    <a:pt x="1750" y="1062"/>
                  </a:lnTo>
                  <a:lnTo>
                    <a:pt x="1697" y="1011"/>
                  </a:lnTo>
                  <a:lnTo>
                    <a:pt x="1640" y="960"/>
                  </a:lnTo>
                  <a:lnTo>
                    <a:pt x="1583" y="909"/>
                  </a:lnTo>
                  <a:lnTo>
                    <a:pt x="1530" y="865"/>
                  </a:lnTo>
                  <a:lnTo>
                    <a:pt x="1476" y="821"/>
                  </a:lnTo>
                  <a:lnTo>
                    <a:pt x="1422" y="777"/>
                  </a:lnTo>
                  <a:lnTo>
                    <a:pt x="1368" y="735"/>
                  </a:lnTo>
                  <a:lnTo>
                    <a:pt x="1316" y="694"/>
                  </a:lnTo>
                  <a:lnTo>
                    <a:pt x="1263" y="655"/>
                  </a:lnTo>
                  <a:lnTo>
                    <a:pt x="1212" y="616"/>
                  </a:lnTo>
                  <a:lnTo>
                    <a:pt x="1161" y="580"/>
                  </a:lnTo>
                  <a:lnTo>
                    <a:pt x="1113" y="545"/>
                  </a:lnTo>
                  <a:lnTo>
                    <a:pt x="1066" y="513"/>
                  </a:lnTo>
                  <a:lnTo>
                    <a:pt x="1023" y="483"/>
                  </a:lnTo>
                  <a:lnTo>
                    <a:pt x="982" y="456"/>
                  </a:lnTo>
                  <a:lnTo>
                    <a:pt x="943" y="431"/>
                  </a:lnTo>
                  <a:lnTo>
                    <a:pt x="909" y="409"/>
                  </a:lnTo>
                  <a:lnTo>
                    <a:pt x="877" y="390"/>
                  </a:lnTo>
                  <a:lnTo>
                    <a:pt x="850" y="373"/>
                  </a:lnTo>
                  <a:lnTo>
                    <a:pt x="820" y="360"/>
                  </a:lnTo>
                  <a:lnTo>
                    <a:pt x="789" y="346"/>
                  </a:lnTo>
                  <a:lnTo>
                    <a:pt x="756" y="334"/>
                  </a:lnTo>
                  <a:lnTo>
                    <a:pt x="722" y="322"/>
                  </a:lnTo>
                  <a:lnTo>
                    <a:pt x="686" y="309"/>
                  </a:lnTo>
                  <a:lnTo>
                    <a:pt x="647" y="298"/>
                  </a:lnTo>
                  <a:lnTo>
                    <a:pt x="606" y="287"/>
                  </a:lnTo>
                  <a:lnTo>
                    <a:pt x="563" y="27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3" name="Freeform 8"/>
            <p:cNvSpPr>
              <a:spLocks noChangeArrowheads="1"/>
            </p:cNvSpPr>
            <p:nvPr userDrawn="1"/>
          </p:nvSpPr>
          <p:spPr bwMode="auto">
            <a:xfrm>
              <a:off x="5229225" y="790880"/>
              <a:ext cx="935038" cy="886160"/>
            </a:xfrm>
            <a:custGeom>
              <a:avLst/>
              <a:gdLst>
                <a:gd name="T0" fmla="*/ 76 w 2069"/>
                <a:gd name="T1" fmla="*/ 15 h 1601"/>
                <a:gd name="T2" fmla="*/ 216 w 2069"/>
                <a:gd name="T3" fmla="*/ 44 h 1601"/>
                <a:gd name="T4" fmla="*/ 340 w 2069"/>
                <a:gd name="T5" fmla="*/ 70 h 1601"/>
                <a:gd name="T6" fmla="*/ 448 w 2069"/>
                <a:gd name="T7" fmla="*/ 94 h 1601"/>
                <a:gd name="T8" fmla="*/ 544 w 2069"/>
                <a:gd name="T9" fmla="*/ 118 h 1601"/>
                <a:gd name="T10" fmla="*/ 628 w 2069"/>
                <a:gd name="T11" fmla="*/ 143 h 1601"/>
                <a:gd name="T12" fmla="*/ 703 w 2069"/>
                <a:gd name="T13" fmla="*/ 169 h 1601"/>
                <a:gd name="T14" fmla="*/ 772 w 2069"/>
                <a:gd name="T15" fmla="*/ 196 h 1601"/>
                <a:gd name="T16" fmla="*/ 835 w 2069"/>
                <a:gd name="T17" fmla="*/ 230 h 1601"/>
                <a:gd name="T18" fmla="*/ 909 w 2069"/>
                <a:gd name="T19" fmla="*/ 277 h 1601"/>
                <a:gd name="T20" fmla="*/ 1000 w 2069"/>
                <a:gd name="T21" fmla="*/ 338 h 1601"/>
                <a:gd name="T22" fmla="*/ 1103 w 2069"/>
                <a:gd name="T23" fmla="*/ 409 h 1601"/>
                <a:gd name="T24" fmla="*/ 1214 w 2069"/>
                <a:gd name="T25" fmla="*/ 490 h 1601"/>
                <a:gd name="T26" fmla="*/ 1332 w 2069"/>
                <a:gd name="T27" fmla="*/ 579 h 1601"/>
                <a:gd name="T28" fmla="*/ 1450 w 2069"/>
                <a:gd name="T29" fmla="*/ 674 h 1601"/>
                <a:gd name="T30" fmla="*/ 1569 w 2069"/>
                <a:gd name="T31" fmla="*/ 773 h 1601"/>
                <a:gd name="T32" fmla="*/ 1682 w 2069"/>
                <a:gd name="T33" fmla="*/ 875 h 1601"/>
                <a:gd name="T34" fmla="*/ 1787 w 2069"/>
                <a:gd name="T35" fmla="*/ 977 h 1601"/>
                <a:gd name="T36" fmla="*/ 1880 w 2069"/>
                <a:gd name="T37" fmla="*/ 1078 h 1601"/>
                <a:gd name="T38" fmla="*/ 1958 w 2069"/>
                <a:gd name="T39" fmla="*/ 1176 h 1601"/>
                <a:gd name="T40" fmla="*/ 2019 w 2069"/>
                <a:gd name="T41" fmla="*/ 1269 h 1601"/>
                <a:gd name="T42" fmla="*/ 2057 w 2069"/>
                <a:gd name="T43" fmla="*/ 1355 h 1601"/>
                <a:gd name="T44" fmla="*/ 2069 w 2069"/>
                <a:gd name="T45" fmla="*/ 1432 h 1601"/>
                <a:gd name="T46" fmla="*/ 2054 w 2069"/>
                <a:gd name="T47" fmla="*/ 1500 h 1601"/>
                <a:gd name="T48" fmla="*/ 2021 w 2069"/>
                <a:gd name="T49" fmla="*/ 1545 h 1601"/>
                <a:gd name="T50" fmla="*/ 1985 w 2069"/>
                <a:gd name="T51" fmla="*/ 1570 h 1601"/>
                <a:gd name="T52" fmla="*/ 1936 w 2069"/>
                <a:gd name="T53" fmla="*/ 1588 h 1601"/>
                <a:gd name="T54" fmla="*/ 1880 w 2069"/>
                <a:gd name="T55" fmla="*/ 1598 h 1601"/>
                <a:gd name="T56" fmla="*/ 1813 w 2069"/>
                <a:gd name="T57" fmla="*/ 1601 h 1601"/>
                <a:gd name="T58" fmla="*/ 1739 w 2069"/>
                <a:gd name="T59" fmla="*/ 1596 h 1601"/>
                <a:gd name="T60" fmla="*/ 1657 w 2069"/>
                <a:gd name="T61" fmla="*/ 1584 h 1601"/>
                <a:gd name="T62" fmla="*/ 1571 w 2069"/>
                <a:gd name="T63" fmla="*/ 1564 h 1601"/>
                <a:gd name="T64" fmla="*/ 1479 w 2069"/>
                <a:gd name="T65" fmla="*/ 1537 h 1601"/>
                <a:gd name="T66" fmla="*/ 1384 w 2069"/>
                <a:gd name="T67" fmla="*/ 1500 h 1601"/>
                <a:gd name="T68" fmla="*/ 1287 w 2069"/>
                <a:gd name="T69" fmla="*/ 1456 h 1601"/>
                <a:gd name="T70" fmla="*/ 1190 w 2069"/>
                <a:gd name="T71" fmla="*/ 1404 h 1601"/>
                <a:gd name="T72" fmla="*/ 1091 w 2069"/>
                <a:gd name="T73" fmla="*/ 1343 h 1601"/>
                <a:gd name="T74" fmla="*/ 994 w 2069"/>
                <a:gd name="T75" fmla="*/ 1274 h 1601"/>
                <a:gd name="T76" fmla="*/ 899 w 2069"/>
                <a:gd name="T77" fmla="*/ 1195 h 1601"/>
                <a:gd name="T78" fmla="*/ 806 w 2069"/>
                <a:gd name="T79" fmla="*/ 1109 h 1601"/>
                <a:gd name="T80" fmla="*/ 680 w 2069"/>
                <a:gd name="T81" fmla="*/ 972 h 1601"/>
                <a:gd name="T82" fmla="*/ 541 w 2069"/>
                <a:gd name="T83" fmla="*/ 815 h 1601"/>
                <a:gd name="T84" fmla="*/ 430 w 2069"/>
                <a:gd name="T85" fmla="*/ 684 h 1601"/>
                <a:gd name="T86" fmla="*/ 341 w 2069"/>
                <a:gd name="T87" fmla="*/ 570 h 1601"/>
                <a:gd name="T88" fmla="*/ 265 w 2069"/>
                <a:gd name="T89" fmla="*/ 461 h 1601"/>
                <a:gd name="T90" fmla="*/ 196 w 2069"/>
                <a:gd name="T91" fmla="*/ 351 h 1601"/>
                <a:gd name="T92" fmla="*/ 125 w 2069"/>
                <a:gd name="T93" fmla="*/ 227 h 1601"/>
                <a:gd name="T94" fmla="*/ 45 w 2069"/>
                <a:gd name="T95" fmla="*/ 83 h 1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69" h="1601">
                  <a:moveTo>
                    <a:pt x="0" y="0"/>
                  </a:moveTo>
                  <a:lnTo>
                    <a:pt x="76" y="15"/>
                  </a:lnTo>
                  <a:lnTo>
                    <a:pt x="149" y="29"/>
                  </a:lnTo>
                  <a:lnTo>
                    <a:pt x="216" y="44"/>
                  </a:lnTo>
                  <a:lnTo>
                    <a:pt x="280" y="56"/>
                  </a:lnTo>
                  <a:lnTo>
                    <a:pt x="340" y="70"/>
                  </a:lnTo>
                  <a:lnTo>
                    <a:pt x="395" y="82"/>
                  </a:lnTo>
                  <a:lnTo>
                    <a:pt x="448" y="94"/>
                  </a:lnTo>
                  <a:lnTo>
                    <a:pt x="497" y="106"/>
                  </a:lnTo>
                  <a:lnTo>
                    <a:pt x="544" y="118"/>
                  </a:lnTo>
                  <a:lnTo>
                    <a:pt x="587" y="130"/>
                  </a:lnTo>
                  <a:lnTo>
                    <a:pt x="628" y="143"/>
                  </a:lnTo>
                  <a:lnTo>
                    <a:pt x="667" y="155"/>
                  </a:lnTo>
                  <a:lnTo>
                    <a:pt x="703" y="169"/>
                  </a:lnTo>
                  <a:lnTo>
                    <a:pt x="738" y="182"/>
                  </a:lnTo>
                  <a:lnTo>
                    <a:pt x="772" y="196"/>
                  </a:lnTo>
                  <a:lnTo>
                    <a:pt x="804" y="212"/>
                  </a:lnTo>
                  <a:lnTo>
                    <a:pt x="835" y="230"/>
                  </a:lnTo>
                  <a:lnTo>
                    <a:pt x="870" y="252"/>
                  </a:lnTo>
                  <a:lnTo>
                    <a:pt x="909" y="277"/>
                  </a:lnTo>
                  <a:lnTo>
                    <a:pt x="953" y="306"/>
                  </a:lnTo>
                  <a:lnTo>
                    <a:pt x="1000" y="338"/>
                  </a:lnTo>
                  <a:lnTo>
                    <a:pt x="1051" y="372"/>
                  </a:lnTo>
                  <a:lnTo>
                    <a:pt x="1103" y="409"/>
                  </a:lnTo>
                  <a:lnTo>
                    <a:pt x="1158" y="448"/>
                  </a:lnTo>
                  <a:lnTo>
                    <a:pt x="1214" y="490"/>
                  </a:lnTo>
                  <a:lnTo>
                    <a:pt x="1272" y="534"/>
                  </a:lnTo>
                  <a:lnTo>
                    <a:pt x="1332" y="579"/>
                  </a:lnTo>
                  <a:lnTo>
                    <a:pt x="1391" y="625"/>
                  </a:lnTo>
                  <a:lnTo>
                    <a:pt x="1450" y="674"/>
                  </a:lnTo>
                  <a:lnTo>
                    <a:pt x="1510" y="723"/>
                  </a:lnTo>
                  <a:lnTo>
                    <a:pt x="1569" y="773"/>
                  </a:lnTo>
                  <a:lnTo>
                    <a:pt x="1626" y="823"/>
                  </a:lnTo>
                  <a:lnTo>
                    <a:pt x="1682" y="875"/>
                  </a:lnTo>
                  <a:lnTo>
                    <a:pt x="1735" y="925"/>
                  </a:lnTo>
                  <a:lnTo>
                    <a:pt x="1787" y="977"/>
                  </a:lnTo>
                  <a:lnTo>
                    <a:pt x="1835" y="1027"/>
                  </a:lnTo>
                  <a:lnTo>
                    <a:pt x="1880" y="1078"/>
                  </a:lnTo>
                  <a:lnTo>
                    <a:pt x="1921" y="1127"/>
                  </a:lnTo>
                  <a:lnTo>
                    <a:pt x="1958" y="1176"/>
                  </a:lnTo>
                  <a:lnTo>
                    <a:pt x="1991" y="1222"/>
                  </a:lnTo>
                  <a:lnTo>
                    <a:pt x="2019" y="1269"/>
                  </a:lnTo>
                  <a:lnTo>
                    <a:pt x="2040" y="1313"/>
                  </a:lnTo>
                  <a:lnTo>
                    <a:pt x="2057" y="1355"/>
                  </a:lnTo>
                  <a:lnTo>
                    <a:pt x="2066" y="1395"/>
                  </a:lnTo>
                  <a:lnTo>
                    <a:pt x="2069" y="1432"/>
                  </a:lnTo>
                  <a:lnTo>
                    <a:pt x="2065" y="1469"/>
                  </a:lnTo>
                  <a:lnTo>
                    <a:pt x="2054" y="1500"/>
                  </a:lnTo>
                  <a:lnTo>
                    <a:pt x="2034" y="1530"/>
                  </a:lnTo>
                  <a:lnTo>
                    <a:pt x="2021" y="1545"/>
                  </a:lnTo>
                  <a:lnTo>
                    <a:pt x="2004" y="1558"/>
                  </a:lnTo>
                  <a:lnTo>
                    <a:pt x="1985" y="1570"/>
                  </a:lnTo>
                  <a:lnTo>
                    <a:pt x="1962" y="1580"/>
                  </a:lnTo>
                  <a:lnTo>
                    <a:pt x="1936" y="1588"/>
                  </a:lnTo>
                  <a:lnTo>
                    <a:pt x="1910" y="1593"/>
                  </a:lnTo>
                  <a:lnTo>
                    <a:pt x="1880" y="1598"/>
                  </a:lnTo>
                  <a:lnTo>
                    <a:pt x="1848" y="1600"/>
                  </a:lnTo>
                  <a:lnTo>
                    <a:pt x="1813" y="1601"/>
                  </a:lnTo>
                  <a:lnTo>
                    <a:pt x="1777" y="1599"/>
                  </a:lnTo>
                  <a:lnTo>
                    <a:pt x="1739" y="1596"/>
                  </a:lnTo>
                  <a:lnTo>
                    <a:pt x="1698" y="1591"/>
                  </a:lnTo>
                  <a:lnTo>
                    <a:pt x="1657" y="1584"/>
                  </a:lnTo>
                  <a:lnTo>
                    <a:pt x="1615" y="1575"/>
                  </a:lnTo>
                  <a:lnTo>
                    <a:pt x="1571" y="1564"/>
                  </a:lnTo>
                  <a:lnTo>
                    <a:pt x="1525" y="1551"/>
                  </a:lnTo>
                  <a:lnTo>
                    <a:pt x="1479" y="1537"/>
                  </a:lnTo>
                  <a:lnTo>
                    <a:pt x="1433" y="1519"/>
                  </a:lnTo>
                  <a:lnTo>
                    <a:pt x="1384" y="1500"/>
                  </a:lnTo>
                  <a:lnTo>
                    <a:pt x="1336" y="1479"/>
                  </a:lnTo>
                  <a:lnTo>
                    <a:pt x="1287" y="1456"/>
                  </a:lnTo>
                  <a:lnTo>
                    <a:pt x="1238" y="1431"/>
                  </a:lnTo>
                  <a:lnTo>
                    <a:pt x="1190" y="1404"/>
                  </a:lnTo>
                  <a:lnTo>
                    <a:pt x="1140" y="1375"/>
                  </a:lnTo>
                  <a:lnTo>
                    <a:pt x="1091" y="1343"/>
                  </a:lnTo>
                  <a:lnTo>
                    <a:pt x="1042" y="1310"/>
                  </a:lnTo>
                  <a:lnTo>
                    <a:pt x="994" y="1274"/>
                  </a:lnTo>
                  <a:lnTo>
                    <a:pt x="945" y="1236"/>
                  </a:lnTo>
                  <a:lnTo>
                    <a:pt x="899" y="1195"/>
                  </a:lnTo>
                  <a:lnTo>
                    <a:pt x="853" y="1153"/>
                  </a:lnTo>
                  <a:lnTo>
                    <a:pt x="806" y="1109"/>
                  </a:lnTo>
                  <a:lnTo>
                    <a:pt x="763" y="1062"/>
                  </a:lnTo>
                  <a:lnTo>
                    <a:pt x="680" y="972"/>
                  </a:lnTo>
                  <a:lnTo>
                    <a:pt x="607" y="889"/>
                  </a:lnTo>
                  <a:lnTo>
                    <a:pt x="541" y="815"/>
                  </a:lnTo>
                  <a:lnTo>
                    <a:pt x="483" y="747"/>
                  </a:lnTo>
                  <a:lnTo>
                    <a:pt x="430" y="684"/>
                  </a:lnTo>
                  <a:lnTo>
                    <a:pt x="383" y="625"/>
                  </a:lnTo>
                  <a:lnTo>
                    <a:pt x="341" y="570"/>
                  </a:lnTo>
                  <a:lnTo>
                    <a:pt x="302" y="515"/>
                  </a:lnTo>
                  <a:lnTo>
                    <a:pt x="265" y="461"/>
                  </a:lnTo>
                  <a:lnTo>
                    <a:pt x="230" y="407"/>
                  </a:lnTo>
                  <a:lnTo>
                    <a:pt x="196" y="351"/>
                  </a:lnTo>
                  <a:lnTo>
                    <a:pt x="161" y="291"/>
                  </a:lnTo>
                  <a:lnTo>
                    <a:pt x="125" y="227"/>
                  </a:lnTo>
                  <a:lnTo>
                    <a:pt x="86" y="158"/>
                  </a:lnTo>
                  <a:lnTo>
                    <a:pt x="45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4" name="Freeform 9"/>
            <p:cNvSpPr>
              <a:spLocks noChangeArrowheads="1"/>
            </p:cNvSpPr>
            <p:nvPr userDrawn="1"/>
          </p:nvSpPr>
          <p:spPr bwMode="auto">
            <a:xfrm>
              <a:off x="6107113" y="2253493"/>
              <a:ext cx="1165225" cy="850357"/>
            </a:xfrm>
            <a:custGeom>
              <a:avLst/>
              <a:gdLst>
                <a:gd name="T0" fmla="*/ 1412 w 2590"/>
                <a:gd name="T1" fmla="*/ 452 h 1532"/>
                <a:gd name="T2" fmla="*/ 1369 w 2590"/>
                <a:gd name="T3" fmla="*/ 468 h 1532"/>
                <a:gd name="T4" fmla="*/ 1173 w 2590"/>
                <a:gd name="T5" fmla="*/ 471 h 1532"/>
                <a:gd name="T6" fmla="*/ 972 w 2590"/>
                <a:gd name="T7" fmla="*/ 487 h 1532"/>
                <a:gd name="T8" fmla="*/ 819 w 2590"/>
                <a:gd name="T9" fmla="*/ 512 h 1532"/>
                <a:gd name="T10" fmla="*/ 614 w 2590"/>
                <a:gd name="T11" fmla="*/ 543 h 1532"/>
                <a:gd name="T12" fmla="*/ 405 w 2590"/>
                <a:gd name="T13" fmla="*/ 602 h 1532"/>
                <a:gd name="T14" fmla="*/ 263 w 2590"/>
                <a:gd name="T15" fmla="*/ 667 h 1532"/>
                <a:gd name="T16" fmla="*/ 179 w 2590"/>
                <a:gd name="T17" fmla="*/ 729 h 1532"/>
                <a:gd name="T18" fmla="*/ 175 w 2590"/>
                <a:gd name="T19" fmla="*/ 764 h 1532"/>
                <a:gd name="T20" fmla="*/ 225 w 2590"/>
                <a:gd name="T21" fmla="*/ 783 h 1532"/>
                <a:gd name="T22" fmla="*/ 369 w 2590"/>
                <a:gd name="T23" fmla="*/ 812 h 1532"/>
                <a:gd name="T24" fmla="*/ 590 w 2590"/>
                <a:gd name="T25" fmla="*/ 824 h 1532"/>
                <a:gd name="T26" fmla="*/ 768 w 2590"/>
                <a:gd name="T27" fmla="*/ 818 h 1532"/>
                <a:gd name="T28" fmla="*/ 999 w 2590"/>
                <a:gd name="T29" fmla="*/ 779 h 1532"/>
                <a:gd name="T30" fmla="*/ 1194 w 2590"/>
                <a:gd name="T31" fmla="*/ 715 h 1532"/>
                <a:gd name="T32" fmla="*/ 1313 w 2590"/>
                <a:gd name="T33" fmla="*/ 653 h 1532"/>
                <a:gd name="T34" fmla="*/ 1349 w 2590"/>
                <a:gd name="T35" fmla="*/ 640 h 1532"/>
                <a:gd name="T36" fmla="*/ 1387 w 2590"/>
                <a:gd name="T37" fmla="*/ 643 h 1532"/>
                <a:gd name="T38" fmla="*/ 1420 w 2590"/>
                <a:gd name="T39" fmla="*/ 662 h 1532"/>
                <a:gd name="T40" fmla="*/ 2566 w 2590"/>
                <a:gd name="T41" fmla="*/ 962 h 1532"/>
                <a:gd name="T42" fmla="*/ 2585 w 2590"/>
                <a:gd name="T43" fmla="*/ 993 h 1532"/>
                <a:gd name="T44" fmla="*/ 2589 w 2590"/>
                <a:gd name="T45" fmla="*/ 1033 h 1532"/>
                <a:gd name="T46" fmla="*/ 2574 w 2590"/>
                <a:gd name="T47" fmla="*/ 1071 h 1532"/>
                <a:gd name="T48" fmla="*/ 2082 w 2590"/>
                <a:gd name="T49" fmla="*/ 1520 h 1532"/>
                <a:gd name="T50" fmla="*/ 2043 w 2590"/>
                <a:gd name="T51" fmla="*/ 1532 h 1532"/>
                <a:gd name="T52" fmla="*/ 2004 w 2590"/>
                <a:gd name="T53" fmla="*/ 1525 h 1532"/>
                <a:gd name="T54" fmla="*/ 1345 w 2590"/>
                <a:gd name="T55" fmla="*/ 832 h 1532"/>
                <a:gd name="T56" fmla="*/ 1219 w 2590"/>
                <a:gd name="T57" fmla="*/ 889 h 1532"/>
                <a:gd name="T58" fmla="*/ 1030 w 2590"/>
                <a:gd name="T59" fmla="*/ 948 h 1532"/>
                <a:gd name="T60" fmla="*/ 909 w 2590"/>
                <a:gd name="T61" fmla="*/ 978 h 1532"/>
                <a:gd name="T62" fmla="*/ 740 w 2590"/>
                <a:gd name="T63" fmla="*/ 991 h 1532"/>
                <a:gd name="T64" fmla="*/ 536 w 2590"/>
                <a:gd name="T65" fmla="*/ 995 h 1532"/>
                <a:gd name="T66" fmla="*/ 300 w 2590"/>
                <a:gd name="T67" fmla="*/ 976 h 1532"/>
                <a:gd name="T68" fmla="*/ 173 w 2590"/>
                <a:gd name="T69" fmla="*/ 946 h 1532"/>
                <a:gd name="T70" fmla="*/ 83 w 2590"/>
                <a:gd name="T71" fmla="*/ 902 h 1532"/>
                <a:gd name="T72" fmla="*/ 26 w 2590"/>
                <a:gd name="T73" fmla="*/ 845 h 1532"/>
                <a:gd name="T74" fmla="*/ 5 w 2590"/>
                <a:gd name="T75" fmla="*/ 783 h 1532"/>
                <a:gd name="T76" fmla="*/ 1 w 2590"/>
                <a:gd name="T77" fmla="*/ 759 h 1532"/>
                <a:gd name="T78" fmla="*/ 9 w 2590"/>
                <a:gd name="T79" fmla="*/ 692 h 1532"/>
                <a:gd name="T80" fmla="*/ 44 w 2590"/>
                <a:gd name="T81" fmla="*/ 628 h 1532"/>
                <a:gd name="T82" fmla="*/ 105 w 2590"/>
                <a:gd name="T83" fmla="*/ 567 h 1532"/>
                <a:gd name="T84" fmla="*/ 236 w 2590"/>
                <a:gd name="T85" fmla="*/ 488 h 1532"/>
                <a:gd name="T86" fmla="*/ 432 w 2590"/>
                <a:gd name="T87" fmla="*/ 414 h 1532"/>
                <a:gd name="T88" fmla="*/ 683 w 2590"/>
                <a:gd name="T89" fmla="*/ 356 h 1532"/>
                <a:gd name="T90" fmla="*/ 905 w 2590"/>
                <a:gd name="T91" fmla="*/ 323 h 1532"/>
                <a:gd name="T92" fmla="*/ 1200 w 2590"/>
                <a:gd name="T93" fmla="*/ 299 h 1532"/>
                <a:gd name="T94" fmla="*/ 1556 w 2590"/>
                <a:gd name="T95" fmla="*/ 24 h 1532"/>
                <a:gd name="T96" fmla="*/ 1592 w 2590"/>
                <a:gd name="T97" fmla="*/ 3 h 1532"/>
                <a:gd name="T98" fmla="*/ 1633 w 2590"/>
                <a:gd name="T99" fmla="*/ 2 h 1532"/>
                <a:gd name="T100" fmla="*/ 1670 w 2590"/>
                <a:gd name="T101" fmla="*/ 21 h 1532"/>
                <a:gd name="T102" fmla="*/ 287 w 2590"/>
                <a:gd name="T103" fmla="*/ 805 h 1532"/>
                <a:gd name="T104" fmla="*/ 313 w 2590"/>
                <a:gd name="T105" fmla="*/ 834 h 1532"/>
                <a:gd name="T106" fmla="*/ 323 w 2590"/>
                <a:gd name="T107" fmla="*/ 87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0" h="1532">
                  <a:moveTo>
                    <a:pt x="2383" y="1017"/>
                  </a:moveTo>
                  <a:lnTo>
                    <a:pt x="1618" y="214"/>
                  </a:lnTo>
                  <a:lnTo>
                    <a:pt x="1425" y="440"/>
                  </a:lnTo>
                  <a:lnTo>
                    <a:pt x="1419" y="447"/>
                  </a:lnTo>
                  <a:lnTo>
                    <a:pt x="1412" y="452"/>
                  </a:lnTo>
                  <a:lnTo>
                    <a:pt x="1403" y="457"/>
                  </a:lnTo>
                  <a:lnTo>
                    <a:pt x="1395" y="461"/>
                  </a:lnTo>
                  <a:lnTo>
                    <a:pt x="1387" y="465"/>
                  </a:lnTo>
                  <a:lnTo>
                    <a:pt x="1379" y="467"/>
                  </a:lnTo>
                  <a:lnTo>
                    <a:pt x="1369" y="468"/>
                  </a:lnTo>
                  <a:lnTo>
                    <a:pt x="1360" y="469"/>
                  </a:lnTo>
                  <a:lnTo>
                    <a:pt x="1298" y="469"/>
                  </a:lnTo>
                  <a:lnTo>
                    <a:pt x="1236" y="470"/>
                  </a:lnTo>
                  <a:lnTo>
                    <a:pt x="1173" y="471"/>
                  </a:lnTo>
                  <a:lnTo>
                    <a:pt x="1108" y="475"/>
                  </a:lnTo>
                  <a:lnTo>
                    <a:pt x="1075" y="477"/>
                  </a:lnTo>
                  <a:lnTo>
                    <a:pt x="1041" y="480"/>
                  </a:lnTo>
                  <a:lnTo>
                    <a:pt x="1007" y="483"/>
                  </a:lnTo>
                  <a:lnTo>
                    <a:pt x="972" y="487"/>
                  </a:lnTo>
                  <a:lnTo>
                    <a:pt x="937" y="491"/>
                  </a:lnTo>
                  <a:lnTo>
                    <a:pt x="901" y="497"/>
                  </a:lnTo>
                  <a:lnTo>
                    <a:pt x="864" y="503"/>
                  </a:lnTo>
                  <a:lnTo>
                    <a:pt x="827" y="511"/>
                  </a:lnTo>
                  <a:lnTo>
                    <a:pt x="819" y="512"/>
                  </a:lnTo>
                  <a:lnTo>
                    <a:pt x="812" y="512"/>
                  </a:lnTo>
                  <a:lnTo>
                    <a:pt x="761" y="518"/>
                  </a:lnTo>
                  <a:lnTo>
                    <a:pt x="711" y="525"/>
                  </a:lnTo>
                  <a:lnTo>
                    <a:pt x="662" y="533"/>
                  </a:lnTo>
                  <a:lnTo>
                    <a:pt x="614" y="543"/>
                  </a:lnTo>
                  <a:lnTo>
                    <a:pt x="568" y="554"/>
                  </a:lnTo>
                  <a:lnTo>
                    <a:pt x="524" y="564"/>
                  </a:lnTo>
                  <a:lnTo>
                    <a:pt x="481" y="577"/>
                  </a:lnTo>
                  <a:lnTo>
                    <a:pt x="440" y="590"/>
                  </a:lnTo>
                  <a:lnTo>
                    <a:pt x="405" y="602"/>
                  </a:lnTo>
                  <a:lnTo>
                    <a:pt x="373" y="614"/>
                  </a:lnTo>
                  <a:lnTo>
                    <a:pt x="343" y="627"/>
                  </a:lnTo>
                  <a:lnTo>
                    <a:pt x="314" y="640"/>
                  </a:lnTo>
                  <a:lnTo>
                    <a:pt x="287" y="653"/>
                  </a:lnTo>
                  <a:lnTo>
                    <a:pt x="263" y="667"/>
                  </a:lnTo>
                  <a:lnTo>
                    <a:pt x="241" y="681"/>
                  </a:lnTo>
                  <a:lnTo>
                    <a:pt x="220" y="694"/>
                  </a:lnTo>
                  <a:lnTo>
                    <a:pt x="199" y="711"/>
                  </a:lnTo>
                  <a:lnTo>
                    <a:pt x="184" y="723"/>
                  </a:lnTo>
                  <a:lnTo>
                    <a:pt x="179" y="729"/>
                  </a:lnTo>
                  <a:lnTo>
                    <a:pt x="175" y="734"/>
                  </a:lnTo>
                  <a:lnTo>
                    <a:pt x="172" y="738"/>
                  </a:lnTo>
                  <a:lnTo>
                    <a:pt x="171" y="742"/>
                  </a:lnTo>
                  <a:lnTo>
                    <a:pt x="174" y="753"/>
                  </a:lnTo>
                  <a:lnTo>
                    <a:pt x="175" y="764"/>
                  </a:lnTo>
                  <a:lnTo>
                    <a:pt x="177" y="766"/>
                  </a:lnTo>
                  <a:lnTo>
                    <a:pt x="182" y="769"/>
                  </a:lnTo>
                  <a:lnTo>
                    <a:pt x="189" y="773"/>
                  </a:lnTo>
                  <a:lnTo>
                    <a:pt x="199" y="776"/>
                  </a:lnTo>
                  <a:lnTo>
                    <a:pt x="225" y="783"/>
                  </a:lnTo>
                  <a:lnTo>
                    <a:pt x="259" y="792"/>
                  </a:lnTo>
                  <a:lnTo>
                    <a:pt x="265" y="794"/>
                  </a:lnTo>
                  <a:lnTo>
                    <a:pt x="297" y="801"/>
                  </a:lnTo>
                  <a:lnTo>
                    <a:pt x="331" y="808"/>
                  </a:lnTo>
                  <a:lnTo>
                    <a:pt x="369" y="812"/>
                  </a:lnTo>
                  <a:lnTo>
                    <a:pt x="408" y="816"/>
                  </a:lnTo>
                  <a:lnTo>
                    <a:pt x="451" y="820"/>
                  </a:lnTo>
                  <a:lnTo>
                    <a:pt x="495" y="822"/>
                  </a:lnTo>
                  <a:lnTo>
                    <a:pt x="541" y="823"/>
                  </a:lnTo>
                  <a:lnTo>
                    <a:pt x="590" y="824"/>
                  </a:lnTo>
                  <a:lnTo>
                    <a:pt x="624" y="824"/>
                  </a:lnTo>
                  <a:lnTo>
                    <a:pt x="660" y="823"/>
                  </a:lnTo>
                  <a:lnTo>
                    <a:pt x="695" y="822"/>
                  </a:lnTo>
                  <a:lnTo>
                    <a:pt x="732" y="820"/>
                  </a:lnTo>
                  <a:lnTo>
                    <a:pt x="768" y="818"/>
                  </a:lnTo>
                  <a:lnTo>
                    <a:pt x="805" y="816"/>
                  </a:lnTo>
                  <a:lnTo>
                    <a:pt x="842" y="813"/>
                  </a:lnTo>
                  <a:lnTo>
                    <a:pt x="879" y="809"/>
                  </a:lnTo>
                  <a:lnTo>
                    <a:pt x="939" y="794"/>
                  </a:lnTo>
                  <a:lnTo>
                    <a:pt x="999" y="779"/>
                  </a:lnTo>
                  <a:lnTo>
                    <a:pt x="1057" y="762"/>
                  </a:lnTo>
                  <a:lnTo>
                    <a:pt x="1114" y="745"/>
                  </a:lnTo>
                  <a:lnTo>
                    <a:pt x="1142" y="734"/>
                  </a:lnTo>
                  <a:lnTo>
                    <a:pt x="1169" y="725"/>
                  </a:lnTo>
                  <a:lnTo>
                    <a:pt x="1194" y="715"/>
                  </a:lnTo>
                  <a:lnTo>
                    <a:pt x="1220" y="703"/>
                  </a:lnTo>
                  <a:lnTo>
                    <a:pt x="1245" y="692"/>
                  </a:lnTo>
                  <a:lnTo>
                    <a:pt x="1269" y="680"/>
                  </a:lnTo>
                  <a:lnTo>
                    <a:pt x="1291" y="666"/>
                  </a:lnTo>
                  <a:lnTo>
                    <a:pt x="1313" y="653"/>
                  </a:lnTo>
                  <a:lnTo>
                    <a:pt x="1320" y="649"/>
                  </a:lnTo>
                  <a:lnTo>
                    <a:pt x="1327" y="645"/>
                  </a:lnTo>
                  <a:lnTo>
                    <a:pt x="1334" y="643"/>
                  </a:lnTo>
                  <a:lnTo>
                    <a:pt x="1342" y="641"/>
                  </a:lnTo>
                  <a:lnTo>
                    <a:pt x="1349" y="640"/>
                  </a:lnTo>
                  <a:lnTo>
                    <a:pt x="1357" y="638"/>
                  </a:lnTo>
                  <a:lnTo>
                    <a:pt x="1364" y="638"/>
                  </a:lnTo>
                  <a:lnTo>
                    <a:pt x="1373" y="640"/>
                  </a:lnTo>
                  <a:lnTo>
                    <a:pt x="1380" y="641"/>
                  </a:lnTo>
                  <a:lnTo>
                    <a:pt x="1387" y="643"/>
                  </a:lnTo>
                  <a:lnTo>
                    <a:pt x="1394" y="646"/>
                  </a:lnTo>
                  <a:lnTo>
                    <a:pt x="1401" y="649"/>
                  </a:lnTo>
                  <a:lnTo>
                    <a:pt x="1408" y="653"/>
                  </a:lnTo>
                  <a:lnTo>
                    <a:pt x="1414" y="657"/>
                  </a:lnTo>
                  <a:lnTo>
                    <a:pt x="1420" y="662"/>
                  </a:lnTo>
                  <a:lnTo>
                    <a:pt x="1425" y="667"/>
                  </a:lnTo>
                  <a:lnTo>
                    <a:pt x="2043" y="1326"/>
                  </a:lnTo>
                  <a:lnTo>
                    <a:pt x="2383" y="1017"/>
                  </a:lnTo>
                  <a:close/>
                  <a:moveTo>
                    <a:pt x="1676" y="27"/>
                  </a:moveTo>
                  <a:lnTo>
                    <a:pt x="2566" y="962"/>
                  </a:lnTo>
                  <a:lnTo>
                    <a:pt x="2568" y="963"/>
                  </a:lnTo>
                  <a:lnTo>
                    <a:pt x="2574" y="970"/>
                  </a:lnTo>
                  <a:lnTo>
                    <a:pt x="2578" y="978"/>
                  </a:lnTo>
                  <a:lnTo>
                    <a:pt x="2582" y="985"/>
                  </a:lnTo>
                  <a:lnTo>
                    <a:pt x="2585" y="993"/>
                  </a:lnTo>
                  <a:lnTo>
                    <a:pt x="2588" y="1001"/>
                  </a:lnTo>
                  <a:lnTo>
                    <a:pt x="2589" y="1009"/>
                  </a:lnTo>
                  <a:lnTo>
                    <a:pt x="2590" y="1017"/>
                  </a:lnTo>
                  <a:lnTo>
                    <a:pt x="2590" y="1025"/>
                  </a:lnTo>
                  <a:lnTo>
                    <a:pt x="2589" y="1033"/>
                  </a:lnTo>
                  <a:lnTo>
                    <a:pt x="2588" y="1042"/>
                  </a:lnTo>
                  <a:lnTo>
                    <a:pt x="2585" y="1050"/>
                  </a:lnTo>
                  <a:lnTo>
                    <a:pt x="2582" y="1057"/>
                  </a:lnTo>
                  <a:lnTo>
                    <a:pt x="2579" y="1065"/>
                  </a:lnTo>
                  <a:lnTo>
                    <a:pt x="2574" y="1071"/>
                  </a:lnTo>
                  <a:lnTo>
                    <a:pt x="2568" y="1079"/>
                  </a:lnTo>
                  <a:lnTo>
                    <a:pt x="2562" y="1085"/>
                  </a:lnTo>
                  <a:lnTo>
                    <a:pt x="2096" y="1510"/>
                  </a:lnTo>
                  <a:lnTo>
                    <a:pt x="2089" y="1516"/>
                  </a:lnTo>
                  <a:lnTo>
                    <a:pt x="2082" y="1520"/>
                  </a:lnTo>
                  <a:lnTo>
                    <a:pt x="2075" y="1524"/>
                  </a:lnTo>
                  <a:lnTo>
                    <a:pt x="2067" y="1527"/>
                  </a:lnTo>
                  <a:lnTo>
                    <a:pt x="2060" y="1529"/>
                  </a:lnTo>
                  <a:lnTo>
                    <a:pt x="2051" y="1531"/>
                  </a:lnTo>
                  <a:lnTo>
                    <a:pt x="2043" y="1532"/>
                  </a:lnTo>
                  <a:lnTo>
                    <a:pt x="2035" y="1532"/>
                  </a:lnTo>
                  <a:lnTo>
                    <a:pt x="2028" y="1531"/>
                  </a:lnTo>
                  <a:lnTo>
                    <a:pt x="2019" y="1530"/>
                  </a:lnTo>
                  <a:lnTo>
                    <a:pt x="2011" y="1528"/>
                  </a:lnTo>
                  <a:lnTo>
                    <a:pt x="2004" y="1525"/>
                  </a:lnTo>
                  <a:lnTo>
                    <a:pt x="1996" y="1521"/>
                  </a:lnTo>
                  <a:lnTo>
                    <a:pt x="1990" y="1517"/>
                  </a:lnTo>
                  <a:lnTo>
                    <a:pt x="1982" y="1512"/>
                  </a:lnTo>
                  <a:lnTo>
                    <a:pt x="1976" y="1505"/>
                  </a:lnTo>
                  <a:lnTo>
                    <a:pt x="1345" y="832"/>
                  </a:lnTo>
                  <a:lnTo>
                    <a:pt x="1321" y="845"/>
                  </a:lnTo>
                  <a:lnTo>
                    <a:pt x="1296" y="857"/>
                  </a:lnTo>
                  <a:lnTo>
                    <a:pt x="1272" y="868"/>
                  </a:lnTo>
                  <a:lnTo>
                    <a:pt x="1246" y="879"/>
                  </a:lnTo>
                  <a:lnTo>
                    <a:pt x="1219" y="889"/>
                  </a:lnTo>
                  <a:lnTo>
                    <a:pt x="1193" y="898"/>
                  </a:lnTo>
                  <a:lnTo>
                    <a:pt x="1167" y="908"/>
                  </a:lnTo>
                  <a:lnTo>
                    <a:pt x="1140" y="916"/>
                  </a:lnTo>
                  <a:lnTo>
                    <a:pt x="1085" y="932"/>
                  </a:lnTo>
                  <a:lnTo>
                    <a:pt x="1030" y="948"/>
                  </a:lnTo>
                  <a:lnTo>
                    <a:pt x="973" y="962"/>
                  </a:lnTo>
                  <a:lnTo>
                    <a:pt x="917" y="977"/>
                  </a:lnTo>
                  <a:lnTo>
                    <a:pt x="915" y="977"/>
                  </a:lnTo>
                  <a:lnTo>
                    <a:pt x="909" y="978"/>
                  </a:lnTo>
                  <a:lnTo>
                    <a:pt x="903" y="979"/>
                  </a:lnTo>
                  <a:lnTo>
                    <a:pt x="862" y="983"/>
                  </a:lnTo>
                  <a:lnTo>
                    <a:pt x="820" y="986"/>
                  </a:lnTo>
                  <a:lnTo>
                    <a:pt x="780" y="989"/>
                  </a:lnTo>
                  <a:lnTo>
                    <a:pt x="740" y="991"/>
                  </a:lnTo>
                  <a:lnTo>
                    <a:pt x="702" y="993"/>
                  </a:lnTo>
                  <a:lnTo>
                    <a:pt x="663" y="994"/>
                  </a:lnTo>
                  <a:lnTo>
                    <a:pt x="626" y="995"/>
                  </a:lnTo>
                  <a:lnTo>
                    <a:pt x="590" y="995"/>
                  </a:lnTo>
                  <a:lnTo>
                    <a:pt x="536" y="995"/>
                  </a:lnTo>
                  <a:lnTo>
                    <a:pt x="486" y="993"/>
                  </a:lnTo>
                  <a:lnTo>
                    <a:pt x="436" y="990"/>
                  </a:lnTo>
                  <a:lnTo>
                    <a:pt x="389" y="987"/>
                  </a:lnTo>
                  <a:lnTo>
                    <a:pt x="344" y="982"/>
                  </a:lnTo>
                  <a:lnTo>
                    <a:pt x="300" y="976"/>
                  </a:lnTo>
                  <a:lnTo>
                    <a:pt x="260" y="968"/>
                  </a:lnTo>
                  <a:lnTo>
                    <a:pt x="223" y="959"/>
                  </a:lnTo>
                  <a:lnTo>
                    <a:pt x="217" y="958"/>
                  </a:lnTo>
                  <a:lnTo>
                    <a:pt x="194" y="952"/>
                  </a:lnTo>
                  <a:lnTo>
                    <a:pt x="173" y="946"/>
                  </a:lnTo>
                  <a:lnTo>
                    <a:pt x="153" y="938"/>
                  </a:lnTo>
                  <a:lnTo>
                    <a:pt x="133" y="930"/>
                  </a:lnTo>
                  <a:lnTo>
                    <a:pt x="116" y="922"/>
                  </a:lnTo>
                  <a:lnTo>
                    <a:pt x="99" y="913"/>
                  </a:lnTo>
                  <a:lnTo>
                    <a:pt x="83" y="902"/>
                  </a:lnTo>
                  <a:lnTo>
                    <a:pt x="70" y="892"/>
                  </a:lnTo>
                  <a:lnTo>
                    <a:pt x="56" y="881"/>
                  </a:lnTo>
                  <a:lnTo>
                    <a:pt x="45" y="869"/>
                  </a:lnTo>
                  <a:lnTo>
                    <a:pt x="35" y="857"/>
                  </a:lnTo>
                  <a:lnTo>
                    <a:pt x="26" y="845"/>
                  </a:lnTo>
                  <a:lnTo>
                    <a:pt x="18" y="831"/>
                  </a:lnTo>
                  <a:lnTo>
                    <a:pt x="13" y="817"/>
                  </a:lnTo>
                  <a:lnTo>
                    <a:pt x="8" y="802"/>
                  </a:lnTo>
                  <a:lnTo>
                    <a:pt x="6" y="787"/>
                  </a:lnTo>
                  <a:lnTo>
                    <a:pt x="5" y="783"/>
                  </a:lnTo>
                  <a:lnTo>
                    <a:pt x="5" y="781"/>
                  </a:lnTo>
                  <a:lnTo>
                    <a:pt x="5" y="780"/>
                  </a:lnTo>
                  <a:lnTo>
                    <a:pt x="3" y="773"/>
                  </a:lnTo>
                  <a:lnTo>
                    <a:pt x="2" y="765"/>
                  </a:lnTo>
                  <a:lnTo>
                    <a:pt x="1" y="759"/>
                  </a:lnTo>
                  <a:lnTo>
                    <a:pt x="0" y="746"/>
                  </a:lnTo>
                  <a:lnTo>
                    <a:pt x="1" y="732"/>
                  </a:lnTo>
                  <a:lnTo>
                    <a:pt x="2" y="719"/>
                  </a:lnTo>
                  <a:lnTo>
                    <a:pt x="5" y="705"/>
                  </a:lnTo>
                  <a:lnTo>
                    <a:pt x="9" y="692"/>
                  </a:lnTo>
                  <a:lnTo>
                    <a:pt x="14" y="680"/>
                  </a:lnTo>
                  <a:lnTo>
                    <a:pt x="19" y="666"/>
                  </a:lnTo>
                  <a:lnTo>
                    <a:pt x="26" y="653"/>
                  </a:lnTo>
                  <a:lnTo>
                    <a:pt x="35" y="641"/>
                  </a:lnTo>
                  <a:lnTo>
                    <a:pt x="44" y="628"/>
                  </a:lnTo>
                  <a:lnTo>
                    <a:pt x="54" y="616"/>
                  </a:lnTo>
                  <a:lnTo>
                    <a:pt x="65" y="603"/>
                  </a:lnTo>
                  <a:lnTo>
                    <a:pt x="78" y="591"/>
                  </a:lnTo>
                  <a:lnTo>
                    <a:pt x="91" y="580"/>
                  </a:lnTo>
                  <a:lnTo>
                    <a:pt x="105" y="567"/>
                  </a:lnTo>
                  <a:lnTo>
                    <a:pt x="120" y="556"/>
                  </a:lnTo>
                  <a:lnTo>
                    <a:pt x="146" y="538"/>
                  </a:lnTo>
                  <a:lnTo>
                    <a:pt x="174" y="522"/>
                  </a:lnTo>
                  <a:lnTo>
                    <a:pt x="203" y="504"/>
                  </a:lnTo>
                  <a:lnTo>
                    <a:pt x="236" y="488"/>
                  </a:lnTo>
                  <a:lnTo>
                    <a:pt x="270" y="473"/>
                  </a:lnTo>
                  <a:lnTo>
                    <a:pt x="308" y="457"/>
                  </a:lnTo>
                  <a:lnTo>
                    <a:pt x="346" y="442"/>
                  </a:lnTo>
                  <a:lnTo>
                    <a:pt x="387" y="427"/>
                  </a:lnTo>
                  <a:lnTo>
                    <a:pt x="432" y="414"/>
                  </a:lnTo>
                  <a:lnTo>
                    <a:pt x="479" y="400"/>
                  </a:lnTo>
                  <a:lnTo>
                    <a:pt x="528" y="387"/>
                  </a:lnTo>
                  <a:lnTo>
                    <a:pt x="578" y="376"/>
                  </a:lnTo>
                  <a:lnTo>
                    <a:pt x="631" y="365"/>
                  </a:lnTo>
                  <a:lnTo>
                    <a:pt x="683" y="356"/>
                  </a:lnTo>
                  <a:lnTo>
                    <a:pt x="739" y="349"/>
                  </a:lnTo>
                  <a:lnTo>
                    <a:pt x="795" y="342"/>
                  </a:lnTo>
                  <a:lnTo>
                    <a:pt x="832" y="334"/>
                  </a:lnTo>
                  <a:lnTo>
                    <a:pt x="869" y="328"/>
                  </a:lnTo>
                  <a:lnTo>
                    <a:pt x="905" y="323"/>
                  </a:lnTo>
                  <a:lnTo>
                    <a:pt x="940" y="318"/>
                  </a:lnTo>
                  <a:lnTo>
                    <a:pt x="1008" y="310"/>
                  </a:lnTo>
                  <a:lnTo>
                    <a:pt x="1074" y="304"/>
                  </a:lnTo>
                  <a:lnTo>
                    <a:pt x="1138" y="301"/>
                  </a:lnTo>
                  <a:lnTo>
                    <a:pt x="1200" y="299"/>
                  </a:lnTo>
                  <a:lnTo>
                    <a:pt x="1261" y="298"/>
                  </a:lnTo>
                  <a:lnTo>
                    <a:pt x="1321" y="297"/>
                  </a:lnTo>
                  <a:lnTo>
                    <a:pt x="1549" y="31"/>
                  </a:lnTo>
                  <a:lnTo>
                    <a:pt x="1553" y="28"/>
                  </a:lnTo>
                  <a:lnTo>
                    <a:pt x="1556" y="24"/>
                  </a:lnTo>
                  <a:lnTo>
                    <a:pt x="1562" y="18"/>
                  </a:lnTo>
                  <a:lnTo>
                    <a:pt x="1569" y="14"/>
                  </a:lnTo>
                  <a:lnTo>
                    <a:pt x="1576" y="10"/>
                  </a:lnTo>
                  <a:lnTo>
                    <a:pt x="1585" y="7"/>
                  </a:lnTo>
                  <a:lnTo>
                    <a:pt x="1592" y="3"/>
                  </a:lnTo>
                  <a:lnTo>
                    <a:pt x="1600" y="1"/>
                  </a:lnTo>
                  <a:lnTo>
                    <a:pt x="1608" y="0"/>
                  </a:lnTo>
                  <a:lnTo>
                    <a:pt x="1617" y="0"/>
                  </a:lnTo>
                  <a:lnTo>
                    <a:pt x="1625" y="1"/>
                  </a:lnTo>
                  <a:lnTo>
                    <a:pt x="1633" y="2"/>
                  </a:lnTo>
                  <a:lnTo>
                    <a:pt x="1641" y="5"/>
                  </a:lnTo>
                  <a:lnTo>
                    <a:pt x="1649" y="8"/>
                  </a:lnTo>
                  <a:lnTo>
                    <a:pt x="1656" y="12"/>
                  </a:lnTo>
                  <a:lnTo>
                    <a:pt x="1663" y="16"/>
                  </a:lnTo>
                  <a:lnTo>
                    <a:pt x="1670" y="21"/>
                  </a:lnTo>
                  <a:lnTo>
                    <a:pt x="1676" y="27"/>
                  </a:lnTo>
                  <a:close/>
                  <a:moveTo>
                    <a:pt x="265" y="794"/>
                  </a:moveTo>
                  <a:lnTo>
                    <a:pt x="273" y="797"/>
                  </a:lnTo>
                  <a:lnTo>
                    <a:pt x="280" y="800"/>
                  </a:lnTo>
                  <a:lnTo>
                    <a:pt x="287" y="805"/>
                  </a:lnTo>
                  <a:lnTo>
                    <a:pt x="293" y="810"/>
                  </a:lnTo>
                  <a:lnTo>
                    <a:pt x="299" y="816"/>
                  </a:lnTo>
                  <a:lnTo>
                    <a:pt x="304" y="821"/>
                  </a:lnTo>
                  <a:lnTo>
                    <a:pt x="309" y="827"/>
                  </a:lnTo>
                  <a:lnTo>
                    <a:pt x="313" y="834"/>
                  </a:lnTo>
                  <a:lnTo>
                    <a:pt x="316" y="842"/>
                  </a:lnTo>
                  <a:lnTo>
                    <a:pt x="319" y="849"/>
                  </a:lnTo>
                  <a:lnTo>
                    <a:pt x="321" y="856"/>
                  </a:lnTo>
                  <a:lnTo>
                    <a:pt x="323" y="864"/>
                  </a:lnTo>
                  <a:lnTo>
                    <a:pt x="323" y="872"/>
                  </a:lnTo>
                  <a:lnTo>
                    <a:pt x="323" y="880"/>
                  </a:lnTo>
                  <a:lnTo>
                    <a:pt x="322" y="888"/>
                  </a:lnTo>
                  <a:lnTo>
                    <a:pt x="321" y="896"/>
                  </a:lnTo>
                  <a:lnTo>
                    <a:pt x="265" y="7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5" name="Freeform 10"/>
            <p:cNvSpPr>
              <a:spLocks noChangeArrowheads="1"/>
            </p:cNvSpPr>
            <p:nvPr userDrawn="1"/>
          </p:nvSpPr>
          <p:spPr bwMode="auto">
            <a:xfrm>
              <a:off x="6143625" y="2298249"/>
              <a:ext cx="1085850" cy="753684"/>
            </a:xfrm>
            <a:custGeom>
              <a:avLst/>
              <a:gdLst>
                <a:gd name="T0" fmla="*/ 1530 w 2420"/>
                <a:gd name="T1" fmla="*/ 0 h 1361"/>
                <a:gd name="T2" fmla="*/ 1211 w 2420"/>
                <a:gd name="T3" fmla="*/ 298 h 1361"/>
                <a:gd name="T4" fmla="*/ 1083 w 2420"/>
                <a:gd name="T5" fmla="*/ 300 h 1361"/>
                <a:gd name="T6" fmla="*/ 982 w 2420"/>
                <a:gd name="T7" fmla="*/ 305 h 1361"/>
                <a:gd name="T8" fmla="*/ 912 w 2420"/>
                <a:gd name="T9" fmla="*/ 311 h 1361"/>
                <a:gd name="T10" fmla="*/ 839 w 2420"/>
                <a:gd name="T11" fmla="*/ 321 h 1361"/>
                <a:gd name="T12" fmla="*/ 763 w 2420"/>
                <a:gd name="T13" fmla="*/ 333 h 1361"/>
                <a:gd name="T14" fmla="*/ 685 w 2420"/>
                <a:gd name="T15" fmla="*/ 344 h 1361"/>
                <a:gd name="T16" fmla="*/ 608 w 2420"/>
                <a:gd name="T17" fmla="*/ 356 h 1361"/>
                <a:gd name="T18" fmla="*/ 534 w 2420"/>
                <a:gd name="T19" fmla="*/ 369 h 1361"/>
                <a:gd name="T20" fmla="*/ 461 w 2420"/>
                <a:gd name="T21" fmla="*/ 384 h 1361"/>
                <a:gd name="T22" fmla="*/ 394 w 2420"/>
                <a:gd name="T23" fmla="*/ 403 h 1361"/>
                <a:gd name="T24" fmla="*/ 330 w 2420"/>
                <a:gd name="T25" fmla="*/ 423 h 1361"/>
                <a:gd name="T26" fmla="*/ 270 w 2420"/>
                <a:gd name="T27" fmla="*/ 444 h 1361"/>
                <a:gd name="T28" fmla="*/ 215 w 2420"/>
                <a:gd name="T29" fmla="*/ 467 h 1361"/>
                <a:gd name="T30" fmla="*/ 165 w 2420"/>
                <a:gd name="T31" fmla="*/ 491 h 1361"/>
                <a:gd name="T32" fmla="*/ 122 w 2420"/>
                <a:gd name="T33" fmla="*/ 515 h 1361"/>
                <a:gd name="T34" fmla="*/ 83 w 2420"/>
                <a:gd name="T35" fmla="*/ 541 h 1361"/>
                <a:gd name="T36" fmla="*/ 52 w 2420"/>
                <a:gd name="T37" fmla="*/ 567 h 1361"/>
                <a:gd name="T38" fmla="*/ 28 w 2420"/>
                <a:gd name="T39" fmla="*/ 593 h 1361"/>
                <a:gd name="T40" fmla="*/ 10 w 2420"/>
                <a:gd name="T41" fmla="*/ 618 h 1361"/>
                <a:gd name="T42" fmla="*/ 2 w 2420"/>
                <a:gd name="T43" fmla="*/ 643 h 1361"/>
                <a:gd name="T44" fmla="*/ 1 w 2420"/>
                <a:gd name="T45" fmla="*/ 668 h 1361"/>
                <a:gd name="T46" fmla="*/ 5 w 2420"/>
                <a:gd name="T47" fmla="*/ 692 h 1361"/>
                <a:gd name="T48" fmla="*/ 13 w 2420"/>
                <a:gd name="T49" fmla="*/ 714 h 1361"/>
                <a:gd name="T50" fmla="*/ 31 w 2420"/>
                <a:gd name="T51" fmla="*/ 734 h 1361"/>
                <a:gd name="T52" fmla="*/ 55 w 2420"/>
                <a:gd name="T53" fmla="*/ 751 h 1361"/>
                <a:gd name="T54" fmla="*/ 87 w 2420"/>
                <a:gd name="T55" fmla="*/ 768 h 1361"/>
                <a:gd name="T56" fmla="*/ 125 w 2420"/>
                <a:gd name="T57" fmla="*/ 781 h 1361"/>
                <a:gd name="T58" fmla="*/ 170 w 2420"/>
                <a:gd name="T59" fmla="*/ 794 h 1361"/>
                <a:gd name="T60" fmla="*/ 220 w 2420"/>
                <a:gd name="T61" fmla="*/ 804 h 1361"/>
                <a:gd name="T62" fmla="*/ 276 w 2420"/>
                <a:gd name="T63" fmla="*/ 811 h 1361"/>
                <a:gd name="T64" fmla="*/ 336 w 2420"/>
                <a:gd name="T65" fmla="*/ 817 h 1361"/>
                <a:gd name="T66" fmla="*/ 401 w 2420"/>
                <a:gd name="T67" fmla="*/ 822 h 1361"/>
                <a:gd name="T68" fmla="*/ 469 w 2420"/>
                <a:gd name="T69" fmla="*/ 824 h 1361"/>
                <a:gd name="T70" fmla="*/ 541 w 2420"/>
                <a:gd name="T71" fmla="*/ 824 h 1361"/>
                <a:gd name="T72" fmla="*/ 615 w 2420"/>
                <a:gd name="T73" fmla="*/ 822 h 1361"/>
                <a:gd name="T74" fmla="*/ 730 w 2420"/>
                <a:gd name="T75" fmla="*/ 814 h 1361"/>
                <a:gd name="T76" fmla="*/ 872 w 2420"/>
                <a:gd name="T77" fmla="*/ 792 h 1361"/>
                <a:gd name="T78" fmla="*/ 998 w 2420"/>
                <a:gd name="T79" fmla="*/ 758 h 1361"/>
                <a:gd name="T80" fmla="*/ 1088 w 2420"/>
                <a:gd name="T81" fmla="*/ 729 h 1361"/>
                <a:gd name="T82" fmla="*/ 1145 w 2420"/>
                <a:gd name="T83" fmla="*/ 706 h 1361"/>
                <a:gd name="T84" fmla="*/ 1200 w 2420"/>
                <a:gd name="T85" fmla="*/ 681 h 1361"/>
                <a:gd name="T86" fmla="*/ 1250 w 2420"/>
                <a:gd name="T87" fmla="*/ 654 h 1361"/>
                <a:gd name="T88" fmla="*/ 1954 w 2420"/>
                <a:gd name="T89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20" h="1361">
                  <a:moveTo>
                    <a:pt x="2420" y="935"/>
                  </a:moveTo>
                  <a:lnTo>
                    <a:pt x="1530" y="0"/>
                  </a:lnTo>
                  <a:lnTo>
                    <a:pt x="1275" y="298"/>
                  </a:lnTo>
                  <a:lnTo>
                    <a:pt x="1211" y="298"/>
                  </a:lnTo>
                  <a:lnTo>
                    <a:pt x="1147" y="298"/>
                  </a:lnTo>
                  <a:lnTo>
                    <a:pt x="1083" y="300"/>
                  </a:lnTo>
                  <a:lnTo>
                    <a:pt x="1016" y="303"/>
                  </a:lnTo>
                  <a:lnTo>
                    <a:pt x="982" y="305"/>
                  </a:lnTo>
                  <a:lnTo>
                    <a:pt x="948" y="308"/>
                  </a:lnTo>
                  <a:lnTo>
                    <a:pt x="912" y="311"/>
                  </a:lnTo>
                  <a:lnTo>
                    <a:pt x="877" y="315"/>
                  </a:lnTo>
                  <a:lnTo>
                    <a:pt x="839" y="321"/>
                  </a:lnTo>
                  <a:lnTo>
                    <a:pt x="802" y="327"/>
                  </a:lnTo>
                  <a:lnTo>
                    <a:pt x="763" y="333"/>
                  </a:lnTo>
                  <a:lnTo>
                    <a:pt x="724" y="340"/>
                  </a:lnTo>
                  <a:lnTo>
                    <a:pt x="685" y="344"/>
                  </a:lnTo>
                  <a:lnTo>
                    <a:pt x="646" y="349"/>
                  </a:lnTo>
                  <a:lnTo>
                    <a:pt x="608" y="356"/>
                  </a:lnTo>
                  <a:lnTo>
                    <a:pt x="570" y="362"/>
                  </a:lnTo>
                  <a:lnTo>
                    <a:pt x="534" y="369"/>
                  </a:lnTo>
                  <a:lnTo>
                    <a:pt x="497" y="376"/>
                  </a:lnTo>
                  <a:lnTo>
                    <a:pt x="461" y="384"/>
                  </a:lnTo>
                  <a:lnTo>
                    <a:pt x="427" y="394"/>
                  </a:lnTo>
                  <a:lnTo>
                    <a:pt x="394" y="403"/>
                  </a:lnTo>
                  <a:lnTo>
                    <a:pt x="361" y="412"/>
                  </a:lnTo>
                  <a:lnTo>
                    <a:pt x="330" y="423"/>
                  </a:lnTo>
                  <a:lnTo>
                    <a:pt x="299" y="433"/>
                  </a:lnTo>
                  <a:lnTo>
                    <a:pt x="270" y="444"/>
                  </a:lnTo>
                  <a:lnTo>
                    <a:pt x="242" y="456"/>
                  </a:lnTo>
                  <a:lnTo>
                    <a:pt x="215" y="467"/>
                  </a:lnTo>
                  <a:lnTo>
                    <a:pt x="190" y="478"/>
                  </a:lnTo>
                  <a:lnTo>
                    <a:pt x="165" y="491"/>
                  </a:lnTo>
                  <a:lnTo>
                    <a:pt x="142" y="503"/>
                  </a:lnTo>
                  <a:lnTo>
                    <a:pt x="122" y="515"/>
                  </a:lnTo>
                  <a:lnTo>
                    <a:pt x="102" y="528"/>
                  </a:lnTo>
                  <a:lnTo>
                    <a:pt x="83" y="541"/>
                  </a:lnTo>
                  <a:lnTo>
                    <a:pt x="67" y="554"/>
                  </a:lnTo>
                  <a:lnTo>
                    <a:pt x="52" y="567"/>
                  </a:lnTo>
                  <a:lnTo>
                    <a:pt x="39" y="579"/>
                  </a:lnTo>
                  <a:lnTo>
                    <a:pt x="28" y="593"/>
                  </a:lnTo>
                  <a:lnTo>
                    <a:pt x="19" y="605"/>
                  </a:lnTo>
                  <a:lnTo>
                    <a:pt x="10" y="618"/>
                  </a:lnTo>
                  <a:lnTo>
                    <a:pt x="5" y="631"/>
                  </a:lnTo>
                  <a:lnTo>
                    <a:pt x="2" y="643"/>
                  </a:lnTo>
                  <a:lnTo>
                    <a:pt x="0" y="656"/>
                  </a:lnTo>
                  <a:lnTo>
                    <a:pt x="1" y="668"/>
                  </a:lnTo>
                  <a:lnTo>
                    <a:pt x="4" y="680"/>
                  </a:lnTo>
                  <a:lnTo>
                    <a:pt x="5" y="692"/>
                  </a:lnTo>
                  <a:lnTo>
                    <a:pt x="8" y="703"/>
                  </a:lnTo>
                  <a:lnTo>
                    <a:pt x="13" y="714"/>
                  </a:lnTo>
                  <a:lnTo>
                    <a:pt x="22" y="725"/>
                  </a:lnTo>
                  <a:lnTo>
                    <a:pt x="31" y="734"/>
                  </a:lnTo>
                  <a:lnTo>
                    <a:pt x="42" y="743"/>
                  </a:lnTo>
                  <a:lnTo>
                    <a:pt x="55" y="751"/>
                  </a:lnTo>
                  <a:lnTo>
                    <a:pt x="70" y="760"/>
                  </a:lnTo>
                  <a:lnTo>
                    <a:pt x="87" y="768"/>
                  </a:lnTo>
                  <a:lnTo>
                    <a:pt x="105" y="775"/>
                  </a:lnTo>
                  <a:lnTo>
                    <a:pt x="125" y="781"/>
                  </a:lnTo>
                  <a:lnTo>
                    <a:pt x="147" y="788"/>
                  </a:lnTo>
                  <a:lnTo>
                    <a:pt x="170" y="794"/>
                  </a:lnTo>
                  <a:lnTo>
                    <a:pt x="195" y="799"/>
                  </a:lnTo>
                  <a:lnTo>
                    <a:pt x="220" y="804"/>
                  </a:lnTo>
                  <a:lnTo>
                    <a:pt x="247" y="808"/>
                  </a:lnTo>
                  <a:lnTo>
                    <a:pt x="276" y="811"/>
                  </a:lnTo>
                  <a:lnTo>
                    <a:pt x="306" y="814"/>
                  </a:lnTo>
                  <a:lnTo>
                    <a:pt x="336" y="817"/>
                  </a:lnTo>
                  <a:lnTo>
                    <a:pt x="368" y="819"/>
                  </a:lnTo>
                  <a:lnTo>
                    <a:pt x="401" y="822"/>
                  </a:lnTo>
                  <a:lnTo>
                    <a:pt x="435" y="823"/>
                  </a:lnTo>
                  <a:lnTo>
                    <a:pt x="469" y="824"/>
                  </a:lnTo>
                  <a:lnTo>
                    <a:pt x="505" y="824"/>
                  </a:lnTo>
                  <a:lnTo>
                    <a:pt x="541" y="824"/>
                  </a:lnTo>
                  <a:lnTo>
                    <a:pt x="577" y="823"/>
                  </a:lnTo>
                  <a:lnTo>
                    <a:pt x="615" y="822"/>
                  </a:lnTo>
                  <a:lnTo>
                    <a:pt x="653" y="819"/>
                  </a:lnTo>
                  <a:lnTo>
                    <a:pt x="730" y="814"/>
                  </a:lnTo>
                  <a:lnTo>
                    <a:pt x="810" y="808"/>
                  </a:lnTo>
                  <a:lnTo>
                    <a:pt x="872" y="792"/>
                  </a:lnTo>
                  <a:lnTo>
                    <a:pt x="935" y="775"/>
                  </a:lnTo>
                  <a:lnTo>
                    <a:pt x="998" y="758"/>
                  </a:lnTo>
                  <a:lnTo>
                    <a:pt x="1058" y="739"/>
                  </a:lnTo>
                  <a:lnTo>
                    <a:pt x="1088" y="729"/>
                  </a:lnTo>
                  <a:lnTo>
                    <a:pt x="1117" y="717"/>
                  </a:lnTo>
                  <a:lnTo>
                    <a:pt x="1145" y="706"/>
                  </a:lnTo>
                  <a:lnTo>
                    <a:pt x="1173" y="695"/>
                  </a:lnTo>
                  <a:lnTo>
                    <a:pt x="1200" y="681"/>
                  </a:lnTo>
                  <a:lnTo>
                    <a:pt x="1226" y="668"/>
                  </a:lnTo>
                  <a:lnTo>
                    <a:pt x="1250" y="654"/>
                  </a:lnTo>
                  <a:lnTo>
                    <a:pt x="1275" y="638"/>
                  </a:lnTo>
                  <a:lnTo>
                    <a:pt x="1954" y="1361"/>
                  </a:lnTo>
                  <a:lnTo>
                    <a:pt x="2420" y="9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6" name="Freeform 11"/>
            <p:cNvSpPr>
              <a:spLocks noChangeArrowheads="1"/>
            </p:cNvSpPr>
            <p:nvPr userDrawn="1"/>
          </p:nvSpPr>
          <p:spPr bwMode="auto">
            <a:xfrm>
              <a:off x="6978650" y="1614383"/>
              <a:ext cx="301625" cy="921965"/>
            </a:xfrm>
            <a:custGeom>
              <a:avLst/>
              <a:gdLst>
                <a:gd name="T0" fmla="*/ 279 w 666"/>
                <a:gd name="T1" fmla="*/ 1 h 1660"/>
                <a:gd name="T2" fmla="*/ 338 w 666"/>
                <a:gd name="T3" fmla="*/ 13 h 1660"/>
                <a:gd name="T4" fmla="*/ 375 w 666"/>
                <a:gd name="T5" fmla="*/ 31 h 1660"/>
                <a:gd name="T6" fmla="*/ 447 w 666"/>
                <a:gd name="T7" fmla="*/ 88 h 1660"/>
                <a:gd name="T8" fmla="*/ 516 w 666"/>
                <a:gd name="T9" fmla="*/ 176 h 1660"/>
                <a:gd name="T10" fmla="*/ 576 w 666"/>
                <a:gd name="T11" fmla="*/ 292 h 1660"/>
                <a:gd name="T12" fmla="*/ 622 w 666"/>
                <a:gd name="T13" fmla="*/ 426 h 1660"/>
                <a:gd name="T14" fmla="*/ 653 w 666"/>
                <a:gd name="T15" fmla="*/ 569 h 1660"/>
                <a:gd name="T16" fmla="*/ 666 w 666"/>
                <a:gd name="T17" fmla="*/ 697 h 1660"/>
                <a:gd name="T18" fmla="*/ 655 w 666"/>
                <a:gd name="T19" fmla="*/ 810 h 1660"/>
                <a:gd name="T20" fmla="*/ 622 w 666"/>
                <a:gd name="T21" fmla="*/ 940 h 1660"/>
                <a:gd name="T22" fmla="*/ 605 w 666"/>
                <a:gd name="T23" fmla="*/ 1592 h 1660"/>
                <a:gd name="T24" fmla="*/ 591 w 666"/>
                <a:gd name="T25" fmla="*/ 1623 h 1660"/>
                <a:gd name="T26" fmla="*/ 569 w 666"/>
                <a:gd name="T27" fmla="*/ 1645 h 1660"/>
                <a:gd name="T28" fmla="*/ 538 w 666"/>
                <a:gd name="T29" fmla="*/ 1659 h 1660"/>
                <a:gd name="T30" fmla="*/ 258 w 666"/>
                <a:gd name="T31" fmla="*/ 1660 h 1660"/>
                <a:gd name="T32" fmla="*/ 226 w 666"/>
                <a:gd name="T33" fmla="*/ 1649 h 1660"/>
                <a:gd name="T34" fmla="*/ 200 w 666"/>
                <a:gd name="T35" fmla="*/ 1629 h 1660"/>
                <a:gd name="T36" fmla="*/ 185 w 666"/>
                <a:gd name="T37" fmla="*/ 1600 h 1660"/>
                <a:gd name="T38" fmla="*/ 180 w 666"/>
                <a:gd name="T39" fmla="*/ 1011 h 1660"/>
                <a:gd name="T40" fmla="*/ 129 w 666"/>
                <a:gd name="T41" fmla="*/ 938 h 1660"/>
                <a:gd name="T42" fmla="*/ 87 w 666"/>
                <a:gd name="T43" fmla="*/ 853 h 1660"/>
                <a:gd name="T44" fmla="*/ 48 w 666"/>
                <a:gd name="T45" fmla="*/ 742 h 1660"/>
                <a:gd name="T46" fmla="*/ 14 w 666"/>
                <a:gd name="T47" fmla="*/ 618 h 1660"/>
                <a:gd name="T48" fmla="*/ 6 w 666"/>
                <a:gd name="T49" fmla="*/ 566 h 1660"/>
                <a:gd name="T50" fmla="*/ 1 w 666"/>
                <a:gd name="T51" fmla="*/ 486 h 1660"/>
                <a:gd name="T52" fmla="*/ 3 w 666"/>
                <a:gd name="T53" fmla="*/ 364 h 1660"/>
                <a:gd name="T54" fmla="*/ 15 w 666"/>
                <a:gd name="T55" fmla="*/ 288 h 1660"/>
                <a:gd name="T56" fmla="*/ 31 w 666"/>
                <a:gd name="T57" fmla="*/ 220 h 1660"/>
                <a:gd name="T58" fmla="*/ 55 w 666"/>
                <a:gd name="T59" fmla="*/ 159 h 1660"/>
                <a:gd name="T60" fmla="*/ 90 w 666"/>
                <a:gd name="T61" fmla="*/ 99 h 1660"/>
                <a:gd name="T62" fmla="*/ 133 w 666"/>
                <a:gd name="T63" fmla="*/ 52 h 1660"/>
                <a:gd name="T64" fmla="*/ 182 w 666"/>
                <a:gd name="T65" fmla="*/ 20 h 1660"/>
                <a:gd name="T66" fmla="*/ 238 w 666"/>
                <a:gd name="T67" fmla="*/ 2 h 1660"/>
                <a:gd name="T68" fmla="*/ 268 w 666"/>
                <a:gd name="T69" fmla="*/ 172 h 1660"/>
                <a:gd name="T70" fmla="*/ 256 w 666"/>
                <a:gd name="T71" fmla="*/ 174 h 1660"/>
                <a:gd name="T72" fmla="*/ 229 w 666"/>
                <a:gd name="T73" fmla="*/ 198 h 1660"/>
                <a:gd name="T74" fmla="*/ 201 w 666"/>
                <a:gd name="T75" fmla="*/ 252 h 1660"/>
                <a:gd name="T76" fmla="*/ 177 w 666"/>
                <a:gd name="T77" fmla="*/ 353 h 1660"/>
                <a:gd name="T78" fmla="*/ 172 w 666"/>
                <a:gd name="T79" fmla="*/ 479 h 1660"/>
                <a:gd name="T80" fmla="*/ 188 w 666"/>
                <a:gd name="T81" fmla="*/ 609 h 1660"/>
                <a:gd name="T82" fmla="*/ 218 w 666"/>
                <a:gd name="T83" fmla="*/ 716 h 1660"/>
                <a:gd name="T84" fmla="*/ 252 w 666"/>
                <a:gd name="T85" fmla="*/ 806 h 1660"/>
                <a:gd name="T86" fmla="*/ 290 w 666"/>
                <a:gd name="T87" fmla="*/ 873 h 1660"/>
                <a:gd name="T88" fmla="*/ 329 w 666"/>
                <a:gd name="T89" fmla="*/ 920 h 1660"/>
                <a:gd name="T90" fmla="*/ 347 w 666"/>
                <a:gd name="T91" fmla="*/ 952 h 1660"/>
                <a:gd name="T92" fmla="*/ 352 w 666"/>
                <a:gd name="T93" fmla="*/ 1489 h 1660"/>
                <a:gd name="T94" fmla="*/ 436 w 666"/>
                <a:gd name="T95" fmla="*/ 972 h 1660"/>
                <a:gd name="T96" fmla="*/ 440 w 666"/>
                <a:gd name="T97" fmla="*/ 950 h 1660"/>
                <a:gd name="T98" fmla="*/ 479 w 666"/>
                <a:gd name="T99" fmla="*/ 820 h 1660"/>
                <a:gd name="T100" fmla="*/ 494 w 666"/>
                <a:gd name="T101" fmla="*/ 728 h 1660"/>
                <a:gd name="T102" fmla="*/ 490 w 666"/>
                <a:gd name="T103" fmla="*/ 628 h 1660"/>
                <a:gd name="T104" fmla="*/ 478 w 666"/>
                <a:gd name="T105" fmla="*/ 568 h 1660"/>
                <a:gd name="T106" fmla="*/ 452 w 666"/>
                <a:gd name="T107" fmla="*/ 449 h 1660"/>
                <a:gd name="T108" fmla="*/ 414 w 666"/>
                <a:gd name="T109" fmla="*/ 345 h 1660"/>
                <a:gd name="T110" fmla="*/ 368 w 666"/>
                <a:gd name="T111" fmla="*/ 260 h 1660"/>
                <a:gd name="T112" fmla="*/ 316 w 666"/>
                <a:gd name="T113" fmla="*/ 198 h 1660"/>
                <a:gd name="T114" fmla="*/ 285 w 666"/>
                <a:gd name="T115" fmla="*/ 176 h 1660"/>
                <a:gd name="T116" fmla="*/ 268 w 666"/>
                <a:gd name="T117" fmla="*/ 172 h 1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6" h="1660">
                  <a:moveTo>
                    <a:pt x="266" y="0"/>
                  </a:moveTo>
                  <a:lnTo>
                    <a:pt x="268" y="0"/>
                  </a:lnTo>
                  <a:lnTo>
                    <a:pt x="274" y="1"/>
                  </a:lnTo>
                  <a:lnTo>
                    <a:pt x="279" y="1"/>
                  </a:lnTo>
                  <a:lnTo>
                    <a:pt x="281" y="1"/>
                  </a:lnTo>
                  <a:lnTo>
                    <a:pt x="300" y="4"/>
                  </a:lnTo>
                  <a:lnTo>
                    <a:pt x="319" y="8"/>
                  </a:lnTo>
                  <a:lnTo>
                    <a:pt x="338" y="13"/>
                  </a:lnTo>
                  <a:lnTo>
                    <a:pt x="357" y="21"/>
                  </a:lnTo>
                  <a:lnTo>
                    <a:pt x="357" y="22"/>
                  </a:lnTo>
                  <a:lnTo>
                    <a:pt x="357" y="21"/>
                  </a:lnTo>
                  <a:lnTo>
                    <a:pt x="375" y="31"/>
                  </a:lnTo>
                  <a:lnTo>
                    <a:pt x="394" y="42"/>
                  </a:lnTo>
                  <a:lnTo>
                    <a:pt x="411" y="55"/>
                  </a:lnTo>
                  <a:lnTo>
                    <a:pt x="429" y="69"/>
                  </a:lnTo>
                  <a:lnTo>
                    <a:pt x="447" y="88"/>
                  </a:lnTo>
                  <a:lnTo>
                    <a:pt x="466" y="107"/>
                  </a:lnTo>
                  <a:lnTo>
                    <a:pt x="483" y="128"/>
                  </a:lnTo>
                  <a:lnTo>
                    <a:pt x="500" y="152"/>
                  </a:lnTo>
                  <a:lnTo>
                    <a:pt x="516" y="176"/>
                  </a:lnTo>
                  <a:lnTo>
                    <a:pt x="533" y="203"/>
                  </a:lnTo>
                  <a:lnTo>
                    <a:pt x="547" y="231"/>
                  </a:lnTo>
                  <a:lnTo>
                    <a:pt x="561" y="261"/>
                  </a:lnTo>
                  <a:lnTo>
                    <a:pt x="576" y="292"/>
                  </a:lnTo>
                  <a:lnTo>
                    <a:pt x="588" y="324"/>
                  </a:lnTo>
                  <a:lnTo>
                    <a:pt x="601" y="357"/>
                  </a:lnTo>
                  <a:lnTo>
                    <a:pt x="612" y="391"/>
                  </a:lnTo>
                  <a:lnTo>
                    <a:pt x="622" y="426"/>
                  </a:lnTo>
                  <a:lnTo>
                    <a:pt x="632" y="462"/>
                  </a:lnTo>
                  <a:lnTo>
                    <a:pt x="639" y="498"/>
                  </a:lnTo>
                  <a:lnTo>
                    <a:pt x="646" y="535"/>
                  </a:lnTo>
                  <a:lnTo>
                    <a:pt x="653" y="569"/>
                  </a:lnTo>
                  <a:lnTo>
                    <a:pt x="659" y="603"/>
                  </a:lnTo>
                  <a:lnTo>
                    <a:pt x="663" y="635"/>
                  </a:lnTo>
                  <a:lnTo>
                    <a:pt x="666" y="666"/>
                  </a:lnTo>
                  <a:lnTo>
                    <a:pt x="666" y="697"/>
                  </a:lnTo>
                  <a:lnTo>
                    <a:pt x="666" y="726"/>
                  </a:lnTo>
                  <a:lnTo>
                    <a:pt x="663" y="755"/>
                  </a:lnTo>
                  <a:lnTo>
                    <a:pt x="660" y="782"/>
                  </a:lnTo>
                  <a:lnTo>
                    <a:pt x="655" y="810"/>
                  </a:lnTo>
                  <a:lnTo>
                    <a:pt x="650" y="837"/>
                  </a:lnTo>
                  <a:lnTo>
                    <a:pt x="644" y="864"/>
                  </a:lnTo>
                  <a:lnTo>
                    <a:pt x="638" y="890"/>
                  </a:lnTo>
                  <a:lnTo>
                    <a:pt x="622" y="940"/>
                  </a:lnTo>
                  <a:lnTo>
                    <a:pt x="606" y="991"/>
                  </a:lnTo>
                  <a:lnTo>
                    <a:pt x="606" y="1574"/>
                  </a:lnTo>
                  <a:lnTo>
                    <a:pt x="606" y="1583"/>
                  </a:lnTo>
                  <a:lnTo>
                    <a:pt x="605" y="1592"/>
                  </a:lnTo>
                  <a:lnTo>
                    <a:pt x="603" y="1600"/>
                  </a:lnTo>
                  <a:lnTo>
                    <a:pt x="600" y="1608"/>
                  </a:lnTo>
                  <a:lnTo>
                    <a:pt x="595" y="1615"/>
                  </a:lnTo>
                  <a:lnTo>
                    <a:pt x="591" y="1623"/>
                  </a:lnTo>
                  <a:lnTo>
                    <a:pt x="586" y="1629"/>
                  </a:lnTo>
                  <a:lnTo>
                    <a:pt x="581" y="1635"/>
                  </a:lnTo>
                  <a:lnTo>
                    <a:pt x="575" y="1640"/>
                  </a:lnTo>
                  <a:lnTo>
                    <a:pt x="569" y="1645"/>
                  </a:lnTo>
                  <a:lnTo>
                    <a:pt x="561" y="1649"/>
                  </a:lnTo>
                  <a:lnTo>
                    <a:pt x="554" y="1654"/>
                  </a:lnTo>
                  <a:lnTo>
                    <a:pt x="546" y="1657"/>
                  </a:lnTo>
                  <a:lnTo>
                    <a:pt x="538" y="1659"/>
                  </a:lnTo>
                  <a:lnTo>
                    <a:pt x="530" y="1660"/>
                  </a:lnTo>
                  <a:lnTo>
                    <a:pt x="520" y="1660"/>
                  </a:lnTo>
                  <a:lnTo>
                    <a:pt x="266" y="1660"/>
                  </a:lnTo>
                  <a:lnTo>
                    <a:pt x="258" y="1660"/>
                  </a:lnTo>
                  <a:lnTo>
                    <a:pt x="249" y="1659"/>
                  </a:lnTo>
                  <a:lnTo>
                    <a:pt x="241" y="1657"/>
                  </a:lnTo>
                  <a:lnTo>
                    <a:pt x="233" y="1654"/>
                  </a:lnTo>
                  <a:lnTo>
                    <a:pt x="226" y="1649"/>
                  </a:lnTo>
                  <a:lnTo>
                    <a:pt x="218" y="1645"/>
                  </a:lnTo>
                  <a:lnTo>
                    <a:pt x="211" y="1640"/>
                  </a:lnTo>
                  <a:lnTo>
                    <a:pt x="206" y="1635"/>
                  </a:lnTo>
                  <a:lnTo>
                    <a:pt x="200" y="1629"/>
                  </a:lnTo>
                  <a:lnTo>
                    <a:pt x="195" y="1623"/>
                  </a:lnTo>
                  <a:lnTo>
                    <a:pt x="191" y="1615"/>
                  </a:lnTo>
                  <a:lnTo>
                    <a:pt x="188" y="1608"/>
                  </a:lnTo>
                  <a:lnTo>
                    <a:pt x="185" y="1600"/>
                  </a:lnTo>
                  <a:lnTo>
                    <a:pt x="182" y="1592"/>
                  </a:lnTo>
                  <a:lnTo>
                    <a:pt x="181" y="1583"/>
                  </a:lnTo>
                  <a:lnTo>
                    <a:pt x="180" y="1574"/>
                  </a:lnTo>
                  <a:lnTo>
                    <a:pt x="180" y="1011"/>
                  </a:lnTo>
                  <a:lnTo>
                    <a:pt x="167" y="994"/>
                  </a:lnTo>
                  <a:lnTo>
                    <a:pt x="154" y="976"/>
                  </a:lnTo>
                  <a:lnTo>
                    <a:pt x="140" y="958"/>
                  </a:lnTo>
                  <a:lnTo>
                    <a:pt x="129" y="938"/>
                  </a:lnTo>
                  <a:lnTo>
                    <a:pt x="118" y="917"/>
                  </a:lnTo>
                  <a:lnTo>
                    <a:pt x="106" y="897"/>
                  </a:lnTo>
                  <a:lnTo>
                    <a:pt x="96" y="875"/>
                  </a:lnTo>
                  <a:lnTo>
                    <a:pt x="87" y="853"/>
                  </a:lnTo>
                  <a:lnTo>
                    <a:pt x="76" y="827"/>
                  </a:lnTo>
                  <a:lnTo>
                    <a:pt x="66" y="799"/>
                  </a:lnTo>
                  <a:lnTo>
                    <a:pt x="57" y="771"/>
                  </a:lnTo>
                  <a:lnTo>
                    <a:pt x="48" y="742"/>
                  </a:lnTo>
                  <a:lnTo>
                    <a:pt x="39" y="712"/>
                  </a:lnTo>
                  <a:lnTo>
                    <a:pt x="30" y="681"/>
                  </a:lnTo>
                  <a:lnTo>
                    <a:pt x="22" y="651"/>
                  </a:lnTo>
                  <a:lnTo>
                    <a:pt x="14" y="618"/>
                  </a:lnTo>
                  <a:lnTo>
                    <a:pt x="12" y="608"/>
                  </a:lnTo>
                  <a:lnTo>
                    <a:pt x="9" y="588"/>
                  </a:lnTo>
                  <a:lnTo>
                    <a:pt x="6" y="566"/>
                  </a:lnTo>
                  <a:lnTo>
                    <a:pt x="4" y="545"/>
                  </a:lnTo>
                  <a:lnTo>
                    <a:pt x="3" y="526"/>
                  </a:lnTo>
                  <a:lnTo>
                    <a:pt x="1" y="505"/>
                  </a:lnTo>
                  <a:lnTo>
                    <a:pt x="1" y="486"/>
                  </a:lnTo>
                  <a:lnTo>
                    <a:pt x="0" y="467"/>
                  </a:lnTo>
                  <a:lnTo>
                    <a:pt x="0" y="447"/>
                  </a:lnTo>
                  <a:lnTo>
                    <a:pt x="1" y="405"/>
                  </a:lnTo>
                  <a:lnTo>
                    <a:pt x="3" y="364"/>
                  </a:lnTo>
                  <a:lnTo>
                    <a:pt x="5" y="344"/>
                  </a:lnTo>
                  <a:lnTo>
                    <a:pt x="8" y="326"/>
                  </a:lnTo>
                  <a:lnTo>
                    <a:pt x="10" y="306"/>
                  </a:lnTo>
                  <a:lnTo>
                    <a:pt x="15" y="288"/>
                  </a:lnTo>
                  <a:lnTo>
                    <a:pt x="18" y="270"/>
                  </a:lnTo>
                  <a:lnTo>
                    <a:pt x="22" y="253"/>
                  </a:lnTo>
                  <a:lnTo>
                    <a:pt x="27" y="236"/>
                  </a:lnTo>
                  <a:lnTo>
                    <a:pt x="31" y="220"/>
                  </a:lnTo>
                  <a:lnTo>
                    <a:pt x="37" y="203"/>
                  </a:lnTo>
                  <a:lnTo>
                    <a:pt x="42" y="188"/>
                  </a:lnTo>
                  <a:lnTo>
                    <a:pt x="49" y="173"/>
                  </a:lnTo>
                  <a:lnTo>
                    <a:pt x="55" y="159"/>
                  </a:lnTo>
                  <a:lnTo>
                    <a:pt x="63" y="142"/>
                  </a:lnTo>
                  <a:lnTo>
                    <a:pt x="71" y="127"/>
                  </a:lnTo>
                  <a:lnTo>
                    <a:pt x="80" y="112"/>
                  </a:lnTo>
                  <a:lnTo>
                    <a:pt x="90" y="99"/>
                  </a:lnTo>
                  <a:lnTo>
                    <a:pt x="100" y="86"/>
                  </a:lnTo>
                  <a:lnTo>
                    <a:pt x="110" y="73"/>
                  </a:lnTo>
                  <a:lnTo>
                    <a:pt x="122" y="62"/>
                  </a:lnTo>
                  <a:lnTo>
                    <a:pt x="133" y="52"/>
                  </a:lnTo>
                  <a:lnTo>
                    <a:pt x="144" y="42"/>
                  </a:lnTo>
                  <a:lnTo>
                    <a:pt x="157" y="33"/>
                  </a:lnTo>
                  <a:lnTo>
                    <a:pt x="169" y="26"/>
                  </a:lnTo>
                  <a:lnTo>
                    <a:pt x="182" y="20"/>
                  </a:lnTo>
                  <a:lnTo>
                    <a:pt x="196" y="13"/>
                  </a:lnTo>
                  <a:lnTo>
                    <a:pt x="210" y="9"/>
                  </a:lnTo>
                  <a:lnTo>
                    <a:pt x="224" y="5"/>
                  </a:lnTo>
                  <a:lnTo>
                    <a:pt x="238" y="2"/>
                  </a:lnTo>
                  <a:lnTo>
                    <a:pt x="244" y="2"/>
                  </a:lnTo>
                  <a:lnTo>
                    <a:pt x="256" y="1"/>
                  </a:lnTo>
                  <a:lnTo>
                    <a:pt x="266" y="0"/>
                  </a:lnTo>
                  <a:close/>
                  <a:moveTo>
                    <a:pt x="268" y="172"/>
                  </a:moveTo>
                  <a:lnTo>
                    <a:pt x="266" y="172"/>
                  </a:lnTo>
                  <a:lnTo>
                    <a:pt x="263" y="172"/>
                  </a:lnTo>
                  <a:lnTo>
                    <a:pt x="256" y="174"/>
                  </a:lnTo>
                  <a:lnTo>
                    <a:pt x="248" y="177"/>
                  </a:lnTo>
                  <a:lnTo>
                    <a:pt x="242" y="182"/>
                  </a:lnTo>
                  <a:lnTo>
                    <a:pt x="235" y="190"/>
                  </a:lnTo>
                  <a:lnTo>
                    <a:pt x="229" y="198"/>
                  </a:lnTo>
                  <a:lnTo>
                    <a:pt x="222" y="207"/>
                  </a:lnTo>
                  <a:lnTo>
                    <a:pt x="215" y="219"/>
                  </a:lnTo>
                  <a:lnTo>
                    <a:pt x="209" y="232"/>
                  </a:lnTo>
                  <a:lnTo>
                    <a:pt x="201" y="252"/>
                  </a:lnTo>
                  <a:lnTo>
                    <a:pt x="193" y="274"/>
                  </a:lnTo>
                  <a:lnTo>
                    <a:pt x="187" y="299"/>
                  </a:lnTo>
                  <a:lnTo>
                    <a:pt x="181" y="325"/>
                  </a:lnTo>
                  <a:lnTo>
                    <a:pt x="177" y="353"/>
                  </a:lnTo>
                  <a:lnTo>
                    <a:pt x="174" y="382"/>
                  </a:lnTo>
                  <a:lnTo>
                    <a:pt x="172" y="414"/>
                  </a:lnTo>
                  <a:lnTo>
                    <a:pt x="171" y="447"/>
                  </a:lnTo>
                  <a:lnTo>
                    <a:pt x="172" y="479"/>
                  </a:lnTo>
                  <a:lnTo>
                    <a:pt x="173" y="512"/>
                  </a:lnTo>
                  <a:lnTo>
                    <a:pt x="176" y="545"/>
                  </a:lnTo>
                  <a:lnTo>
                    <a:pt x="180" y="580"/>
                  </a:lnTo>
                  <a:lnTo>
                    <a:pt x="188" y="609"/>
                  </a:lnTo>
                  <a:lnTo>
                    <a:pt x="196" y="638"/>
                  </a:lnTo>
                  <a:lnTo>
                    <a:pt x="203" y="665"/>
                  </a:lnTo>
                  <a:lnTo>
                    <a:pt x="211" y="692"/>
                  </a:lnTo>
                  <a:lnTo>
                    <a:pt x="218" y="716"/>
                  </a:lnTo>
                  <a:lnTo>
                    <a:pt x="227" y="741"/>
                  </a:lnTo>
                  <a:lnTo>
                    <a:pt x="235" y="765"/>
                  </a:lnTo>
                  <a:lnTo>
                    <a:pt x="244" y="787"/>
                  </a:lnTo>
                  <a:lnTo>
                    <a:pt x="252" y="806"/>
                  </a:lnTo>
                  <a:lnTo>
                    <a:pt x="261" y="824"/>
                  </a:lnTo>
                  <a:lnTo>
                    <a:pt x="270" y="841"/>
                  </a:lnTo>
                  <a:lnTo>
                    <a:pt x="279" y="857"/>
                  </a:lnTo>
                  <a:lnTo>
                    <a:pt x="290" y="873"/>
                  </a:lnTo>
                  <a:lnTo>
                    <a:pt x="300" y="888"/>
                  </a:lnTo>
                  <a:lnTo>
                    <a:pt x="311" y="901"/>
                  </a:lnTo>
                  <a:lnTo>
                    <a:pt x="323" y="913"/>
                  </a:lnTo>
                  <a:lnTo>
                    <a:pt x="329" y="920"/>
                  </a:lnTo>
                  <a:lnTo>
                    <a:pt x="335" y="927"/>
                  </a:lnTo>
                  <a:lnTo>
                    <a:pt x="340" y="935"/>
                  </a:lnTo>
                  <a:lnTo>
                    <a:pt x="344" y="942"/>
                  </a:lnTo>
                  <a:lnTo>
                    <a:pt x="347" y="952"/>
                  </a:lnTo>
                  <a:lnTo>
                    <a:pt x="349" y="960"/>
                  </a:lnTo>
                  <a:lnTo>
                    <a:pt x="351" y="969"/>
                  </a:lnTo>
                  <a:lnTo>
                    <a:pt x="352" y="979"/>
                  </a:lnTo>
                  <a:lnTo>
                    <a:pt x="352" y="1489"/>
                  </a:lnTo>
                  <a:lnTo>
                    <a:pt x="435" y="1489"/>
                  </a:lnTo>
                  <a:lnTo>
                    <a:pt x="435" y="979"/>
                  </a:lnTo>
                  <a:lnTo>
                    <a:pt x="436" y="979"/>
                  </a:lnTo>
                  <a:lnTo>
                    <a:pt x="436" y="972"/>
                  </a:lnTo>
                  <a:lnTo>
                    <a:pt x="437" y="966"/>
                  </a:lnTo>
                  <a:lnTo>
                    <a:pt x="438" y="959"/>
                  </a:lnTo>
                  <a:lnTo>
                    <a:pt x="440" y="953"/>
                  </a:lnTo>
                  <a:lnTo>
                    <a:pt x="440" y="950"/>
                  </a:lnTo>
                  <a:lnTo>
                    <a:pt x="454" y="908"/>
                  </a:lnTo>
                  <a:lnTo>
                    <a:pt x="468" y="864"/>
                  </a:lnTo>
                  <a:lnTo>
                    <a:pt x="474" y="842"/>
                  </a:lnTo>
                  <a:lnTo>
                    <a:pt x="479" y="820"/>
                  </a:lnTo>
                  <a:lnTo>
                    <a:pt x="484" y="798"/>
                  </a:lnTo>
                  <a:lnTo>
                    <a:pt x="488" y="774"/>
                  </a:lnTo>
                  <a:lnTo>
                    <a:pt x="491" y="752"/>
                  </a:lnTo>
                  <a:lnTo>
                    <a:pt x="494" y="728"/>
                  </a:lnTo>
                  <a:lnTo>
                    <a:pt x="495" y="704"/>
                  </a:lnTo>
                  <a:lnTo>
                    <a:pt x="495" y="679"/>
                  </a:lnTo>
                  <a:lnTo>
                    <a:pt x="492" y="654"/>
                  </a:lnTo>
                  <a:lnTo>
                    <a:pt x="490" y="628"/>
                  </a:lnTo>
                  <a:lnTo>
                    <a:pt x="486" y="602"/>
                  </a:lnTo>
                  <a:lnTo>
                    <a:pt x="480" y="575"/>
                  </a:lnTo>
                  <a:lnTo>
                    <a:pt x="478" y="568"/>
                  </a:lnTo>
                  <a:lnTo>
                    <a:pt x="473" y="537"/>
                  </a:lnTo>
                  <a:lnTo>
                    <a:pt x="467" y="507"/>
                  </a:lnTo>
                  <a:lnTo>
                    <a:pt x="460" y="478"/>
                  </a:lnTo>
                  <a:lnTo>
                    <a:pt x="452" y="449"/>
                  </a:lnTo>
                  <a:lnTo>
                    <a:pt x="443" y="423"/>
                  </a:lnTo>
                  <a:lnTo>
                    <a:pt x="434" y="396"/>
                  </a:lnTo>
                  <a:lnTo>
                    <a:pt x="424" y="370"/>
                  </a:lnTo>
                  <a:lnTo>
                    <a:pt x="414" y="345"/>
                  </a:lnTo>
                  <a:lnTo>
                    <a:pt x="403" y="322"/>
                  </a:lnTo>
                  <a:lnTo>
                    <a:pt x="392" y="300"/>
                  </a:lnTo>
                  <a:lnTo>
                    <a:pt x="380" y="279"/>
                  </a:lnTo>
                  <a:lnTo>
                    <a:pt x="368" y="260"/>
                  </a:lnTo>
                  <a:lnTo>
                    <a:pt x="355" y="242"/>
                  </a:lnTo>
                  <a:lnTo>
                    <a:pt x="342" y="226"/>
                  </a:lnTo>
                  <a:lnTo>
                    <a:pt x="330" y="210"/>
                  </a:lnTo>
                  <a:lnTo>
                    <a:pt x="316" y="198"/>
                  </a:lnTo>
                  <a:lnTo>
                    <a:pt x="308" y="191"/>
                  </a:lnTo>
                  <a:lnTo>
                    <a:pt x="301" y="186"/>
                  </a:lnTo>
                  <a:lnTo>
                    <a:pt x="293" y="180"/>
                  </a:lnTo>
                  <a:lnTo>
                    <a:pt x="285" y="176"/>
                  </a:lnTo>
                  <a:lnTo>
                    <a:pt x="277" y="173"/>
                  </a:lnTo>
                  <a:lnTo>
                    <a:pt x="270" y="172"/>
                  </a:lnTo>
                  <a:lnTo>
                    <a:pt x="268" y="1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7" name="Freeform 12"/>
            <p:cNvSpPr>
              <a:spLocks noChangeArrowheads="1"/>
            </p:cNvSpPr>
            <p:nvPr userDrawn="1"/>
          </p:nvSpPr>
          <p:spPr bwMode="auto">
            <a:xfrm>
              <a:off x="7021513" y="1668090"/>
              <a:ext cx="215900" cy="825293"/>
            </a:xfrm>
            <a:custGeom>
              <a:avLst/>
              <a:gdLst>
                <a:gd name="T0" fmla="*/ 192 w 494"/>
                <a:gd name="T1" fmla="*/ 0 h 1487"/>
                <a:gd name="T2" fmla="*/ 216 w 494"/>
                <a:gd name="T3" fmla="*/ 5 h 1487"/>
                <a:gd name="T4" fmla="*/ 240 w 494"/>
                <a:gd name="T5" fmla="*/ 14 h 1487"/>
                <a:gd name="T6" fmla="*/ 262 w 494"/>
                <a:gd name="T7" fmla="*/ 28 h 1487"/>
                <a:gd name="T8" fmla="*/ 286 w 494"/>
                <a:gd name="T9" fmla="*/ 46 h 1487"/>
                <a:gd name="T10" fmla="*/ 308 w 494"/>
                <a:gd name="T11" fmla="*/ 68 h 1487"/>
                <a:gd name="T12" fmla="*/ 329 w 494"/>
                <a:gd name="T13" fmla="*/ 93 h 1487"/>
                <a:gd name="T14" fmla="*/ 350 w 494"/>
                <a:gd name="T15" fmla="*/ 122 h 1487"/>
                <a:gd name="T16" fmla="*/ 370 w 494"/>
                <a:gd name="T17" fmla="*/ 154 h 1487"/>
                <a:gd name="T18" fmla="*/ 389 w 494"/>
                <a:gd name="T19" fmla="*/ 188 h 1487"/>
                <a:gd name="T20" fmla="*/ 415 w 494"/>
                <a:gd name="T21" fmla="*/ 246 h 1487"/>
                <a:gd name="T22" fmla="*/ 445 w 494"/>
                <a:gd name="T23" fmla="*/ 329 h 1487"/>
                <a:gd name="T24" fmla="*/ 468 w 494"/>
                <a:gd name="T25" fmla="*/ 420 h 1487"/>
                <a:gd name="T26" fmla="*/ 484 w 494"/>
                <a:gd name="T27" fmla="*/ 499 h 1487"/>
                <a:gd name="T28" fmla="*/ 492 w 494"/>
                <a:gd name="T29" fmla="*/ 558 h 1487"/>
                <a:gd name="T30" fmla="*/ 494 w 494"/>
                <a:gd name="T31" fmla="*/ 615 h 1487"/>
                <a:gd name="T32" fmla="*/ 491 w 494"/>
                <a:gd name="T33" fmla="*/ 670 h 1487"/>
                <a:gd name="T34" fmla="*/ 483 w 494"/>
                <a:gd name="T35" fmla="*/ 721 h 1487"/>
                <a:gd name="T36" fmla="*/ 471 w 494"/>
                <a:gd name="T37" fmla="*/ 772 h 1487"/>
                <a:gd name="T38" fmla="*/ 450 w 494"/>
                <a:gd name="T39" fmla="*/ 844 h 1487"/>
                <a:gd name="T40" fmla="*/ 434 w 494"/>
                <a:gd name="T41" fmla="*/ 1487 h 1487"/>
                <a:gd name="T42" fmla="*/ 180 w 494"/>
                <a:gd name="T43" fmla="*/ 892 h 1487"/>
                <a:gd name="T44" fmla="*/ 150 w 494"/>
                <a:gd name="T45" fmla="*/ 858 h 1487"/>
                <a:gd name="T46" fmla="*/ 124 w 494"/>
                <a:gd name="T47" fmla="*/ 820 h 1487"/>
                <a:gd name="T48" fmla="*/ 101 w 494"/>
                <a:gd name="T49" fmla="*/ 779 h 1487"/>
                <a:gd name="T50" fmla="*/ 79 w 494"/>
                <a:gd name="T51" fmla="*/ 733 h 1487"/>
                <a:gd name="T52" fmla="*/ 60 w 494"/>
                <a:gd name="T53" fmla="*/ 683 h 1487"/>
                <a:gd name="T54" fmla="*/ 43 w 494"/>
                <a:gd name="T55" fmla="*/ 629 h 1487"/>
                <a:gd name="T56" fmla="*/ 11 w 494"/>
                <a:gd name="T57" fmla="*/ 510 h 1487"/>
                <a:gd name="T58" fmla="*/ 4 w 494"/>
                <a:gd name="T59" fmla="*/ 455 h 1487"/>
                <a:gd name="T60" fmla="*/ 1 w 494"/>
                <a:gd name="T61" fmla="*/ 403 h 1487"/>
                <a:gd name="T62" fmla="*/ 0 w 494"/>
                <a:gd name="T63" fmla="*/ 352 h 1487"/>
                <a:gd name="T64" fmla="*/ 2 w 494"/>
                <a:gd name="T65" fmla="*/ 305 h 1487"/>
                <a:gd name="T66" fmla="*/ 6 w 494"/>
                <a:gd name="T67" fmla="*/ 259 h 1487"/>
                <a:gd name="T68" fmla="*/ 12 w 494"/>
                <a:gd name="T69" fmla="*/ 217 h 1487"/>
                <a:gd name="T70" fmla="*/ 21 w 494"/>
                <a:gd name="T71" fmla="*/ 179 h 1487"/>
                <a:gd name="T72" fmla="*/ 32 w 494"/>
                <a:gd name="T73" fmla="*/ 143 h 1487"/>
                <a:gd name="T74" fmla="*/ 45 w 494"/>
                <a:gd name="T75" fmla="*/ 111 h 1487"/>
                <a:gd name="T76" fmla="*/ 59 w 494"/>
                <a:gd name="T77" fmla="*/ 82 h 1487"/>
                <a:gd name="T78" fmla="*/ 76 w 494"/>
                <a:gd name="T79" fmla="*/ 57 h 1487"/>
                <a:gd name="T80" fmla="*/ 94 w 494"/>
                <a:gd name="T81" fmla="*/ 37 h 1487"/>
                <a:gd name="T82" fmla="*/ 114 w 494"/>
                <a:gd name="T83" fmla="*/ 21 h 1487"/>
                <a:gd name="T84" fmla="*/ 135 w 494"/>
                <a:gd name="T85" fmla="*/ 9 h 1487"/>
                <a:gd name="T86" fmla="*/ 157 w 494"/>
                <a:gd name="T87" fmla="*/ 2 h 1487"/>
                <a:gd name="T88" fmla="*/ 180 w 494"/>
                <a:gd name="T89" fmla="*/ 0 h 1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4" h="1487">
                  <a:moveTo>
                    <a:pt x="180" y="0"/>
                  </a:moveTo>
                  <a:lnTo>
                    <a:pt x="192" y="0"/>
                  </a:lnTo>
                  <a:lnTo>
                    <a:pt x="204" y="2"/>
                  </a:lnTo>
                  <a:lnTo>
                    <a:pt x="216" y="5"/>
                  </a:lnTo>
                  <a:lnTo>
                    <a:pt x="227" y="9"/>
                  </a:lnTo>
                  <a:lnTo>
                    <a:pt x="240" y="14"/>
                  </a:lnTo>
                  <a:lnTo>
                    <a:pt x="251" y="20"/>
                  </a:lnTo>
                  <a:lnTo>
                    <a:pt x="262" y="28"/>
                  </a:lnTo>
                  <a:lnTo>
                    <a:pt x="275" y="37"/>
                  </a:lnTo>
                  <a:lnTo>
                    <a:pt x="286" y="46"/>
                  </a:lnTo>
                  <a:lnTo>
                    <a:pt x="296" y="56"/>
                  </a:lnTo>
                  <a:lnTo>
                    <a:pt x="308" y="68"/>
                  </a:lnTo>
                  <a:lnTo>
                    <a:pt x="319" y="80"/>
                  </a:lnTo>
                  <a:lnTo>
                    <a:pt x="329" y="93"/>
                  </a:lnTo>
                  <a:lnTo>
                    <a:pt x="340" y="107"/>
                  </a:lnTo>
                  <a:lnTo>
                    <a:pt x="350" y="122"/>
                  </a:lnTo>
                  <a:lnTo>
                    <a:pt x="360" y="138"/>
                  </a:lnTo>
                  <a:lnTo>
                    <a:pt x="370" y="154"/>
                  </a:lnTo>
                  <a:lnTo>
                    <a:pt x="380" y="171"/>
                  </a:lnTo>
                  <a:lnTo>
                    <a:pt x="389" y="188"/>
                  </a:lnTo>
                  <a:lnTo>
                    <a:pt x="398" y="207"/>
                  </a:lnTo>
                  <a:lnTo>
                    <a:pt x="415" y="246"/>
                  </a:lnTo>
                  <a:lnTo>
                    <a:pt x="430" y="286"/>
                  </a:lnTo>
                  <a:lnTo>
                    <a:pt x="445" y="329"/>
                  </a:lnTo>
                  <a:lnTo>
                    <a:pt x="457" y="374"/>
                  </a:lnTo>
                  <a:lnTo>
                    <a:pt x="468" y="420"/>
                  </a:lnTo>
                  <a:lnTo>
                    <a:pt x="477" y="467"/>
                  </a:lnTo>
                  <a:lnTo>
                    <a:pt x="484" y="499"/>
                  </a:lnTo>
                  <a:lnTo>
                    <a:pt x="489" y="529"/>
                  </a:lnTo>
                  <a:lnTo>
                    <a:pt x="492" y="558"/>
                  </a:lnTo>
                  <a:lnTo>
                    <a:pt x="494" y="587"/>
                  </a:lnTo>
                  <a:lnTo>
                    <a:pt x="494" y="615"/>
                  </a:lnTo>
                  <a:lnTo>
                    <a:pt x="493" y="643"/>
                  </a:lnTo>
                  <a:lnTo>
                    <a:pt x="491" y="670"/>
                  </a:lnTo>
                  <a:lnTo>
                    <a:pt x="488" y="695"/>
                  </a:lnTo>
                  <a:lnTo>
                    <a:pt x="483" y="721"/>
                  </a:lnTo>
                  <a:lnTo>
                    <a:pt x="478" y="747"/>
                  </a:lnTo>
                  <a:lnTo>
                    <a:pt x="471" y="772"/>
                  </a:lnTo>
                  <a:lnTo>
                    <a:pt x="465" y="795"/>
                  </a:lnTo>
                  <a:lnTo>
                    <a:pt x="450" y="844"/>
                  </a:lnTo>
                  <a:lnTo>
                    <a:pt x="434" y="892"/>
                  </a:lnTo>
                  <a:lnTo>
                    <a:pt x="434" y="1487"/>
                  </a:lnTo>
                  <a:lnTo>
                    <a:pt x="180" y="1487"/>
                  </a:lnTo>
                  <a:lnTo>
                    <a:pt x="180" y="892"/>
                  </a:lnTo>
                  <a:lnTo>
                    <a:pt x="164" y="876"/>
                  </a:lnTo>
                  <a:lnTo>
                    <a:pt x="150" y="858"/>
                  </a:lnTo>
                  <a:lnTo>
                    <a:pt x="137" y="840"/>
                  </a:lnTo>
                  <a:lnTo>
                    <a:pt x="124" y="820"/>
                  </a:lnTo>
                  <a:lnTo>
                    <a:pt x="112" y="800"/>
                  </a:lnTo>
                  <a:lnTo>
                    <a:pt x="101" y="779"/>
                  </a:lnTo>
                  <a:lnTo>
                    <a:pt x="89" y="756"/>
                  </a:lnTo>
                  <a:lnTo>
                    <a:pt x="79" y="733"/>
                  </a:lnTo>
                  <a:lnTo>
                    <a:pt x="70" y="708"/>
                  </a:lnTo>
                  <a:lnTo>
                    <a:pt x="60" y="683"/>
                  </a:lnTo>
                  <a:lnTo>
                    <a:pt x="51" y="656"/>
                  </a:lnTo>
                  <a:lnTo>
                    <a:pt x="43" y="629"/>
                  </a:lnTo>
                  <a:lnTo>
                    <a:pt x="26" y="572"/>
                  </a:lnTo>
                  <a:lnTo>
                    <a:pt x="11" y="510"/>
                  </a:lnTo>
                  <a:lnTo>
                    <a:pt x="7" y="482"/>
                  </a:lnTo>
                  <a:lnTo>
                    <a:pt x="4" y="455"/>
                  </a:lnTo>
                  <a:lnTo>
                    <a:pt x="2" y="428"/>
                  </a:lnTo>
                  <a:lnTo>
                    <a:pt x="1" y="403"/>
                  </a:lnTo>
                  <a:lnTo>
                    <a:pt x="0" y="377"/>
                  </a:lnTo>
                  <a:lnTo>
                    <a:pt x="0" y="352"/>
                  </a:lnTo>
                  <a:lnTo>
                    <a:pt x="0" y="328"/>
                  </a:lnTo>
                  <a:lnTo>
                    <a:pt x="2" y="305"/>
                  </a:lnTo>
                  <a:lnTo>
                    <a:pt x="3" y="282"/>
                  </a:lnTo>
                  <a:lnTo>
                    <a:pt x="6" y="259"/>
                  </a:lnTo>
                  <a:lnTo>
                    <a:pt x="8" y="238"/>
                  </a:lnTo>
                  <a:lnTo>
                    <a:pt x="12" y="217"/>
                  </a:lnTo>
                  <a:lnTo>
                    <a:pt x="16" y="198"/>
                  </a:lnTo>
                  <a:lnTo>
                    <a:pt x="21" y="179"/>
                  </a:lnTo>
                  <a:lnTo>
                    <a:pt x="26" y="160"/>
                  </a:lnTo>
                  <a:lnTo>
                    <a:pt x="32" y="143"/>
                  </a:lnTo>
                  <a:lnTo>
                    <a:pt x="38" y="126"/>
                  </a:lnTo>
                  <a:lnTo>
                    <a:pt x="45" y="111"/>
                  </a:lnTo>
                  <a:lnTo>
                    <a:pt x="52" y="97"/>
                  </a:lnTo>
                  <a:lnTo>
                    <a:pt x="59" y="82"/>
                  </a:lnTo>
                  <a:lnTo>
                    <a:pt x="68" y="70"/>
                  </a:lnTo>
                  <a:lnTo>
                    <a:pt x="76" y="57"/>
                  </a:lnTo>
                  <a:lnTo>
                    <a:pt x="85" y="47"/>
                  </a:lnTo>
                  <a:lnTo>
                    <a:pt x="94" y="37"/>
                  </a:lnTo>
                  <a:lnTo>
                    <a:pt x="104" y="28"/>
                  </a:lnTo>
                  <a:lnTo>
                    <a:pt x="114" y="21"/>
                  </a:lnTo>
                  <a:lnTo>
                    <a:pt x="124" y="14"/>
                  </a:lnTo>
                  <a:lnTo>
                    <a:pt x="135" y="9"/>
                  </a:lnTo>
                  <a:lnTo>
                    <a:pt x="146" y="5"/>
                  </a:lnTo>
                  <a:lnTo>
                    <a:pt x="157" y="2"/>
                  </a:lnTo>
                  <a:lnTo>
                    <a:pt x="169" y="0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8" name="Freeform 13"/>
            <p:cNvSpPr>
              <a:spLocks noChangeArrowheads="1"/>
            </p:cNvSpPr>
            <p:nvPr userDrawn="1"/>
          </p:nvSpPr>
          <p:spPr bwMode="auto">
            <a:xfrm>
              <a:off x="6964363" y="3159346"/>
              <a:ext cx="1187450" cy="1428599"/>
            </a:xfrm>
            <a:custGeom>
              <a:avLst/>
              <a:gdLst>
                <a:gd name="T0" fmla="*/ 2636 w 2636"/>
                <a:gd name="T1" fmla="*/ 500 h 2571"/>
                <a:gd name="T2" fmla="*/ 2439 w 2636"/>
                <a:gd name="T3" fmla="*/ 798 h 2571"/>
                <a:gd name="T4" fmla="*/ 2118 w 2636"/>
                <a:gd name="T5" fmla="*/ 1087 h 2571"/>
                <a:gd name="T6" fmla="*/ 1894 w 2636"/>
                <a:gd name="T7" fmla="*/ 1207 h 2571"/>
                <a:gd name="T8" fmla="*/ 2010 w 2636"/>
                <a:gd name="T9" fmla="*/ 1831 h 2571"/>
                <a:gd name="T10" fmla="*/ 2078 w 2636"/>
                <a:gd name="T11" fmla="*/ 2486 h 2571"/>
                <a:gd name="T12" fmla="*/ 2047 w 2636"/>
                <a:gd name="T13" fmla="*/ 2552 h 2571"/>
                <a:gd name="T14" fmla="*/ 1527 w 2636"/>
                <a:gd name="T15" fmla="*/ 2571 h 2571"/>
                <a:gd name="T16" fmla="*/ 1462 w 2636"/>
                <a:gd name="T17" fmla="*/ 2543 h 2571"/>
                <a:gd name="T18" fmla="*/ 1431 w 2636"/>
                <a:gd name="T19" fmla="*/ 2405 h 2571"/>
                <a:gd name="T20" fmla="*/ 1389 w 2636"/>
                <a:gd name="T21" fmla="*/ 1938 h 2571"/>
                <a:gd name="T22" fmla="*/ 1279 w 2636"/>
                <a:gd name="T23" fmla="*/ 1601 h 2571"/>
                <a:gd name="T24" fmla="*/ 982 w 2636"/>
                <a:gd name="T25" fmla="*/ 1606 h 2571"/>
                <a:gd name="T26" fmla="*/ 663 w 2636"/>
                <a:gd name="T27" fmla="*/ 1545 h 2571"/>
                <a:gd name="T28" fmla="*/ 438 w 2636"/>
                <a:gd name="T29" fmla="*/ 1495 h 2571"/>
                <a:gd name="T30" fmla="*/ 235 w 2636"/>
                <a:gd name="T31" fmla="*/ 1414 h 2571"/>
                <a:gd name="T32" fmla="*/ 95 w 2636"/>
                <a:gd name="T33" fmla="*/ 1319 h 2571"/>
                <a:gd name="T34" fmla="*/ 16 w 2636"/>
                <a:gd name="T35" fmla="*/ 1224 h 2571"/>
                <a:gd name="T36" fmla="*/ 1 w 2636"/>
                <a:gd name="T37" fmla="*/ 1155 h 2571"/>
                <a:gd name="T38" fmla="*/ 46 w 2636"/>
                <a:gd name="T39" fmla="*/ 1075 h 2571"/>
                <a:gd name="T40" fmla="*/ 173 w 2636"/>
                <a:gd name="T41" fmla="*/ 1025 h 2571"/>
                <a:gd name="T42" fmla="*/ 473 w 2636"/>
                <a:gd name="T43" fmla="*/ 1014 h 2571"/>
                <a:gd name="T44" fmla="*/ 2636 w 2636"/>
                <a:gd name="T45" fmla="*/ 500 h 2571"/>
                <a:gd name="T46" fmla="*/ 2514 w 2636"/>
                <a:gd name="T47" fmla="*/ 231 h 2571"/>
                <a:gd name="T48" fmla="*/ 2260 w 2636"/>
                <a:gd name="T49" fmla="*/ 431 h 2571"/>
                <a:gd name="T50" fmla="*/ 2024 w 2636"/>
                <a:gd name="T51" fmla="*/ 702 h 2571"/>
                <a:gd name="T52" fmla="*/ 1909 w 2636"/>
                <a:gd name="T53" fmla="*/ 896 h 2571"/>
                <a:gd name="T54" fmla="*/ 1878 w 2636"/>
                <a:gd name="T55" fmla="*/ 1033 h 2571"/>
                <a:gd name="T56" fmla="*/ 2134 w 2636"/>
                <a:gd name="T57" fmla="*/ 852 h 2571"/>
                <a:gd name="T58" fmla="*/ 2482 w 2636"/>
                <a:gd name="T59" fmla="*/ 427 h 2571"/>
                <a:gd name="T60" fmla="*/ 1696 w 2636"/>
                <a:gd name="T61" fmla="*/ 1120 h 2571"/>
                <a:gd name="T62" fmla="*/ 1670 w 2636"/>
                <a:gd name="T63" fmla="*/ 986 h 2571"/>
                <a:gd name="T64" fmla="*/ 1533 w 2636"/>
                <a:gd name="T65" fmla="*/ 853 h 2571"/>
                <a:gd name="T66" fmla="*/ 1336 w 2636"/>
                <a:gd name="T67" fmla="*/ 1006 h 2571"/>
                <a:gd name="T68" fmla="*/ 1433 w 2636"/>
                <a:gd name="T69" fmla="*/ 1376 h 2571"/>
                <a:gd name="T70" fmla="*/ 1482 w 2636"/>
                <a:gd name="T71" fmla="*/ 1445 h 2571"/>
                <a:gd name="T72" fmla="*/ 1555 w 2636"/>
                <a:gd name="T73" fmla="*/ 1880 h 2571"/>
                <a:gd name="T74" fmla="*/ 1596 w 2636"/>
                <a:gd name="T75" fmla="*/ 2334 h 2571"/>
                <a:gd name="T76" fmla="*/ 1854 w 2636"/>
                <a:gd name="T77" fmla="*/ 1964 h 2571"/>
                <a:gd name="T78" fmla="*/ 1739 w 2636"/>
                <a:gd name="T79" fmla="*/ 1286 h 2571"/>
                <a:gd name="T80" fmla="*/ 1198 w 2636"/>
                <a:gd name="T81" fmla="*/ 1346 h 2571"/>
                <a:gd name="T82" fmla="*/ 876 w 2636"/>
                <a:gd name="T83" fmla="*/ 1229 h 2571"/>
                <a:gd name="T84" fmla="*/ 678 w 2636"/>
                <a:gd name="T85" fmla="*/ 1198 h 2571"/>
                <a:gd name="T86" fmla="*/ 294 w 2636"/>
                <a:gd name="T87" fmla="*/ 1185 h 2571"/>
                <a:gd name="T88" fmla="*/ 230 w 2636"/>
                <a:gd name="T89" fmla="*/ 1224 h 2571"/>
                <a:gd name="T90" fmla="*/ 549 w 2636"/>
                <a:gd name="T91" fmla="*/ 1348 h 2571"/>
                <a:gd name="T92" fmla="*/ 818 w 2636"/>
                <a:gd name="T93" fmla="*/ 1402 h 2571"/>
                <a:gd name="T94" fmla="*/ 1116 w 2636"/>
                <a:gd name="T95" fmla="*/ 1444 h 2571"/>
                <a:gd name="T96" fmla="*/ 1307 w 2636"/>
                <a:gd name="T97" fmla="*/ 1416 h 2571"/>
                <a:gd name="T98" fmla="*/ 854 w 2636"/>
                <a:gd name="T99" fmla="*/ 1048 h 2571"/>
                <a:gd name="T100" fmla="*/ 1009 w 2636"/>
                <a:gd name="T101" fmla="*/ 1089 h 2571"/>
                <a:gd name="T102" fmla="*/ 1149 w 2636"/>
                <a:gd name="T103" fmla="*/ 982 h 2571"/>
                <a:gd name="T104" fmla="*/ 1158 w 2636"/>
                <a:gd name="T105" fmla="*/ 910 h 2571"/>
                <a:gd name="T106" fmla="*/ 1209 w 2636"/>
                <a:gd name="T107" fmla="*/ 872 h 2571"/>
                <a:gd name="T108" fmla="*/ 1335 w 2636"/>
                <a:gd name="T109" fmla="*/ 795 h 2571"/>
                <a:gd name="T110" fmla="*/ 1493 w 2636"/>
                <a:gd name="T111" fmla="*/ 680 h 2571"/>
                <a:gd name="T112" fmla="*/ 1639 w 2636"/>
                <a:gd name="T113" fmla="*/ 661 h 2571"/>
                <a:gd name="T114" fmla="*/ 1767 w 2636"/>
                <a:gd name="T115" fmla="*/ 800 h 2571"/>
                <a:gd name="T116" fmla="*/ 1840 w 2636"/>
                <a:gd name="T117" fmla="*/ 672 h 2571"/>
                <a:gd name="T118" fmla="*/ 2019 w 2636"/>
                <a:gd name="T119" fmla="*/ 425 h 2571"/>
                <a:gd name="T120" fmla="*/ 2312 w 2636"/>
                <a:gd name="T121" fmla="*/ 166 h 2571"/>
                <a:gd name="T122" fmla="*/ 2559 w 2636"/>
                <a:gd name="T123" fmla="*/ 15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36" h="2571">
                  <a:moveTo>
                    <a:pt x="2629" y="179"/>
                  </a:moveTo>
                  <a:lnTo>
                    <a:pt x="2627" y="179"/>
                  </a:lnTo>
                  <a:lnTo>
                    <a:pt x="2627" y="178"/>
                  </a:lnTo>
                  <a:lnTo>
                    <a:pt x="2626" y="178"/>
                  </a:lnTo>
                  <a:lnTo>
                    <a:pt x="2622" y="175"/>
                  </a:lnTo>
                  <a:lnTo>
                    <a:pt x="2621" y="175"/>
                  </a:lnTo>
                  <a:lnTo>
                    <a:pt x="2628" y="179"/>
                  </a:lnTo>
                  <a:lnTo>
                    <a:pt x="2629" y="179"/>
                  </a:lnTo>
                  <a:close/>
                  <a:moveTo>
                    <a:pt x="2636" y="500"/>
                  </a:moveTo>
                  <a:lnTo>
                    <a:pt x="2614" y="534"/>
                  </a:lnTo>
                  <a:lnTo>
                    <a:pt x="2593" y="570"/>
                  </a:lnTo>
                  <a:lnTo>
                    <a:pt x="2570" y="607"/>
                  </a:lnTo>
                  <a:lnTo>
                    <a:pt x="2546" y="643"/>
                  </a:lnTo>
                  <a:lnTo>
                    <a:pt x="2522" y="680"/>
                  </a:lnTo>
                  <a:lnTo>
                    <a:pt x="2496" y="718"/>
                  </a:lnTo>
                  <a:lnTo>
                    <a:pt x="2470" y="755"/>
                  </a:lnTo>
                  <a:lnTo>
                    <a:pt x="2443" y="792"/>
                  </a:lnTo>
                  <a:lnTo>
                    <a:pt x="2439" y="798"/>
                  </a:lnTo>
                  <a:lnTo>
                    <a:pt x="2434" y="802"/>
                  </a:lnTo>
                  <a:lnTo>
                    <a:pt x="2435" y="803"/>
                  </a:lnTo>
                  <a:lnTo>
                    <a:pt x="2387" y="851"/>
                  </a:lnTo>
                  <a:lnTo>
                    <a:pt x="2339" y="897"/>
                  </a:lnTo>
                  <a:lnTo>
                    <a:pt x="2293" y="941"/>
                  </a:lnTo>
                  <a:lnTo>
                    <a:pt x="2248" y="982"/>
                  </a:lnTo>
                  <a:lnTo>
                    <a:pt x="2203" y="1020"/>
                  </a:lnTo>
                  <a:lnTo>
                    <a:pt x="2160" y="1055"/>
                  </a:lnTo>
                  <a:lnTo>
                    <a:pt x="2118" y="1087"/>
                  </a:lnTo>
                  <a:lnTo>
                    <a:pt x="2078" y="1116"/>
                  </a:lnTo>
                  <a:lnTo>
                    <a:pt x="2054" y="1132"/>
                  </a:lnTo>
                  <a:lnTo>
                    <a:pt x="2030" y="1147"/>
                  </a:lnTo>
                  <a:lnTo>
                    <a:pt x="2007" y="1160"/>
                  </a:lnTo>
                  <a:lnTo>
                    <a:pt x="1983" y="1173"/>
                  </a:lnTo>
                  <a:lnTo>
                    <a:pt x="1960" y="1184"/>
                  </a:lnTo>
                  <a:lnTo>
                    <a:pt x="1938" y="1193"/>
                  </a:lnTo>
                  <a:lnTo>
                    <a:pt x="1916" y="1200"/>
                  </a:lnTo>
                  <a:lnTo>
                    <a:pt x="1894" y="1207"/>
                  </a:lnTo>
                  <a:lnTo>
                    <a:pt x="1911" y="1270"/>
                  </a:lnTo>
                  <a:lnTo>
                    <a:pt x="1926" y="1336"/>
                  </a:lnTo>
                  <a:lnTo>
                    <a:pt x="1941" y="1404"/>
                  </a:lnTo>
                  <a:lnTo>
                    <a:pt x="1955" y="1472"/>
                  </a:lnTo>
                  <a:lnTo>
                    <a:pt x="1968" y="1543"/>
                  </a:lnTo>
                  <a:lnTo>
                    <a:pt x="1979" y="1614"/>
                  </a:lnTo>
                  <a:lnTo>
                    <a:pt x="1990" y="1686"/>
                  </a:lnTo>
                  <a:lnTo>
                    <a:pt x="2000" y="1758"/>
                  </a:lnTo>
                  <a:lnTo>
                    <a:pt x="2010" y="1831"/>
                  </a:lnTo>
                  <a:lnTo>
                    <a:pt x="2018" y="1904"/>
                  </a:lnTo>
                  <a:lnTo>
                    <a:pt x="2027" y="1977"/>
                  </a:lnTo>
                  <a:lnTo>
                    <a:pt x="2034" y="2049"/>
                  </a:lnTo>
                  <a:lnTo>
                    <a:pt x="2043" y="2121"/>
                  </a:lnTo>
                  <a:lnTo>
                    <a:pt x="2050" y="2192"/>
                  </a:lnTo>
                  <a:lnTo>
                    <a:pt x="2056" y="2262"/>
                  </a:lnTo>
                  <a:lnTo>
                    <a:pt x="2063" y="2331"/>
                  </a:lnTo>
                  <a:lnTo>
                    <a:pt x="2078" y="2478"/>
                  </a:lnTo>
                  <a:lnTo>
                    <a:pt x="2078" y="2486"/>
                  </a:lnTo>
                  <a:lnTo>
                    <a:pt x="2078" y="2495"/>
                  </a:lnTo>
                  <a:lnTo>
                    <a:pt x="2076" y="2503"/>
                  </a:lnTo>
                  <a:lnTo>
                    <a:pt x="2074" y="2512"/>
                  </a:lnTo>
                  <a:lnTo>
                    <a:pt x="2071" y="2519"/>
                  </a:lnTo>
                  <a:lnTo>
                    <a:pt x="2067" y="2526"/>
                  </a:lnTo>
                  <a:lnTo>
                    <a:pt x="2063" y="2533"/>
                  </a:lnTo>
                  <a:lnTo>
                    <a:pt x="2058" y="2539"/>
                  </a:lnTo>
                  <a:lnTo>
                    <a:pt x="2053" y="2546"/>
                  </a:lnTo>
                  <a:lnTo>
                    <a:pt x="2047" y="2552"/>
                  </a:lnTo>
                  <a:lnTo>
                    <a:pt x="2040" y="2557"/>
                  </a:lnTo>
                  <a:lnTo>
                    <a:pt x="2032" y="2561"/>
                  </a:lnTo>
                  <a:lnTo>
                    <a:pt x="2025" y="2564"/>
                  </a:lnTo>
                  <a:lnTo>
                    <a:pt x="2017" y="2567"/>
                  </a:lnTo>
                  <a:lnTo>
                    <a:pt x="2009" y="2569"/>
                  </a:lnTo>
                  <a:lnTo>
                    <a:pt x="2000" y="2570"/>
                  </a:lnTo>
                  <a:lnTo>
                    <a:pt x="1992" y="2570"/>
                  </a:lnTo>
                  <a:lnTo>
                    <a:pt x="1992" y="2571"/>
                  </a:lnTo>
                  <a:lnTo>
                    <a:pt x="1527" y="2571"/>
                  </a:lnTo>
                  <a:lnTo>
                    <a:pt x="1517" y="2570"/>
                  </a:lnTo>
                  <a:lnTo>
                    <a:pt x="1509" y="2569"/>
                  </a:lnTo>
                  <a:lnTo>
                    <a:pt x="1502" y="2567"/>
                  </a:lnTo>
                  <a:lnTo>
                    <a:pt x="1494" y="2565"/>
                  </a:lnTo>
                  <a:lnTo>
                    <a:pt x="1487" y="2561"/>
                  </a:lnTo>
                  <a:lnTo>
                    <a:pt x="1479" y="2558"/>
                  </a:lnTo>
                  <a:lnTo>
                    <a:pt x="1473" y="2553"/>
                  </a:lnTo>
                  <a:lnTo>
                    <a:pt x="1467" y="2548"/>
                  </a:lnTo>
                  <a:lnTo>
                    <a:pt x="1462" y="2543"/>
                  </a:lnTo>
                  <a:lnTo>
                    <a:pt x="1457" y="2535"/>
                  </a:lnTo>
                  <a:lnTo>
                    <a:pt x="1453" y="2529"/>
                  </a:lnTo>
                  <a:lnTo>
                    <a:pt x="1448" y="2522"/>
                  </a:lnTo>
                  <a:lnTo>
                    <a:pt x="1445" y="2515"/>
                  </a:lnTo>
                  <a:lnTo>
                    <a:pt x="1443" y="2506"/>
                  </a:lnTo>
                  <a:lnTo>
                    <a:pt x="1441" y="2499"/>
                  </a:lnTo>
                  <a:lnTo>
                    <a:pt x="1440" y="2490"/>
                  </a:lnTo>
                  <a:lnTo>
                    <a:pt x="1435" y="2448"/>
                  </a:lnTo>
                  <a:lnTo>
                    <a:pt x="1431" y="2405"/>
                  </a:lnTo>
                  <a:lnTo>
                    <a:pt x="1427" y="2363"/>
                  </a:lnTo>
                  <a:lnTo>
                    <a:pt x="1423" y="2320"/>
                  </a:lnTo>
                  <a:lnTo>
                    <a:pt x="1419" y="2279"/>
                  </a:lnTo>
                  <a:lnTo>
                    <a:pt x="1415" y="2236"/>
                  </a:lnTo>
                  <a:lnTo>
                    <a:pt x="1411" y="2194"/>
                  </a:lnTo>
                  <a:lnTo>
                    <a:pt x="1408" y="2152"/>
                  </a:lnTo>
                  <a:lnTo>
                    <a:pt x="1402" y="2081"/>
                  </a:lnTo>
                  <a:lnTo>
                    <a:pt x="1396" y="2010"/>
                  </a:lnTo>
                  <a:lnTo>
                    <a:pt x="1389" y="1938"/>
                  </a:lnTo>
                  <a:lnTo>
                    <a:pt x="1381" y="1868"/>
                  </a:lnTo>
                  <a:lnTo>
                    <a:pt x="1373" y="1797"/>
                  </a:lnTo>
                  <a:lnTo>
                    <a:pt x="1363" y="1726"/>
                  </a:lnTo>
                  <a:lnTo>
                    <a:pt x="1352" y="1656"/>
                  </a:lnTo>
                  <a:lnTo>
                    <a:pt x="1339" y="1586"/>
                  </a:lnTo>
                  <a:lnTo>
                    <a:pt x="1325" y="1590"/>
                  </a:lnTo>
                  <a:lnTo>
                    <a:pt x="1309" y="1594"/>
                  </a:lnTo>
                  <a:lnTo>
                    <a:pt x="1295" y="1598"/>
                  </a:lnTo>
                  <a:lnTo>
                    <a:pt x="1279" y="1601"/>
                  </a:lnTo>
                  <a:lnTo>
                    <a:pt x="1251" y="1605"/>
                  </a:lnTo>
                  <a:lnTo>
                    <a:pt x="1221" y="1610"/>
                  </a:lnTo>
                  <a:lnTo>
                    <a:pt x="1190" y="1613"/>
                  </a:lnTo>
                  <a:lnTo>
                    <a:pt x="1158" y="1614"/>
                  </a:lnTo>
                  <a:lnTo>
                    <a:pt x="1125" y="1615"/>
                  </a:lnTo>
                  <a:lnTo>
                    <a:pt x="1090" y="1614"/>
                  </a:lnTo>
                  <a:lnTo>
                    <a:pt x="1055" y="1613"/>
                  </a:lnTo>
                  <a:lnTo>
                    <a:pt x="1019" y="1610"/>
                  </a:lnTo>
                  <a:lnTo>
                    <a:pt x="982" y="1606"/>
                  </a:lnTo>
                  <a:lnTo>
                    <a:pt x="945" y="1601"/>
                  </a:lnTo>
                  <a:lnTo>
                    <a:pt x="906" y="1595"/>
                  </a:lnTo>
                  <a:lnTo>
                    <a:pt x="866" y="1588"/>
                  </a:lnTo>
                  <a:lnTo>
                    <a:pt x="827" y="1581"/>
                  </a:lnTo>
                  <a:lnTo>
                    <a:pt x="786" y="1571"/>
                  </a:lnTo>
                  <a:lnTo>
                    <a:pt x="745" y="1561"/>
                  </a:lnTo>
                  <a:lnTo>
                    <a:pt x="704" y="1550"/>
                  </a:lnTo>
                  <a:lnTo>
                    <a:pt x="683" y="1547"/>
                  </a:lnTo>
                  <a:lnTo>
                    <a:pt x="663" y="1545"/>
                  </a:lnTo>
                  <a:lnTo>
                    <a:pt x="643" y="1542"/>
                  </a:lnTo>
                  <a:lnTo>
                    <a:pt x="622" y="1538"/>
                  </a:lnTo>
                  <a:lnTo>
                    <a:pt x="604" y="1534"/>
                  </a:lnTo>
                  <a:lnTo>
                    <a:pt x="584" y="1531"/>
                  </a:lnTo>
                  <a:lnTo>
                    <a:pt x="566" y="1527"/>
                  </a:lnTo>
                  <a:lnTo>
                    <a:pt x="547" y="1523"/>
                  </a:lnTo>
                  <a:lnTo>
                    <a:pt x="510" y="1515"/>
                  </a:lnTo>
                  <a:lnTo>
                    <a:pt x="474" y="1505"/>
                  </a:lnTo>
                  <a:lnTo>
                    <a:pt x="438" y="1495"/>
                  </a:lnTo>
                  <a:lnTo>
                    <a:pt x="404" y="1485"/>
                  </a:lnTo>
                  <a:lnTo>
                    <a:pt x="380" y="1477"/>
                  </a:lnTo>
                  <a:lnTo>
                    <a:pt x="358" y="1468"/>
                  </a:lnTo>
                  <a:lnTo>
                    <a:pt x="336" y="1460"/>
                  </a:lnTo>
                  <a:lnTo>
                    <a:pt x="314" y="1451"/>
                  </a:lnTo>
                  <a:lnTo>
                    <a:pt x="294" y="1443"/>
                  </a:lnTo>
                  <a:lnTo>
                    <a:pt x="273" y="1433"/>
                  </a:lnTo>
                  <a:lnTo>
                    <a:pt x="254" y="1423"/>
                  </a:lnTo>
                  <a:lnTo>
                    <a:pt x="235" y="1414"/>
                  </a:lnTo>
                  <a:lnTo>
                    <a:pt x="217" y="1403"/>
                  </a:lnTo>
                  <a:lnTo>
                    <a:pt x="199" y="1393"/>
                  </a:lnTo>
                  <a:lnTo>
                    <a:pt x="182" y="1383"/>
                  </a:lnTo>
                  <a:lnTo>
                    <a:pt x="165" y="1372"/>
                  </a:lnTo>
                  <a:lnTo>
                    <a:pt x="150" y="1362"/>
                  </a:lnTo>
                  <a:lnTo>
                    <a:pt x="135" y="1352"/>
                  </a:lnTo>
                  <a:lnTo>
                    <a:pt x="121" y="1341"/>
                  </a:lnTo>
                  <a:lnTo>
                    <a:pt x="107" y="1330"/>
                  </a:lnTo>
                  <a:lnTo>
                    <a:pt x="95" y="1319"/>
                  </a:lnTo>
                  <a:lnTo>
                    <a:pt x="83" y="1309"/>
                  </a:lnTo>
                  <a:lnTo>
                    <a:pt x="71" y="1297"/>
                  </a:lnTo>
                  <a:lnTo>
                    <a:pt x="61" y="1287"/>
                  </a:lnTo>
                  <a:lnTo>
                    <a:pt x="52" y="1277"/>
                  </a:lnTo>
                  <a:lnTo>
                    <a:pt x="42" y="1265"/>
                  </a:lnTo>
                  <a:lnTo>
                    <a:pt x="35" y="1255"/>
                  </a:lnTo>
                  <a:lnTo>
                    <a:pt x="28" y="1245"/>
                  </a:lnTo>
                  <a:lnTo>
                    <a:pt x="21" y="1234"/>
                  </a:lnTo>
                  <a:lnTo>
                    <a:pt x="16" y="1224"/>
                  </a:lnTo>
                  <a:lnTo>
                    <a:pt x="11" y="1214"/>
                  </a:lnTo>
                  <a:lnTo>
                    <a:pt x="6" y="1204"/>
                  </a:lnTo>
                  <a:lnTo>
                    <a:pt x="3" y="1195"/>
                  </a:lnTo>
                  <a:lnTo>
                    <a:pt x="1" y="1186"/>
                  </a:lnTo>
                  <a:lnTo>
                    <a:pt x="0" y="1177"/>
                  </a:lnTo>
                  <a:lnTo>
                    <a:pt x="0" y="1167"/>
                  </a:lnTo>
                  <a:lnTo>
                    <a:pt x="0" y="1162"/>
                  </a:lnTo>
                  <a:lnTo>
                    <a:pt x="0" y="1157"/>
                  </a:lnTo>
                  <a:lnTo>
                    <a:pt x="1" y="1155"/>
                  </a:lnTo>
                  <a:lnTo>
                    <a:pt x="0" y="1155"/>
                  </a:lnTo>
                  <a:lnTo>
                    <a:pt x="2" y="1143"/>
                  </a:lnTo>
                  <a:lnTo>
                    <a:pt x="5" y="1131"/>
                  </a:lnTo>
                  <a:lnTo>
                    <a:pt x="10" y="1120"/>
                  </a:lnTo>
                  <a:lnTo>
                    <a:pt x="15" y="1110"/>
                  </a:lnTo>
                  <a:lnTo>
                    <a:pt x="21" y="1100"/>
                  </a:lnTo>
                  <a:lnTo>
                    <a:pt x="28" y="1091"/>
                  </a:lnTo>
                  <a:lnTo>
                    <a:pt x="36" y="1083"/>
                  </a:lnTo>
                  <a:lnTo>
                    <a:pt x="46" y="1075"/>
                  </a:lnTo>
                  <a:lnTo>
                    <a:pt x="55" y="1067"/>
                  </a:lnTo>
                  <a:lnTo>
                    <a:pt x="66" y="1060"/>
                  </a:lnTo>
                  <a:lnTo>
                    <a:pt x="79" y="1054"/>
                  </a:lnTo>
                  <a:lnTo>
                    <a:pt x="91" y="1048"/>
                  </a:lnTo>
                  <a:lnTo>
                    <a:pt x="104" y="1043"/>
                  </a:lnTo>
                  <a:lnTo>
                    <a:pt x="120" y="1037"/>
                  </a:lnTo>
                  <a:lnTo>
                    <a:pt x="135" y="1033"/>
                  </a:lnTo>
                  <a:lnTo>
                    <a:pt x="151" y="1029"/>
                  </a:lnTo>
                  <a:lnTo>
                    <a:pt x="173" y="1025"/>
                  </a:lnTo>
                  <a:lnTo>
                    <a:pt x="197" y="1021"/>
                  </a:lnTo>
                  <a:lnTo>
                    <a:pt x="223" y="1018"/>
                  </a:lnTo>
                  <a:lnTo>
                    <a:pt x="251" y="1016"/>
                  </a:lnTo>
                  <a:lnTo>
                    <a:pt x="279" y="1014"/>
                  </a:lnTo>
                  <a:lnTo>
                    <a:pt x="310" y="1013"/>
                  </a:lnTo>
                  <a:lnTo>
                    <a:pt x="341" y="1012"/>
                  </a:lnTo>
                  <a:lnTo>
                    <a:pt x="375" y="1012"/>
                  </a:lnTo>
                  <a:lnTo>
                    <a:pt x="423" y="1012"/>
                  </a:lnTo>
                  <a:lnTo>
                    <a:pt x="473" y="1014"/>
                  </a:lnTo>
                  <a:lnTo>
                    <a:pt x="526" y="1016"/>
                  </a:lnTo>
                  <a:lnTo>
                    <a:pt x="581" y="1019"/>
                  </a:lnTo>
                  <a:lnTo>
                    <a:pt x="638" y="1023"/>
                  </a:lnTo>
                  <a:lnTo>
                    <a:pt x="695" y="1028"/>
                  </a:lnTo>
                  <a:lnTo>
                    <a:pt x="755" y="1033"/>
                  </a:lnTo>
                  <a:lnTo>
                    <a:pt x="815" y="1040"/>
                  </a:lnTo>
                  <a:lnTo>
                    <a:pt x="823" y="1042"/>
                  </a:lnTo>
                  <a:lnTo>
                    <a:pt x="822" y="1041"/>
                  </a:lnTo>
                  <a:lnTo>
                    <a:pt x="2636" y="500"/>
                  </a:lnTo>
                  <a:close/>
                  <a:moveTo>
                    <a:pt x="2557" y="291"/>
                  </a:moveTo>
                  <a:lnTo>
                    <a:pt x="2572" y="260"/>
                  </a:lnTo>
                  <a:lnTo>
                    <a:pt x="2585" y="231"/>
                  </a:lnTo>
                  <a:lnTo>
                    <a:pt x="2594" y="206"/>
                  </a:lnTo>
                  <a:lnTo>
                    <a:pt x="2602" y="182"/>
                  </a:lnTo>
                  <a:lnTo>
                    <a:pt x="2583" y="191"/>
                  </a:lnTo>
                  <a:lnTo>
                    <a:pt x="2562" y="202"/>
                  </a:lnTo>
                  <a:lnTo>
                    <a:pt x="2538" y="216"/>
                  </a:lnTo>
                  <a:lnTo>
                    <a:pt x="2514" y="231"/>
                  </a:lnTo>
                  <a:lnTo>
                    <a:pt x="2489" y="248"/>
                  </a:lnTo>
                  <a:lnTo>
                    <a:pt x="2463" y="266"/>
                  </a:lnTo>
                  <a:lnTo>
                    <a:pt x="2435" y="286"/>
                  </a:lnTo>
                  <a:lnTo>
                    <a:pt x="2407" y="308"/>
                  </a:lnTo>
                  <a:lnTo>
                    <a:pt x="2379" y="330"/>
                  </a:lnTo>
                  <a:lnTo>
                    <a:pt x="2350" y="354"/>
                  </a:lnTo>
                  <a:lnTo>
                    <a:pt x="2320" y="379"/>
                  </a:lnTo>
                  <a:lnTo>
                    <a:pt x="2290" y="405"/>
                  </a:lnTo>
                  <a:lnTo>
                    <a:pt x="2260" y="431"/>
                  </a:lnTo>
                  <a:lnTo>
                    <a:pt x="2229" y="459"/>
                  </a:lnTo>
                  <a:lnTo>
                    <a:pt x="2199" y="488"/>
                  </a:lnTo>
                  <a:lnTo>
                    <a:pt x="2169" y="517"/>
                  </a:lnTo>
                  <a:lnTo>
                    <a:pt x="2140" y="546"/>
                  </a:lnTo>
                  <a:lnTo>
                    <a:pt x="2115" y="578"/>
                  </a:lnTo>
                  <a:lnTo>
                    <a:pt x="2091" y="610"/>
                  </a:lnTo>
                  <a:lnTo>
                    <a:pt x="2067" y="641"/>
                  </a:lnTo>
                  <a:lnTo>
                    <a:pt x="2045" y="672"/>
                  </a:lnTo>
                  <a:lnTo>
                    <a:pt x="2024" y="702"/>
                  </a:lnTo>
                  <a:lnTo>
                    <a:pt x="2004" y="732"/>
                  </a:lnTo>
                  <a:lnTo>
                    <a:pt x="1984" y="762"/>
                  </a:lnTo>
                  <a:lnTo>
                    <a:pt x="1967" y="792"/>
                  </a:lnTo>
                  <a:lnTo>
                    <a:pt x="1959" y="802"/>
                  </a:lnTo>
                  <a:lnTo>
                    <a:pt x="1953" y="814"/>
                  </a:lnTo>
                  <a:lnTo>
                    <a:pt x="1947" y="825"/>
                  </a:lnTo>
                  <a:lnTo>
                    <a:pt x="1940" y="836"/>
                  </a:lnTo>
                  <a:lnTo>
                    <a:pt x="1923" y="867"/>
                  </a:lnTo>
                  <a:lnTo>
                    <a:pt x="1909" y="896"/>
                  </a:lnTo>
                  <a:lnTo>
                    <a:pt x="1896" y="924"/>
                  </a:lnTo>
                  <a:lnTo>
                    <a:pt x="1886" y="951"/>
                  </a:lnTo>
                  <a:lnTo>
                    <a:pt x="1877" y="976"/>
                  </a:lnTo>
                  <a:lnTo>
                    <a:pt x="1872" y="998"/>
                  </a:lnTo>
                  <a:lnTo>
                    <a:pt x="1869" y="1009"/>
                  </a:lnTo>
                  <a:lnTo>
                    <a:pt x="1868" y="1019"/>
                  </a:lnTo>
                  <a:lnTo>
                    <a:pt x="1867" y="1029"/>
                  </a:lnTo>
                  <a:lnTo>
                    <a:pt x="1866" y="1039"/>
                  </a:lnTo>
                  <a:lnTo>
                    <a:pt x="1878" y="1033"/>
                  </a:lnTo>
                  <a:lnTo>
                    <a:pt x="1891" y="1028"/>
                  </a:lnTo>
                  <a:lnTo>
                    <a:pt x="1905" y="1022"/>
                  </a:lnTo>
                  <a:lnTo>
                    <a:pt x="1919" y="1014"/>
                  </a:lnTo>
                  <a:lnTo>
                    <a:pt x="1949" y="996"/>
                  </a:lnTo>
                  <a:lnTo>
                    <a:pt x="1982" y="975"/>
                  </a:lnTo>
                  <a:lnTo>
                    <a:pt x="2018" y="949"/>
                  </a:lnTo>
                  <a:lnTo>
                    <a:pt x="2055" y="920"/>
                  </a:lnTo>
                  <a:lnTo>
                    <a:pt x="2094" y="888"/>
                  </a:lnTo>
                  <a:lnTo>
                    <a:pt x="2134" y="852"/>
                  </a:lnTo>
                  <a:lnTo>
                    <a:pt x="2177" y="815"/>
                  </a:lnTo>
                  <a:lnTo>
                    <a:pt x="2220" y="774"/>
                  </a:lnTo>
                  <a:lnTo>
                    <a:pt x="2264" y="731"/>
                  </a:lnTo>
                  <a:lnTo>
                    <a:pt x="2309" y="686"/>
                  </a:lnTo>
                  <a:lnTo>
                    <a:pt x="2347" y="632"/>
                  </a:lnTo>
                  <a:lnTo>
                    <a:pt x="2383" y="580"/>
                  </a:lnTo>
                  <a:lnTo>
                    <a:pt x="2418" y="527"/>
                  </a:lnTo>
                  <a:lnTo>
                    <a:pt x="2451" y="476"/>
                  </a:lnTo>
                  <a:lnTo>
                    <a:pt x="2482" y="427"/>
                  </a:lnTo>
                  <a:lnTo>
                    <a:pt x="2509" y="379"/>
                  </a:lnTo>
                  <a:lnTo>
                    <a:pt x="2535" y="333"/>
                  </a:lnTo>
                  <a:lnTo>
                    <a:pt x="2557" y="291"/>
                  </a:lnTo>
                  <a:close/>
                  <a:moveTo>
                    <a:pt x="1701" y="1156"/>
                  </a:moveTo>
                  <a:lnTo>
                    <a:pt x="1699" y="1149"/>
                  </a:lnTo>
                  <a:lnTo>
                    <a:pt x="1697" y="1142"/>
                  </a:lnTo>
                  <a:lnTo>
                    <a:pt x="1696" y="1135"/>
                  </a:lnTo>
                  <a:lnTo>
                    <a:pt x="1696" y="1127"/>
                  </a:lnTo>
                  <a:lnTo>
                    <a:pt x="1696" y="1120"/>
                  </a:lnTo>
                  <a:lnTo>
                    <a:pt x="1696" y="1113"/>
                  </a:lnTo>
                  <a:lnTo>
                    <a:pt x="1698" y="1106"/>
                  </a:lnTo>
                  <a:lnTo>
                    <a:pt x="1700" y="1098"/>
                  </a:lnTo>
                  <a:lnTo>
                    <a:pt x="1703" y="1090"/>
                  </a:lnTo>
                  <a:lnTo>
                    <a:pt x="1707" y="1083"/>
                  </a:lnTo>
                  <a:lnTo>
                    <a:pt x="1703" y="1075"/>
                  </a:lnTo>
                  <a:lnTo>
                    <a:pt x="1700" y="1067"/>
                  </a:lnTo>
                  <a:lnTo>
                    <a:pt x="1685" y="1025"/>
                  </a:lnTo>
                  <a:lnTo>
                    <a:pt x="1670" y="986"/>
                  </a:lnTo>
                  <a:lnTo>
                    <a:pt x="1654" y="950"/>
                  </a:lnTo>
                  <a:lnTo>
                    <a:pt x="1637" y="917"/>
                  </a:lnTo>
                  <a:lnTo>
                    <a:pt x="1625" y="895"/>
                  </a:lnTo>
                  <a:lnTo>
                    <a:pt x="1610" y="874"/>
                  </a:lnTo>
                  <a:lnTo>
                    <a:pt x="1595" y="853"/>
                  </a:lnTo>
                  <a:lnTo>
                    <a:pt x="1578" y="832"/>
                  </a:lnTo>
                  <a:lnTo>
                    <a:pt x="1563" y="837"/>
                  </a:lnTo>
                  <a:lnTo>
                    <a:pt x="1547" y="845"/>
                  </a:lnTo>
                  <a:lnTo>
                    <a:pt x="1533" y="853"/>
                  </a:lnTo>
                  <a:lnTo>
                    <a:pt x="1519" y="862"/>
                  </a:lnTo>
                  <a:lnTo>
                    <a:pt x="1492" y="884"/>
                  </a:lnTo>
                  <a:lnTo>
                    <a:pt x="1465" y="908"/>
                  </a:lnTo>
                  <a:lnTo>
                    <a:pt x="1436" y="934"/>
                  </a:lnTo>
                  <a:lnTo>
                    <a:pt x="1406" y="959"/>
                  </a:lnTo>
                  <a:lnTo>
                    <a:pt x="1390" y="971"/>
                  </a:lnTo>
                  <a:lnTo>
                    <a:pt x="1372" y="983"/>
                  </a:lnTo>
                  <a:lnTo>
                    <a:pt x="1355" y="994"/>
                  </a:lnTo>
                  <a:lnTo>
                    <a:pt x="1336" y="1006"/>
                  </a:lnTo>
                  <a:lnTo>
                    <a:pt x="1438" y="1311"/>
                  </a:lnTo>
                  <a:lnTo>
                    <a:pt x="1440" y="1320"/>
                  </a:lnTo>
                  <a:lnTo>
                    <a:pt x="1441" y="1329"/>
                  </a:lnTo>
                  <a:lnTo>
                    <a:pt x="1442" y="1338"/>
                  </a:lnTo>
                  <a:lnTo>
                    <a:pt x="1441" y="1349"/>
                  </a:lnTo>
                  <a:lnTo>
                    <a:pt x="1439" y="1358"/>
                  </a:lnTo>
                  <a:lnTo>
                    <a:pt x="1437" y="1367"/>
                  </a:lnTo>
                  <a:lnTo>
                    <a:pt x="1433" y="1376"/>
                  </a:lnTo>
                  <a:lnTo>
                    <a:pt x="1428" y="1385"/>
                  </a:lnTo>
                  <a:lnTo>
                    <a:pt x="1437" y="1389"/>
                  </a:lnTo>
                  <a:lnTo>
                    <a:pt x="1446" y="1394"/>
                  </a:lnTo>
                  <a:lnTo>
                    <a:pt x="1455" y="1400"/>
                  </a:lnTo>
                  <a:lnTo>
                    <a:pt x="1462" y="1408"/>
                  </a:lnTo>
                  <a:lnTo>
                    <a:pt x="1469" y="1416"/>
                  </a:lnTo>
                  <a:lnTo>
                    <a:pt x="1474" y="1425"/>
                  </a:lnTo>
                  <a:lnTo>
                    <a:pt x="1478" y="1434"/>
                  </a:lnTo>
                  <a:lnTo>
                    <a:pt x="1482" y="1445"/>
                  </a:lnTo>
                  <a:lnTo>
                    <a:pt x="1493" y="1489"/>
                  </a:lnTo>
                  <a:lnTo>
                    <a:pt x="1502" y="1532"/>
                  </a:lnTo>
                  <a:lnTo>
                    <a:pt x="1511" y="1577"/>
                  </a:lnTo>
                  <a:lnTo>
                    <a:pt x="1519" y="1620"/>
                  </a:lnTo>
                  <a:lnTo>
                    <a:pt x="1527" y="1663"/>
                  </a:lnTo>
                  <a:lnTo>
                    <a:pt x="1533" y="1706"/>
                  </a:lnTo>
                  <a:lnTo>
                    <a:pt x="1539" y="1750"/>
                  </a:lnTo>
                  <a:lnTo>
                    <a:pt x="1545" y="1793"/>
                  </a:lnTo>
                  <a:lnTo>
                    <a:pt x="1555" y="1880"/>
                  </a:lnTo>
                  <a:lnTo>
                    <a:pt x="1564" y="1965"/>
                  </a:lnTo>
                  <a:lnTo>
                    <a:pt x="1571" y="2052"/>
                  </a:lnTo>
                  <a:lnTo>
                    <a:pt x="1578" y="2137"/>
                  </a:lnTo>
                  <a:lnTo>
                    <a:pt x="1581" y="2170"/>
                  </a:lnTo>
                  <a:lnTo>
                    <a:pt x="1584" y="2203"/>
                  </a:lnTo>
                  <a:lnTo>
                    <a:pt x="1586" y="2236"/>
                  </a:lnTo>
                  <a:lnTo>
                    <a:pt x="1590" y="2269"/>
                  </a:lnTo>
                  <a:lnTo>
                    <a:pt x="1593" y="2301"/>
                  </a:lnTo>
                  <a:lnTo>
                    <a:pt x="1596" y="2334"/>
                  </a:lnTo>
                  <a:lnTo>
                    <a:pt x="1599" y="2367"/>
                  </a:lnTo>
                  <a:lnTo>
                    <a:pt x="1602" y="2399"/>
                  </a:lnTo>
                  <a:lnTo>
                    <a:pt x="1899" y="2399"/>
                  </a:lnTo>
                  <a:lnTo>
                    <a:pt x="1893" y="2348"/>
                  </a:lnTo>
                  <a:lnTo>
                    <a:pt x="1886" y="2272"/>
                  </a:lnTo>
                  <a:lnTo>
                    <a:pt x="1879" y="2197"/>
                  </a:lnTo>
                  <a:lnTo>
                    <a:pt x="1871" y="2120"/>
                  </a:lnTo>
                  <a:lnTo>
                    <a:pt x="1862" y="2042"/>
                  </a:lnTo>
                  <a:lnTo>
                    <a:pt x="1854" y="1964"/>
                  </a:lnTo>
                  <a:lnTo>
                    <a:pt x="1845" y="1885"/>
                  </a:lnTo>
                  <a:lnTo>
                    <a:pt x="1835" y="1806"/>
                  </a:lnTo>
                  <a:lnTo>
                    <a:pt x="1823" y="1729"/>
                  </a:lnTo>
                  <a:lnTo>
                    <a:pt x="1812" y="1652"/>
                  </a:lnTo>
                  <a:lnTo>
                    <a:pt x="1800" y="1576"/>
                  </a:lnTo>
                  <a:lnTo>
                    <a:pt x="1786" y="1500"/>
                  </a:lnTo>
                  <a:lnTo>
                    <a:pt x="1772" y="1427"/>
                  </a:lnTo>
                  <a:lnTo>
                    <a:pt x="1755" y="1356"/>
                  </a:lnTo>
                  <a:lnTo>
                    <a:pt x="1739" y="1286"/>
                  </a:lnTo>
                  <a:lnTo>
                    <a:pt x="1720" y="1220"/>
                  </a:lnTo>
                  <a:lnTo>
                    <a:pt x="1701" y="1156"/>
                  </a:lnTo>
                  <a:close/>
                  <a:moveTo>
                    <a:pt x="1307" y="1416"/>
                  </a:moveTo>
                  <a:lnTo>
                    <a:pt x="1316" y="1413"/>
                  </a:lnTo>
                  <a:lnTo>
                    <a:pt x="1309" y="1409"/>
                  </a:lnTo>
                  <a:lnTo>
                    <a:pt x="1275" y="1388"/>
                  </a:lnTo>
                  <a:lnTo>
                    <a:pt x="1238" y="1366"/>
                  </a:lnTo>
                  <a:lnTo>
                    <a:pt x="1198" y="1346"/>
                  </a:lnTo>
                  <a:lnTo>
                    <a:pt x="1155" y="1325"/>
                  </a:lnTo>
                  <a:lnTo>
                    <a:pt x="1109" y="1305"/>
                  </a:lnTo>
                  <a:lnTo>
                    <a:pt x="1060" y="1287"/>
                  </a:lnTo>
                  <a:lnTo>
                    <a:pt x="1011" y="1269"/>
                  </a:lnTo>
                  <a:lnTo>
                    <a:pt x="959" y="1252"/>
                  </a:lnTo>
                  <a:lnTo>
                    <a:pt x="940" y="1247"/>
                  </a:lnTo>
                  <a:lnTo>
                    <a:pt x="919" y="1241"/>
                  </a:lnTo>
                  <a:lnTo>
                    <a:pt x="897" y="1235"/>
                  </a:lnTo>
                  <a:lnTo>
                    <a:pt x="876" y="1229"/>
                  </a:lnTo>
                  <a:lnTo>
                    <a:pt x="854" y="1224"/>
                  </a:lnTo>
                  <a:lnTo>
                    <a:pt x="835" y="1219"/>
                  </a:lnTo>
                  <a:lnTo>
                    <a:pt x="815" y="1215"/>
                  </a:lnTo>
                  <a:lnTo>
                    <a:pt x="796" y="1211"/>
                  </a:lnTo>
                  <a:lnTo>
                    <a:pt x="791" y="1210"/>
                  </a:lnTo>
                  <a:lnTo>
                    <a:pt x="790" y="1210"/>
                  </a:lnTo>
                  <a:lnTo>
                    <a:pt x="734" y="1203"/>
                  </a:lnTo>
                  <a:lnTo>
                    <a:pt x="678" y="1198"/>
                  </a:lnTo>
                  <a:lnTo>
                    <a:pt x="623" y="1194"/>
                  </a:lnTo>
                  <a:lnTo>
                    <a:pt x="570" y="1190"/>
                  </a:lnTo>
                  <a:lnTo>
                    <a:pt x="518" y="1187"/>
                  </a:lnTo>
                  <a:lnTo>
                    <a:pt x="468" y="1185"/>
                  </a:lnTo>
                  <a:lnTo>
                    <a:pt x="420" y="1184"/>
                  </a:lnTo>
                  <a:lnTo>
                    <a:pt x="375" y="1183"/>
                  </a:lnTo>
                  <a:lnTo>
                    <a:pt x="346" y="1183"/>
                  </a:lnTo>
                  <a:lnTo>
                    <a:pt x="320" y="1184"/>
                  </a:lnTo>
                  <a:lnTo>
                    <a:pt x="294" y="1185"/>
                  </a:lnTo>
                  <a:lnTo>
                    <a:pt x="270" y="1186"/>
                  </a:lnTo>
                  <a:lnTo>
                    <a:pt x="247" y="1188"/>
                  </a:lnTo>
                  <a:lnTo>
                    <a:pt x="227" y="1190"/>
                  </a:lnTo>
                  <a:lnTo>
                    <a:pt x="207" y="1193"/>
                  </a:lnTo>
                  <a:lnTo>
                    <a:pt x="191" y="1196"/>
                  </a:lnTo>
                  <a:lnTo>
                    <a:pt x="198" y="1202"/>
                  </a:lnTo>
                  <a:lnTo>
                    <a:pt x="207" y="1210"/>
                  </a:lnTo>
                  <a:lnTo>
                    <a:pt x="218" y="1217"/>
                  </a:lnTo>
                  <a:lnTo>
                    <a:pt x="230" y="1224"/>
                  </a:lnTo>
                  <a:lnTo>
                    <a:pt x="257" y="1240"/>
                  </a:lnTo>
                  <a:lnTo>
                    <a:pt x="288" y="1255"/>
                  </a:lnTo>
                  <a:lnTo>
                    <a:pt x="324" y="1271"/>
                  </a:lnTo>
                  <a:lnTo>
                    <a:pt x="364" y="1289"/>
                  </a:lnTo>
                  <a:lnTo>
                    <a:pt x="408" y="1305"/>
                  </a:lnTo>
                  <a:lnTo>
                    <a:pt x="457" y="1322"/>
                  </a:lnTo>
                  <a:lnTo>
                    <a:pt x="486" y="1331"/>
                  </a:lnTo>
                  <a:lnTo>
                    <a:pt x="517" y="1340"/>
                  </a:lnTo>
                  <a:lnTo>
                    <a:pt x="549" y="1348"/>
                  </a:lnTo>
                  <a:lnTo>
                    <a:pt x="583" y="1356"/>
                  </a:lnTo>
                  <a:lnTo>
                    <a:pt x="617" y="1363"/>
                  </a:lnTo>
                  <a:lnTo>
                    <a:pt x="653" y="1369"/>
                  </a:lnTo>
                  <a:lnTo>
                    <a:pt x="688" y="1375"/>
                  </a:lnTo>
                  <a:lnTo>
                    <a:pt x="725" y="1380"/>
                  </a:lnTo>
                  <a:lnTo>
                    <a:pt x="735" y="1381"/>
                  </a:lnTo>
                  <a:lnTo>
                    <a:pt x="745" y="1383"/>
                  </a:lnTo>
                  <a:lnTo>
                    <a:pt x="782" y="1393"/>
                  </a:lnTo>
                  <a:lnTo>
                    <a:pt x="818" y="1402"/>
                  </a:lnTo>
                  <a:lnTo>
                    <a:pt x="854" y="1411"/>
                  </a:lnTo>
                  <a:lnTo>
                    <a:pt x="890" y="1418"/>
                  </a:lnTo>
                  <a:lnTo>
                    <a:pt x="924" y="1425"/>
                  </a:lnTo>
                  <a:lnTo>
                    <a:pt x="958" y="1430"/>
                  </a:lnTo>
                  <a:lnTo>
                    <a:pt x="992" y="1435"/>
                  </a:lnTo>
                  <a:lnTo>
                    <a:pt x="1024" y="1438"/>
                  </a:lnTo>
                  <a:lnTo>
                    <a:pt x="1055" y="1442"/>
                  </a:lnTo>
                  <a:lnTo>
                    <a:pt x="1086" y="1443"/>
                  </a:lnTo>
                  <a:lnTo>
                    <a:pt x="1116" y="1444"/>
                  </a:lnTo>
                  <a:lnTo>
                    <a:pt x="1144" y="1444"/>
                  </a:lnTo>
                  <a:lnTo>
                    <a:pt x="1171" y="1443"/>
                  </a:lnTo>
                  <a:lnTo>
                    <a:pt x="1198" y="1439"/>
                  </a:lnTo>
                  <a:lnTo>
                    <a:pt x="1223" y="1436"/>
                  </a:lnTo>
                  <a:lnTo>
                    <a:pt x="1248" y="1432"/>
                  </a:lnTo>
                  <a:lnTo>
                    <a:pt x="1263" y="1429"/>
                  </a:lnTo>
                  <a:lnTo>
                    <a:pt x="1279" y="1425"/>
                  </a:lnTo>
                  <a:lnTo>
                    <a:pt x="1294" y="1421"/>
                  </a:lnTo>
                  <a:lnTo>
                    <a:pt x="1307" y="1416"/>
                  </a:lnTo>
                  <a:close/>
                  <a:moveTo>
                    <a:pt x="171" y="1169"/>
                  </a:moveTo>
                  <a:lnTo>
                    <a:pt x="172" y="1174"/>
                  </a:lnTo>
                  <a:lnTo>
                    <a:pt x="175" y="1178"/>
                  </a:lnTo>
                  <a:lnTo>
                    <a:pt x="172" y="1170"/>
                  </a:lnTo>
                  <a:lnTo>
                    <a:pt x="171" y="1169"/>
                  </a:lnTo>
                  <a:close/>
                  <a:moveTo>
                    <a:pt x="823" y="1042"/>
                  </a:moveTo>
                  <a:lnTo>
                    <a:pt x="825" y="1042"/>
                  </a:lnTo>
                  <a:lnTo>
                    <a:pt x="831" y="1043"/>
                  </a:lnTo>
                  <a:lnTo>
                    <a:pt x="854" y="1048"/>
                  </a:lnTo>
                  <a:lnTo>
                    <a:pt x="877" y="1053"/>
                  </a:lnTo>
                  <a:lnTo>
                    <a:pt x="897" y="1058"/>
                  </a:lnTo>
                  <a:lnTo>
                    <a:pt x="917" y="1062"/>
                  </a:lnTo>
                  <a:lnTo>
                    <a:pt x="918" y="1063"/>
                  </a:lnTo>
                  <a:lnTo>
                    <a:pt x="918" y="1062"/>
                  </a:lnTo>
                  <a:lnTo>
                    <a:pt x="940" y="1068"/>
                  </a:lnTo>
                  <a:lnTo>
                    <a:pt x="962" y="1075"/>
                  </a:lnTo>
                  <a:lnTo>
                    <a:pt x="985" y="1082"/>
                  </a:lnTo>
                  <a:lnTo>
                    <a:pt x="1009" y="1089"/>
                  </a:lnTo>
                  <a:lnTo>
                    <a:pt x="1035" y="1097"/>
                  </a:lnTo>
                  <a:lnTo>
                    <a:pt x="1061" y="1106"/>
                  </a:lnTo>
                  <a:lnTo>
                    <a:pt x="1087" y="1115"/>
                  </a:lnTo>
                  <a:lnTo>
                    <a:pt x="1112" y="1123"/>
                  </a:lnTo>
                  <a:lnTo>
                    <a:pt x="1136" y="1133"/>
                  </a:lnTo>
                  <a:lnTo>
                    <a:pt x="1161" y="1143"/>
                  </a:lnTo>
                  <a:lnTo>
                    <a:pt x="1185" y="1152"/>
                  </a:lnTo>
                  <a:lnTo>
                    <a:pt x="1208" y="1162"/>
                  </a:lnTo>
                  <a:lnTo>
                    <a:pt x="1149" y="982"/>
                  </a:lnTo>
                  <a:lnTo>
                    <a:pt x="1147" y="974"/>
                  </a:lnTo>
                  <a:lnTo>
                    <a:pt x="1145" y="965"/>
                  </a:lnTo>
                  <a:lnTo>
                    <a:pt x="1145" y="957"/>
                  </a:lnTo>
                  <a:lnTo>
                    <a:pt x="1145" y="949"/>
                  </a:lnTo>
                  <a:lnTo>
                    <a:pt x="1146" y="941"/>
                  </a:lnTo>
                  <a:lnTo>
                    <a:pt x="1148" y="932"/>
                  </a:lnTo>
                  <a:lnTo>
                    <a:pt x="1151" y="924"/>
                  </a:lnTo>
                  <a:lnTo>
                    <a:pt x="1154" y="917"/>
                  </a:lnTo>
                  <a:lnTo>
                    <a:pt x="1158" y="910"/>
                  </a:lnTo>
                  <a:lnTo>
                    <a:pt x="1162" y="903"/>
                  </a:lnTo>
                  <a:lnTo>
                    <a:pt x="1167" y="896"/>
                  </a:lnTo>
                  <a:lnTo>
                    <a:pt x="1173" y="891"/>
                  </a:lnTo>
                  <a:lnTo>
                    <a:pt x="1181" y="886"/>
                  </a:lnTo>
                  <a:lnTo>
                    <a:pt x="1187" y="881"/>
                  </a:lnTo>
                  <a:lnTo>
                    <a:pt x="1195" y="878"/>
                  </a:lnTo>
                  <a:lnTo>
                    <a:pt x="1203" y="874"/>
                  </a:lnTo>
                  <a:lnTo>
                    <a:pt x="1209" y="873"/>
                  </a:lnTo>
                  <a:lnTo>
                    <a:pt x="1209" y="872"/>
                  </a:lnTo>
                  <a:lnTo>
                    <a:pt x="1220" y="869"/>
                  </a:lnTo>
                  <a:lnTo>
                    <a:pt x="1230" y="865"/>
                  </a:lnTo>
                  <a:lnTo>
                    <a:pt x="1239" y="861"/>
                  </a:lnTo>
                  <a:lnTo>
                    <a:pt x="1250" y="857"/>
                  </a:lnTo>
                  <a:lnTo>
                    <a:pt x="1268" y="847"/>
                  </a:lnTo>
                  <a:lnTo>
                    <a:pt x="1286" y="835"/>
                  </a:lnTo>
                  <a:lnTo>
                    <a:pt x="1302" y="823"/>
                  </a:lnTo>
                  <a:lnTo>
                    <a:pt x="1319" y="810"/>
                  </a:lnTo>
                  <a:lnTo>
                    <a:pt x="1335" y="795"/>
                  </a:lnTo>
                  <a:lnTo>
                    <a:pt x="1351" y="781"/>
                  </a:lnTo>
                  <a:lnTo>
                    <a:pt x="1376" y="758"/>
                  </a:lnTo>
                  <a:lnTo>
                    <a:pt x="1403" y="735"/>
                  </a:lnTo>
                  <a:lnTo>
                    <a:pt x="1416" y="724"/>
                  </a:lnTo>
                  <a:lnTo>
                    <a:pt x="1431" y="714"/>
                  </a:lnTo>
                  <a:lnTo>
                    <a:pt x="1445" y="705"/>
                  </a:lnTo>
                  <a:lnTo>
                    <a:pt x="1461" y="695"/>
                  </a:lnTo>
                  <a:lnTo>
                    <a:pt x="1476" y="687"/>
                  </a:lnTo>
                  <a:lnTo>
                    <a:pt x="1493" y="680"/>
                  </a:lnTo>
                  <a:lnTo>
                    <a:pt x="1509" y="674"/>
                  </a:lnTo>
                  <a:lnTo>
                    <a:pt x="1528" y="667"/>
                  </a:lnTo>
                  <a:lnTo>
                    <a:pt x="1547" y="663"/>
                  </a:lnTo>
                  <a:lnTo>
                    <a:pt x="1567" y="660"/>
                  </a:lnTo>
                  <a:lnTo>
                    <a:pt x="1588" y="657"/>
                  </a:lnTo>
                  <a:lnTo>
                    <a:pt x="1611" y="657"/>
                  </a:lnTo>
                  <a:lnTo>
                    <a:pt x="1620" y="657"/>
                  </a:lnTo>
                  <a:lnTo>
                    <a:pt x="1630" y="659"/>
                  </a:lnTo>
                  <a:lnTo>
                    <a:pt x="1639" y="661"/>
                  </a:lnTo>
                  <a:lnTo>
                    <a:pt x="1647" y="664"/>
                  </a:lnTo>
                  <a:lnTo>
                    <a:pt x="1655" y="669"/>
                  </a:lnTo>
                  <a:lnTo>
                    <a:pt x="1663" y="674"/>
                  </a:lnTo>
                  <a:lnTo>
                    <a:pt x="1669" y="680"/>
                  </a:lnTo>
                  <a:lnTo>
                    <a:pt x="1676" y="686"/>
                  </a:lnTo>
                  <a:lnTo>
                    <a:pt x="1702" y="714"/>
                  </a:lnTo>
                  <a:lnTo>
                    <a:pt x="1725" y="742"/>
                  </a:lnTo>
                  <a:lnTo>
                    <a:pt x="1746" y="770"/>
                  </a:lnTo>
                  <a:lnTo>
                    <a:pt x="1767" y="800"/>
                  </a:lnTo>
                  <a:lnTo>
                    <a:pt x="1772" y="789"/>
                  </a:lnTo>
                  <a:lnTo>
                    <a:pt x="1778" y="777"/>
                  </a:lnTo>
                  <a:lnTo>
                    <a:pt x="1784" y="765"/>
                  </a:lnTo>
                  <a:lnTo>
                    <a:pt x="1791" y="754"/>
                  </a:lnTo>
                  <a:lnTo>
                    <a:pt x="1798" y="742"/>
                  </a:lnTo>
                  <a:lnTo>
                    <a:pt x="1805" y="730"/>
                  </a:lnTo>
                  <a:lnTo>
                    <a:pt x="1812" y="717"/>
                  </a:lnTo>
                  <a:lnTo>
                    <a:pt x="1820" y="703"/>
                  </a:lnTo>
                  <a:lnTo>
                    <a:pt x="1840" y="672"/>
                  </a:lnTo>
                  <a:lnTo>
                    <a:pt x="1861" y="639"/>
                  </a:lnTo>
                  <a:lnTo>
                    <a:pt x="1884" y="606"/>
                  </a:lnTo>
                  <a:lnTo>
                    <a:pt x="1908" y="572"/>
                  </a:lnTo>
                  <a:lnTo>
                    <a:pt x="1931" y="538"/>
                  </a:lnTo>
                  <a:lnTo>
                    <a:pt x="1957" y="503"/>
                  </a:lnTo>
                  <a:lnTo>
                    <a:pt x="1984" y="468"/>
                  </a:lnTo>
                  <a:lnTo>
                    <a:pt x="2011" y="434"/>
                  </a:lnTo>
                  <a:lnTo>
                    <a:pt x="2015" y="429"/>
                  </a:lnTo>
                  <a:lnTo>
                    <a:pt x="2019" y="425"/>
                  </a:lnTo>
                  <a:lnTo>
                    <a:pt x="2051" y="393"/>
                  </a:lnTo>
                  <a:lnTo>
                    <a:pt x="2084" y="362"/>
                  </a:lnTo>
                  <a:lnTo>
                    <a:pt x="2117" y="331"/>
                  </a:lnTo>
                  <a:lnTo>
                    <a:pt x="2150" y="301"/>
                  </a:lnTo>
                  <a:lnTo>
                    <a:pt x="2183" y="273"/>
                  </a:lnTo>
                  <a:lnTo>
                    <a:pt x="2215" y="244"/>
                  </a:lnTo>
                  <a:lnTo>
                    <a:pt x="2248" y="217"/>
                  </a:lnTo>
                  <a:lnTo>
                    <a:pt x="2280" y="191"/>
                  </a:lnTo>
                  <a:lnTo>
                    <a:pt x="2312" y="166"/>
                  </a:lnTo>
                  <a:lnTo>
                    <a:pt x="2342" y="143"/>
                  </a:lnTo>
                  <a:lnTo>
                    <a:pt x="2372" y="121"/>
                  </a:lnTo>
                  <a:lnTo>
                    <a:pt x="2401" y="100"/>
                  </a:lnTo>
                  <a:lnTo>
                    <a:pt x="2430" y="82"/>
                  </a:lnTo>
                  <a:lnTo>
                    <a:pt x="2457" y="65"/>
                  </a:lnTo>
                  <a:lnTo>
                    <a:pt x="2483" y="50"/>
                  </a:lnTo>
                  <a:lnTo>
                    <a:pt x="2507" y="38"/>
                  </a:lnTo>
                  <a:lnTo>
                    <a:pt x="2533" y="25"/>
                  </a:lnTo>
                  <a:lnTo>
                    <a:pt x="2559" y="15"/>
                  </a:lnTo>
                  <a:lnTo>
                    <a:pt x="2571" y="11"/>
                  </a:lnTo>
                  <a:lnTo>
                    <a:pt x="2582" y="8"/>
                  </a:lnTo>
                  <a:lnTo>
                    <a:pt x="2594" y="5"/>
                  </a:lnTo>
                  <a:lnTo>
                    <a:pt x="2605" y="3"/>
                  </a:lnTo>
                  <a:lnTo>
                    <a:pt x="2611" y="1"/>
                  </a:lnTo>
                  <a:lnTo>
                    <a:pt x="2624" y="0"/>
                  </a:lnTo>
                  <a:lnTo>
                    <a:pt x="2636" y="0"/>
                  </a:lnTo>
                  <a:lnTo>
                    <a:pt x="823" y="104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29" name="Freeform 14"/>
            <p:cNvSpPr>
              <a:spLocks noChangeArrowheads="1"/>
            </p:cNvSpPr>
            <p:nvPr userDrawn="1"/>
          </p:nvSpPr>
          <p:spPr bwMode="auto">
            <a:xfrm>
              <a:off x="7007225" y="3213053"/>
              <a:ext cx="1144588" cy="1330137"/>
            </a:xfrm>
            <a:custGeom>
              <a:avLst/>
              <a:gdLst>
                <a:gd name="T0" fmla="*/ 2438 w 2550"/>
                <a:gd name="T1" fmla="*/ 435 h 2399"/>
                <a:gd name="T2" fmla="*/ 2241 w 2550"/>
                <a:gd name="T3" fmla="*/ 704 h 2399"/>
                <a:gd name="T4" fmla="*/ 2022 w 2550"/>
                <a:gd name="T5" fmla="*/ 901 h 2399"/>
                <a:gd name="T6" fmla="*/ 1889 w 2550"/>
                <a:gd name="T7" fmla="*/ 995 h 2399"/>
                <a:gd name="T8" fmla="*/ 1805 w 2550"/>
                <a:gd name="T9" fmla="*/ 1033 h 2399"/>
                <a:gd name="T10" fmla="*/ 1732 w 2550"/>
                <a:gd name="T11" fmla="*/ 1045 h 2399"/>
                <a:gd name="T12" fmla="*/ 1718 w 2550"/>
                <a:gd name="T13" fmla="*/ 1112 h 2399"/>
                <a:gd name="T14" fmla="*/ 1766 w 2550"/>
                <a:gd name="T15" fmla="*/ 1311 h 2399"/>
                <a:gd name="T16" fmla="*/ 1832 w 2550"/>
                <a:gd name="T17" fmla="*/ 1703 h 2399"/>
                <a:gd name="T18" fmla="*/ 1882 w 2550"/>
                <a:gd name="T19" fmla="*/ 2149 h 2399"/>
                <a:gd name="T20" fmla="*/ 1786 w 2550"/>
                <a:gd name="T21" fmla="*/ 2399 h 2399"/>
                <a:gd name="T22" fmla="*/ 1502 w 2550"/>
                <a:gd name="T23" fmla="*/ 2399 h 2399"/>
                <a:gd name="T24" fmla="*/ 1414 w 2550"/>
                <a:gd name="T25" fmla="*/ 2144 h 2399"/>
                <a:gd name="T26" fmla="*/ 1386 w 2550"/>
                <a:gd name="T27" fmla="*/ 1826 h 2399"/>
                <a:gd name="T28" fmla="*/ 1341 w 2550"/>
                <a:gd name="T29" fmla="*/ 1507 h 2399"/>
                <a:gd name="T30" fmla="*/ 1274 w 2550"/>
                <a:gd name="T31" fmla="*/ 1401 h 2399"/>
                <a:gd name="T32" fmla="*/ 1196 w 2550"/>
                <a:gd name="T33" fmla="*/ 1427 h 2399"/>
                <a:gd name="T34" fmla="*/ 1101 w 2550"/>
                <a:gd name="T35" fmla="*/ 1441 h 2399"/>
                <a:gd name="T36" fmla="*/ 993 w 2550"/>
                <a:gd name="T37" fmla="*/ 1442 h 2399"/>
                <a:gd name="T38" fmla="*/ 797 w 2550"/>
                <a:gd name="T39" fmla="*/ 1418 h 2399"/>
                <a:gd name="T40" fmla="*/ 565 w 2550"/>
                <a:gd name="T41" fmla="*/ 1370 h 2399"/>
                <a:gd name="T42" fmla="*/ 405 w 2550"/>
                <a:gd name="T43" fmla="*/ 1335 h 2399"/>
                <a:gd name="T44" fmla="*/ 266 w 2550"/>
                <a:gd name="T45" fmla="*/ 1289 h 2399"/>
                <a:gd name="T46" fmla="*/ 153 w 2550"/>
                <a:gd name="T47" fmla="*/ 1235 h 2399"/>
                <a:gd name="T48" fmla="*/ 70 w 2550"/>
                <a:gd name="T49" fmla="*/ 1180 h 2399"/>
                <a:gd name="T50" fmla="*/ 17 w 2550"/>
                <a:gd name="T51" fmla="*/ 1127 h 2399"/>
                <a:gd name="T52" fmla="*/ 0 w 2550"/>
                <a:gd name="T53" fmla="*/ 1081 h 2399"/>
                <a:gd name="T54" fmla="*/ 23 w 2550"/>
                <a:gd name="T55" fmla="*/ 1048 h 2399"/>
                <a:gd name="T56" fmla="*/ 89 w 2550"/>
                <a:gd name="T57" fmla="*/ 1026 h 2399"/>
                <a:gd name="T58" fmla="*/ 269 w 2550"/>
                <a:gd name="T59" fmla="*/ 1011 h 2399"/>
                <a:gd name="T60" fmla="*/ 580 w 2550"/>
                <a:gd name="T61" fmla="*/ 1026 h 2399"/>
                <a:gd name="T62" fmla="*/ 838 w 2550"/>
                <a:gd name="T63" fmla="*/ 1067 h 2399"/>
                <a:gd name="T64" fmla="*/ 1027 w 2550"/>
                <a:gd name="T65" fmla="*/ 1130 h 2399"/>
                <a:gd name="T66" fmla="*/ 1190 w 2550"/>
                <a:gd name="T67" fmla="*/ 1204 h 2399"/>
                <a:gd name="T68" fmla="*/ 1239 w 2550"/>
                <a:gd name="T69" fmla="*/ 1156 h 2399"/>
                <a:gd name="T70" fmla="*/ 1160 w 2550"/>
                <a:gd name="T71" fmla="*/ 917 h 2399"/>
                <a:gd name="T72" fmla="*/ 1202 w 2550"/>
                <a:gd name="T73" fmla="*/ 847 h 2399"/>
                <a:gd name="T74" fmla="*/ 1273 w 2550"/>
                <a:gd name="T75" fmla="*/ 801 h 2399"/>
                <a:gd name="T76" fmla="*/ 1375 w 2550"/>
                <a:gd name="T77" fmla="*/ 712 h 2399"/>
                <a:gd name="T78" fmla="*/ 1429 w 2550"/>
                <a:gd name="T79" fmla="*/ 678 h 2399"/>
                <a:gd name="T80" fmla="*/ 1494 w 2550"/>
                <a:gd name="T81" fmla="*/ 659 h 2399"/>
                <a:gd name="T82" fmla="*/ 1568 w 2550"/>
                <a:gd name="T83" fmla="*/ 705 h 2399"/>
                <a:gd name="T84" fmla="*/ 1626 w 2550"/>
                <a:gd name="T85" fmla="*/ 790 h 2399"/>
                <a:gd name="T86" fmla="*/ 1679 w 2550"/>
                <a:gd name="T87" fmla="*/ 908 h 2399"/>
                <a:gd name="T88" fmla="*/ 1700 w 2550"/>
                <a:gd name="T89" fmla="*/ 903 h 2399"/>
                <a:gd name="T90" fmla="*/ 1729 w 2550"/>
                <a:gd name="T91" fmla="*/ 812 h 2399"/>
                <a:gd name="T92" fmla="*/ 1823 w 2550"/>
                <a:gd name="T93" fmla="*/ 636 h 2399"/>
                <a:gd name="T94" fmla="*/ 1960 w 2550"/>
                <a:gd name="T95" fmla="*/ 441 h 2399"/>
                <a:gd name="T96" fmla="*/ 2157 w 2550"/>
                <a:gd name="T97" fmla="*/ 247 h 2399"/>
                <a:gd name="T98" fmla="*/ 2353 w 2550"/>
                <a:gd name="T99" fmla="*/ 93 h 2399"/>
                <a:gd name="T100" fmla="*/ 2482 w 2550"/>
                <a:gd name="T101" fmla="*/ 18 h 2399"/>
                <a:gd name="T102" fmla="*/ 2541 w 2550"/>
                <a:gd name="T103" fmla="*/ 0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50" h="2399">
                  <a:moveTo>
                    <a:pt x="2550" y="237"/>
                  </a:moveTo>
                  <a:lnTo>
                    <a:pt x="2526" y="283"/>
                  </a:lnTo>
                  <a:lnTo>
                    <a:pt x="2500" y="331"/>
                  </a:lnTo>
                  <a:lnTo>
                    <a:pt x="2470" y="382"/>
                  </a:lnTo>
                  <a:lnTo>
                    <a:pt x="2438" y="435"/>
                  </a:lnTo>
                  <a:lnTo>
                    <a:pt x="2403" y="489"/>
                  </a:lnTo>
                  <a:lnTo>
                    <a:pt x="2367" y="544"/>
                  </a:lnTo>
                  <a:lnTo>
                    <a:pt x="2328" y="600"/>
                  </a:lnTo>
                  <a:lnTo>
                    <a:pt x="2288" y="657"/>
                  </a:lnTo>
                  <a:lnTo>
                    <a:pt x="2241" y="704"/>
                  </a:lnTo>
                  <a:lnTo>
                    <a:pt x="2195" y="748"/>
                  </a:lnTo>
                  <a:lnTo>
                    <a:pt x="2149" y="791"/>
                  </a:lnTo>
                  <a:lnTo>
                    <a:pt x="2106" y="830"/>
                  </a:lnTo>
                  <a:lnTo>
                    <a:pt x="2063" y="867"/>
                  </a:lnTo>
                  <a:lnTo>
                    <a:pt x="2022" y="901"/>
                  </a:lnTo>
                  <a:lnTo>
                    <a:pt x="1982" y="932"/>
                  </a:lnTo>
                  <a:lnTo>
                    <a:pt x="1943" y="960"/>
                  </a:lnTo>
                  <a:lnTo>
                    <a:pt x="1925" y="972"/>
                  </a:lnTo>
                  <a:lnTo>
                    <a:pt x="1906" y="983"/>
                  </a:lnTo>
                  <a:lnTo>
                    <a:pt x="1889" y="995"/>
                  </a:lnTo>
                  <a:lnTo>
                    <a:pt x="1871" y="1004"/>
                  </a:lnTo>
                  <a:lnTo>
                    <a:pt x="1854" y="1013"/>
                  </a:lnTo>
                  <a:lnTo>
                    <a:pt x="1837" y="1021"/>
                  </a:lnTo>
                  <a:lnTo>
                    <a:pt x="1821" y="1028"/>
                  </a:lnTo>
                  <a:lnTo>
                    <a:pt x="1805" y="1033"/>
                  </a:lnTo>
                  <a:lnTo>
                    <a:pt x="1790" y="1038"/>
                  </a:lnTo>
                  <a:lnTo>
                    <a:pt x="1774" y="1041"/>
                  </a:lnTo>
                  <a:lnTo>
                    <a:pt x="1760" y="1044"/>
                  </a:lnTo>
                  <a:lnTo>
                    <a:pt x="1747" y="1045"/>
                  </a:lnTo>
                  <a:lnTo>
                    <a:pt x="1732" y="1045"/>
                  </a:lnTo>
                  <a:lnTo>
                    <a:pt x="1720" y="1044"/>
                  </a:lnTo>
                  <a:lnTo>
                    <a:pt x="1706" y="1042"/>
                  </a:lnTo>
                  <a:lnTo>
                    <a:pt x="1694" y="1039"/>
                  </a:lnTo>
                  <a:lnTo>
                    <a:pt x="1706" y="1075"/>
                  </a:lnTo>
                  <a:lnTo>
                    <a:pt x="1718" y="1112"/>
                  </a:lnTo>
                  <a:lnTo>
                    <a:pt x="1728" y="1151"/>
                  </a:lnTo>
                  <a:lnTo>
                    <a:pt x="1738" y="1190"/>
                  </a:lnTo>
                  <a:lnTo>
                    <a:pt x="1748" y="1230"/>
                  </a:lnTo>
                  <a:lnTo>
                    <a:pt x="1758" y="1270"/>
                  </a:lnTo>
                  <a:lnTo>
                    <a:pt x="1766" y="1311"/>
                  </a:lnTo>
                  <a:lnTo>
                    <a:pt x="1775" y="1353"/>
                  </a:lnTo>
                  <a:lnTo>
                    <a:pt x="1791" y="1439"/>
                  </a:lnTo>
                  <a:lnTo>
                    <a:pt x="1806" y="1526"/>
                  </a:lnTo>
                  <a:lnTo>
                    <a:pt x="1820" y="1614"/>
                  </a:lnTo>
                  <a:lnTo>
                    <a:pt x="1832" y="1703"/>
                  </a:lnTo>
                  <a:lnTo>
                    <a:pt x="1843" y="1794"/>
                  </a:lnTo>
                  <a:lnTo>
                    <a:pt x="1855" y="1883"/>
                  </a:lnTo>
                  <a:lnTo>
                    <a:pt x="1864" y="1973"/>
                  </a:lnTo>
                  <a:lnTo>
                    <a:pt x="1873" y="2062"/>
                  </a:lnTo>
                  <a:lnTo>
                    <a:pt x="1882" y="2149"/>
                  </a:lnTo>
                  <a:lnTo>
                    <a:pt x="1891" y="2235"/>
                  </a:lnTo>
                  <a:lnTo>
                    <a:pt x="1898" y="2318"/>
                  </a:lnTo>
                  <a:lnTo>
                    <a:pt x="1906" y="2399"/>
                  </a:lnTo>
                  <a:lnTo>
                    <a:pt x="1844" y="2399"/>
                  </a:lnTo>
                  <a:lnTo>
                    <a:pt x="1786" y="2399"/>
                  </a:lnTo>
                  <a:lnTo>
                    <a:pt x="1729" y="2399"/>
                  </a:lnTo>
                  <a:lnTo>
                    <a:pt x="1673" y="2399"/>
                  </a:lnTo>
                  <a:lnTo>
                    <a:pt x="1618" y="2399"/>
                  </a:lnTo>
                  <a:lnTo>
                    <a:pt x="1561" y="2399"/>
                  </a:lnTo>
                  <a:lnTo>
                    <a:pt x="1502" y="2399"/>
                  </a:lnTo>
                  <a:lnTo>
                    <a:pt x="1441" y="2399"/>
                  </a:lnTo>
                  <a:lnTo>
                    <a:pt x="1432" y="2336"/>
                  </a:lnTo>
                  <a:lnTo>
                    <a:pt x="1426" y="2272"/>
                  </a:lnTo>
                  <a:lnTo>
                    <a:pt x="1420" y="2208"/>
                  </a:lnTo>
                  <a:lnTo>
                    <a:pt x="1414" y="2144"/>
                  </a:lnTo>
                  <a:lnTo>
                    <a:pt x="1409" y="2081"/>
                  </a:lnTo>
                  <a:lnTo>
                    <a:pt x="1404" y="2017"/>
                  </a:lnTo>
                  <a:lnTo>
                    <a:pt x="1398" y="1953"/>
                  </a:lnTo>
                  <a:lnTo>
                    <a:pt x="1392" y="1890"/>
                  </a:lnTo>
                  <a:lnTo>
                    <a:pt x="1386" y="1826"/>
                  </a:lnTo>
                  <a:lnTo>
                    <a:pt x="1379" y="1762"/>
                  </a:lnTo>
                  <a:lnTo>
                    <a:pt x="1372" y="1698"/>
                  </a:lnTo>
                  <a:lnTo>
                    <a:pt x="1362" y="1634"/>
                  </a:lnTo>
                  <a:lnTo>
                    <a:pt x="1352" y="1571"/>
                  </a:lnTo>
                  <a:lnTo>
                    <a:pt x="1341" y="1507"/>
                  </a:lnTo>
                  <a:lnTo>
                    <a:pt x="1328" y="1443"/>
                  </a:lnTo>
                  <a:lnTo>
                    <a:pt x="1313" y="1379"/>
                  </a:lnTo>
                  <a:lnTo>
                    <a:pt x="1301" y="1388"/>
                  </a:lnTo>
                  <a:lnTo>
                    <a:pt x="1288" y="1394"/>
                  </a:lnTo>
                  <a:lnTo>
                    <a:pt x="1274" y="1401"/>
                  </a:lnTo>
                  <a:lnTo>
                    <a:pt x="1259" y="1407"/>
                  </a:lnTo>
                  <a:lnTo>
                    <a:pt x="1244" y="1413"/>
                  </a:lnTo>
                  <a:lnTo>
                    <a:pt x="1229" y="1418"/>
                  </a:lnTo>
                  <a:lnTo>
                    <a:pt x="1212" y="1423"/>
                  </a:lnTo>
                  <a:lnTo>
                    <a:pt x="1196" y="1427"/>
                  </a:lnTo>
                  <a:lnTo>
                    <a:pt x="1177" y="1431"/>
                  </a:lnTo>
                  <a:lnTo>
                    <a:pt x="1160" y="1434"/>
                  </a:lnTo>
                  <a:lnTo>
                    <a:pt x="1140" y="1437"/>
                  </a:lnTo>
                  <a:lnTo>
                    <a:pt x="1120" y="1439"/>
                  </a:lnTo>
                  <a:lnTo>
                    <a:pt x="1101" y="1441"/>
                  </a:lnTo>
                  <a:lnTo>
                    <a:pt x="1080" y="1442"/>
                  </a:lnTo>
                  <a:lnTo>
                    <a:pt x="1059" y="1443"/>
                  </a:lnTo>
                  <a:lnTo>
                    <a:pt x="1038" y="1443"/>
                  </a:lnTo>
                  <a:lnTo>
                    <a:pt x="1015" y="1443"/>
                  </a:lnTo>
                  <a:lnTo>
                    <a:pt x="993" y="1442"/>
                  </a:lnTo>
                  <a:lnTo>
                    <a:pt x="970" y="1441"/>
                  </a:lnTo>
                  <a:lnTo>
                    <a:pt x="946" y="1439"/>
                  </a:lnTo>
                  <a:lnTo>
                    <a:pt x="898" y="1434"/>
                  </a:lnTo>
                  <a:lnTo>
                    <a:pt x="848" y="1427"/>
                  </a:lnTo>
                  <a:lnTo>
                    <a:pt x="797" y="1418"/>
                  </a:lnTo>
                  <a:lnTo>
                    <a:pt x="744" y="1407"/>
                  </a:lnTo>
                  <a:lnTo>
                    <a:pt x="690" y="1394"/>
                  </a:lnTo>
                  <a:lnTo>
                    <a:pt x="635" y="1379"/>
                  </a:lnTo>
                  <a:lnTo>
                    <a:pt x="599" y="1375"/>
                  </a:lnTo>
                  <a:lnTo>
                    <a:pt x="565" y="1370"/>
                  </a:lnTo>
                  <a:lnTo>
                    <a:pt x="531" y="1364"/>
                  </a:lnTo>
                  <a:lnTo>
                    <a:pt x="498" y="1358"/>
                  </a:lnTo>
                  <a:lnTo>
                    <a:pt x="466" y="1350"/>
                  </a:lnTo>
                  <a:lnTo>
                    <a:pt x="434" y="1343"/>
                  </a:lnTo>
                  <a:lnTo>
                    <a:pt x="405" y="1335"/>
                  </a:lnTo>
                  <a:lnTo>
                    <a:pt x="375" y="1327"/>
                  </a:lnTo>
                  <a:lnTo>
                    <a:pt x="346" y="1318"/>
                  </a:lnTo>
                  <a:lnTo>
                    <a:pt x="318" y="1308"/>
                  </a:lnTo>
                  <a:lnTo>
                    <a:pt x="291" y="1299"/>
                  </a:lnTo>
                  <a:lnTo>
                    <a:pt x="266" y="1289"/>
                  </a:lnTo>
                  <a:lnTo>
                    <a:pt x="242" y="1278"/>
                  </a:lnTo>
                  <a:lnTo>
                    <a:pt x="218" y="1268"/>
                  </a:lnTo>
                  <a:lnTo>
                    <a:pt x="195" y="1258"/>
                  </a:lnTo>
                  <a:lnTo>
                    <a:pt x="174" y="1246"/>
                  </a:lnTo>
                  <a:lnTo>
                    <a:pt x="153" y="1235"/>
                  </a:lnTo>
                  <a:lnTo>
                    <a:pt x="135" y="1225"/>
                  </a:lnTo>
                  <a:lnTo>
                    <a:pt x="116" y="1213"/>
                  </a:lnTo>
                  <a:lnTo>
                    <a:pt x="100" y="1202"/>
                  </a:lnTo>
                  <a:lnTo>
                    <a:pt x="84" y="1191"/>
                  </a:lnTo>
                  <a:lnTo>
                    <a:pt x="70" y="1180"/>
                  </a:lnTo>
                  <a:lnTo>
                    <a:pt x="56" y="1169"/>
                  </a:lnTo>
                  <a:lnTo>
                    <a:pt x="45" y="1158"/>
                  </a:lnTo>
                  <a:lnTo>
                    <a:pt x="35" y="1147"/>
                  </a:lnTo>
                  <a:lnTo>
                    <a:pt x="25" y="1137"/>
                  </a:lnTo>
                  <a:lnTo>
                    <a:pt x="17" y="1127"/>
                  </a:lnTo>
                  <a:lnTo>
                    <a:pt x="11" y="1117"/>
                  </a:lnTo>
                  <a:lnTo>
                    <a:pt x="6" y="1108"/>
                  </a:lnTo>
                  <a:lnTo>
                    <a:pt x="2" y="1099"/>
                  </a:lnTo>
                  <a:lnTo>
                    <a:pt x="0" y="1090"/>
                  </a:lnTo>
                  <a:lnTo>
                    <a:pt x="0" y="1081"/>
                  </a:lnTo>
                  <a:lnTo>
                    <a:pt x="1" y="1074"/>
                  </a:lnTo>
                  <a:lnTo>
                    <a:pt x="3" y="1067"/>
                  </a:lnTo>
                  <a:lnTo>
                    <a:pt x="8" y="1060"/>
                  </a:lnTo>
                  <a:lnTo>
                    <a:pt x="14" y="1054"/>
                  </a:lnTo>
                  <a:lnTo>
                    <a:pt x="23" y="1048"/>
                  </a:lnTo>
                  <a:lnTo>
                    <a:pt x="33" y="1042"/>
                  </a:lnTo>
                  <a:lnTo>
                    <a:pt x="45" y="1038"/>
                  </a:lnTo>
                  <a:lnTo>
                    <a:pt x="58" y="1033"/>
                  </a:lnTo>
                  <a:lnTo>
                    <a:pt x="73" y="1029"/>
                  </a:lnTo>
                  <a:lnTo>
                    <a:pt x="89" y="1026"/>
                  </a:lnTo>
                  <a:lnTo>
                    <a:pt x="107" y="1023"/>
                  </a:lnTo>
                  <a:lnTo>
                    <a:pt x="126" y="1020"/>
                  </a:lnTo>
                  <a:lnTo>
                    <a:pt x="169" y="1015"/>
                  </a:lnTo>
                  <a:lnTo>
                    <a:pt x="216" y="1012"/>
                  </a:lnTo>
                  <a:lnTo>
                    <a:pt x="269" y="1011"/>
                  </a:lnTo>
                  <a:lnTo>
                    <a:pt x="324" y="1011"/>
                  </a:lnTo>
                  <a:lnTo>
                    <a:pt x="384" y="1013"/>
                  </a:lnTo>
                  <a:lnTo>
                    <a:pt x="446" y="1015"/>
                  </a:lnTo>
                  <a:lnTo>
                    <a:pt x="512" y="1020"/>
                  </a:lnTo>
                  <a:lnTo>
                    <a:pt x="580" y="1026"/>
                  </a:lnTo>
                  <a:lnTo>
                    <a:pt x="649" y="1032"/>
                  </a:lnTo>
                  <a:lnTo>
                    <a:pt x="720" y="1039"/>
                  </a:lnTo>
                  <a:lnTo>
                    <a:pt x="759" y="1047"/>
                  </a:lnTo>
                  <a:lnTo>
                    <a:pt x="799" y="1057"/>
                  </a:lnTo>
                  <a:lnTo>
                    <a:pt x="838" y="1067"/>
                  </a:lnTo>
                  <a:lnTo>
                    <a:pt x="877" y="1078"/>
                  </a:lnTo>
                  <a:lnTo>
                    <a:pt x="915" y="1091"/>
                  </a:lnTo>
                  <a:lnTo>
                    <a:pt x="954" y="1103"/>
                  </a:lnTo>
                  <a:lnTo>
                    <a:pt x="991" y="1115"/>
                  </a:lnTo>
                  <a:lnTo>
                    <a:pt x="1027" y="1130"/>
                  </a:lnTo>
                  <a:lnTo>
                    <a:pt x="1063" y="1144"/>
                  </a:lnTo>
                  <a:lnTo>
                    <a:pt x="1097" y="1159"/>
                  </a:lnTo>
                  <a:lnTo>
                    <a:pt x="1130" y="1173"/>
                  </a:lnTo>
                  <a:lnTo>
                    <a:pt x="1161" y="1189"/>
                  </a:lnTo>
                  <a:lnTo>
                    <a:pt x="1190" y="1204"/>
                  </a:lnTo>
                  <a:lnTo>
                    <a:pt x="1219" y="1221"/>
                  </a:lnTo>
                  <a:lnTo>
                    <a:pt x="1246" y="1236"/>
                  </a:lnTo>
                  <a:lnTo>
                    <a:pt x="1271" y="1251"/>
                  </a:lnTo>
                  <a:lnTo>
                    <a:pt x="1255" y="1204"/>
                  </a:lnTo>
                  <a:lnTo>
                    <a:pt x="1239" y="1156"/>
                  </a:lnTo>
                  <a:lnTo>
                    <a:pt x="1223" y="1108"/>
                  </a:lnTo>
                  <a:lnTo>
                    <a:pt x="1207" y="1061"/>
                  </a:lnTo>
                  <a:lnTo>
                    <a:pt x="1191" y="1012"/>
                  </a:lnTo>
                  <a:lnTo>
                    <a:pt x="1175" y="965"/>
                  </a:lnTo>
                  <a:lnTo>
                    <a:pt x="1160" y="917"/>
                  </a:lnTo>
                  <a:lnTo>
                    <a:pt x="1144" y="869"/>
                  </a:lnTo>
                  <a:lnTo>
                    <a:pt x="1160" y="865"/>
                  </a:lnTo>
                  <a:lnTo>
                    <a:pt x="1174" y="860"/>
                  </a:lnTo>
                  <a:lnTo>
                    <a:pt x="1188" y="855"/>
                  </a:lnTo>
                  <a:lnTo>
                    <a:pt x="1202" y="847"/>
                  </a:lnTo>
                  <a:lnTo>
                    <a:pt x="1215" y="841"/>
                  </a:lnTo>
                  <a:lnTo>
                    <a:pt x="1227" y="834"/>
                  </a:lnTo>
                  <a:lnTo>
                    <a:pt x="1239" y="826"/>
                  </a:lnTo>
                  <a:lnTo>
                    <a:pt x="1251" y="818"/>
                  </a:lnTo>
                  <a:lnTo>
                    <a:pt x="1273" y="801"/>
                  </a:lnTo>
                  <a:lnTo>
                    <a:pt x="1294" y="783"/>
                  </a:lnTo>
                  <a:lnTo>
                    <a:pt x="1314" y="765"/>
                  </a:lnTo>
                  <a:lnTo>
                    <a:pt x="1335" y="747"/>
                  </a:lnTo>
                  <a:lnTo>
                    <a:pt x="1354" y="730"/>
                  </a:lnTo>
                  <a:lnTo>
                    <a:pt x="1375" y="712"/>
                  </a:lnTo>
                  <a:lnTo>
                    <a:pt x="1385" y="705"/>
                  </a:lnTo>
                  <a:lnTo>
                    <a:pt x="1395" y="698"/>
                  </a:lnTo>
                  <a:lnTo>
                    <a:pt x="1407" y="691"/>
                  </a:lnTo>
                  <a:lnTo>
                    <a:pt x="1418" y="683"/>
                  </a:lnTo>
                  <a:lnTo>
                    <a:pt x="1429" y="678"/>
                  </a:lnTo>
                  <a:lnTo>
                    <a:pt x="1442" y="673"/>
                  </a:lnTo>
                  <a:lnTo>
                    <a:pt x="1454" y="668"/>
                  </a:lnTo>
                  <a:lnTo>
                    <a:pt x="1467" y="664"/>
                  </a:lnTo>
                  <a:lnTo>
                    <a:pt x="1481" y="661"/>
                  </a:lnTo>
                  <a:lnTo>
                    <a:pt x="1494" y="659"/>
                  </a:lnTo>
                  <a:lnTo>
                    <a:pt x="1510" y="658"/>
                  </a:lnTo>
                  <a:lnTo>
                    <a:pt x="1525" y="657"/>
                  </a:lnTo>
                  <a:lnTo>
                    <a:pt x="1541" y="673"/>
                  </a:lnTo>
                  <a:lnTo>
                    <a:pt x="1555" y="689"/>
                  </a:lnTo>
                  <a:lnTo>
                    <a:pt x="1568" y="705"/>
                  </a:lnTo>
                  <a:lnTo>
                    <a:pt x="1582" y="721"/>
                  </a:lnTo>
                  <a:lnTo>
                    <a:pt x="1593" y="738"/>
                  </a:lnTo>
                  <a:lnTo>
                    <a:pt x="1604" y="755"/>
                  </a:lnTo>
                  <a:lnTo>
                    <a:pt x="1616" y="772"/>
                  </a:lnTo>
                  <a:lnTo>
                    <a:pt x="1626" y="790"/>
                  </a:lnTo>
                  <a:lnTo>
                    <a:pt x="1635" y="808"/>
                  </a:lnTo>
                  <a:lnTo>
                    <a:pt x="1645" y="827"/>
                  </a:lnTo>
                  <a:lnTo>
                    <a:pt x="1653" y="846"/>
                  </a:lnTo>
                  <a:lnTo>
                    <a:pt x="1662" y="866"/>
                  </a:lnTo>
                  <a:lnTo>
                    <a:pt x="1679" y="908"/>
                  </a:lnTo>
                  <a:lnTo>
                    <a:pt x="1694" y="955"/>
                  </a:lnTo>
                  <a:lnTo>
                    <a:pt x="1695" y="942"/>
                  </a:lnTo>
                  <a:lnTo>
                    <a:pt x="1696" y="930"/>
                  </a:lnTo>
                  <a:lnTo>
                    <a:pt x="1697" y="916"/>
                  </a:lnTo>
                  <a:lnTo>
                    <a:pt x="1700" y="903"/>
                  </a:lnTo>
                  <a:lnTo>
                    <a:pt x="1703" y="889"/>
                  </a:lnTo>
                  <a:lnTo>
                    <a:pt x="1707" y="874"/>
                  </a:lnTo>
                  <a:lnTo>
                    <a:pt x="1712" y="860"/>
                  </a:lnTo>
                  <a:lnTo>
                    <a:pt x="1717" y="844"/>
                  </a:lnTo>
                  <a:lnTo>
                    <a:pt x="1729" y="812"/>
                  </a:lnTo>
                  <a:lnTo>
                    <a:pt x="1744" y="779"/>
                  </a:lnTo>
                  <a:lnTo>
                    <a:pt x="1760" y="745"/>
                  </a:lnTo>
                  <a:lnTo>
                    <a:pt x="1780" y="709"/>
                  </a:lnTo>
                  <a:lnTo>
                    <a:pt x="1800" y="673"/>
                  </a:lnTo>
                  <a:lnTo>
                    <a:pt x="1823" y="636"/>
                  </a:lnTo>
                  <a:lnTo>
                    <a:pt x="1848" y="598"/>
                  </a:lnTo>
                  <a:lnTo>
                    <a:pt x="1873" y="560"/>
                  </a:lnTo>
                  <a:lnTo>
                    <a:pt x="1901" y="521"/>
                  </a:lnTo>
                  <a:lnTo>
                    <a:pt x="1930" y="481"/>
                  </a:lnTo>
                  <a:lnTo>
                    <a:pt x="1960" y="441"/>
                  </a:lnTo>
                  <a:lnTo>
                    <a:pt x="1992" y="402"/>
                  </a:lnTo>
                  <a:lnTo>
                    <a:pt x="2032" y="362"/>
                  </a:lnTo>
                  <a:lnTo>
                    <a:pt x="2073" y="322"/>
                  </a:lnTo>
                  <a:lnTo>
                    <a:pt x="2115" y="283"/>
                  </a:lnTo>
                  <a:lnTo>
                    <a:pt x="2157" y="247"/>
                  </a:lnTo>
                  <a:lnTo>
                    <a:pt x="2198" y="212"/>
                  </a:lnTo>
                  <a:lnTo>
                    <a:pt x="2238" y="178"/>
                  </a:lnTo>
                  <a:lnTo>
                    <a:pt x="2278" y="147"/>
                  </a:lnTo>
                  <a:lnTo>
                    <a:pt x="2316" y="119"/>
                  </a:lnTo>
                  <a:lnTo>
                    <a:pt x="2353" y="93"/>
                  </a:lnTo>
                  <a:lnTo>
                    <a:pt x="2388" y="69"/>
                  </a:lnTo>
                  <a:lnTo>
                    <a:pt x="2422" y="48"/>
                  </a:lnTo>
                  <a:lnTo>
                    <a:pt x="2453" y="32"/>
                  </a:lnTo>
                  <a:lnTo>
                    <a:pt x="2468" y="25"/>
                  </a:lnTo>
                  <a:lnTo>
                    <a:pt x="2482" y="18"/>
                  </a:lnTo>
                  <a:lnTo>
                    <a:pt x="2494" y="12"/>
                  </a:lnTo>
                  <a:lnTo>
                    <a:pt x="2508" y="8"/>
                  </a:lnTo>
                  <a:lnTo>
                    <a:pt x="2519" y="4"/>
                  </a:lnTo>
                  <a:lnTo>
                    <a:pt x="2530" y="2"/>
                  </a:lnTo>
                  <a:lnTo>
                    <a:pt x="2541" y="0"/>
                  </a:lnTo>
                  <a:lnTo>
                    <a:pt x="2550" y="0"/>
                  </a:lnTo>
                  <a:lnTo>
                    <a:pt x="2550" y="23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0" name="Freeform 15"/>
            <p:cNvSpPr>
              <a:spLocks noChangeArrowheads="1"/>
            </p:cNvSpPr>
            <p:nvPr userDrawn="1"/>
          </p:nvSpPr>
          <p:spPr bwMode="auto">
            <a:xfrm>
              <a:off x="7223125" y="5270021"/>
              <a:ext cx="928688" cy="1109939"/>
            </a:xfrm>
            <a:custGeom>
              <a:avLst/>
              <a:gdLst>
                <a:gd name="T0" fmla="*/ 1297 w 2062"/>
                <a:gd name="T1" fmla="*/ 98 h 1999"/>
                <a:gd name="T2" fmla="*/ 1235 w 2062"/>
                <a:gd name="T3" fmla="*/ 87 h 1999"/>
                <a:gd name="T4" fmla="*/ 1515 w 2062"/>
                <a:gd name="T5" fmla="*/ 43 h 1999"/>
                <a:gd name="T6" fmla="*/ 1788 w 2062"/>
                <a:gd name="T7" fmla="*/ 1 h 1999"/>
                <a:gd name="T8" fmla="*/ 1857 w 2062"/>
                <a:gd name="T9" fmla="*/ 23 h 1999"/>
                <a:gd name="T10" fmla="*/ 1885 w 2062"/>
                <a:gd name="T11" fmla="*/ 89 h 1999"/>
                <a:gd name="T12" fmla="*/ 1829 w 2062"/>
                <a:gd name="T13" fmla="*/ 523 h 1999"/>
                <a:gd name="T14" fmla="*/ 1931 w 2062"/>
                <a:gd name="T15" fmla="*/ 598 h 1999"/>
                <a:gd name="T16" fmla="*/ 2062 w 2062"/>
                <a:gd name="T17" fmla="*/ 1134 h 1999"/>
                <a:gd name="T18" fmla="*/ 1813 w 2062"/>
                <a:gd name="T19" fmla="*/ 1253 h 1999"/>
                <a:gd name="T20" fmla="*/ 1721 w 2062"/>
                <a:gd name="T21" fmla="*/ 1468 h 1999"/>
                <a:gd name="T22" fmla="*/ 1680 w 2062"/>
                <a:gd name="T23" fmla="*/ 1878 h 1999"/>
                <a:gd name="T24" fmla="*/ 1646 w 2062"/>
                <a:gd name="T25" fmla="*/ 1977 h 1999"/>
                <a:gd name="T26" fmla="*/ 2062 w 2062"/>
                <a:gd name="T27" fmla="*/ 1134 h 1999"/>
                <a:gd name="T28" fmla="*/ 846 w 2062"/>
                <a:gd name="T29" fmla="*/ 1971 h 1999"/>
                <a:gd name="T30" fmla="*/ 825 w 2062"/>
                <a:gd name="T31" fmla="*/ 1906 h 1999"/>
                <a:gd name="T32" fmla="*/ 911 w 2062"/>
                <a:gd name="T33" fmla="*/ 1592 h 1999"/>
                <a:gd name="T34" fmla="*/ 1012 w 2062"/>
                <a:gd name="T35" fmla="*/ 1157 h 1999"/>
                <a:gd name="T36" fmla="*/ 879 w 2062"/>
                <a:gd name="T37" fmla="*/ 1060 h 1999"/>
                <a:gd name="T38" fmla="*/ 558 w 2062"/>
                <a:gd name="T39" fmla="*/ 877 h 1999"/>
                <a:gd name="T40" fmla="*/ 285 w 2062"/>
                <a:gd name="T41" fmla="*/ 639 h 1999"/>
                <a:gd name="T42" fmla="*/ 66 w 2062"/>
                <a:gd name="T43" fmla="*/ 362 h 1999"/>
                <a:gd name="T44" fmla="*/ 0 w 2062"/>
                <a:gd name="T45" fmla="*/ 173 h 1999"/>
                <a:gd name="T46" fmla="*/ 24 w 2062"/>
                <a:gd name="T47" fmla="*/ 94 h 1999"/>
                <a:gd name="T48" fmla="*/ 81 w 2062"/>
                <a:gd name="T49" fmla="*/ 35 h 1999"/>
                <a:gd name="T50" fmla="*/ 190 w 2062"/>
                <a:gd name="T51" fmla="*/ 19 h 1999"/>
                <a:gd name="T52" fmla="*/ 401 w 2062"/>
                <a:gd name="T53" fmla="*/ 90 h 1999"/>
                <a:gd name="T54" fmla="*/ 796 w 2062"/>
                <a:gd name="T55" fmla="*/ 361 h 1999"/>
                <a:gd name="T56" fmla="*/ 950 w 2062"/>
                <a:gd name="T57" fmla="*/ 499 h 1999"/>
                <a:gd name="T58" fmla="*/ 1117 w 2062"/>
                <a:gd name="T59" fmla="*/ 688 h 1999"/>
                <a:gd name="T60" fmla="*/ 1164 w 2062"/>
                <a:gd name="T61" fmla="*/ 163 h 1999"/>
                <a:gd name="T62" fmla="*/ 1195 w 2062"/>
                <a:gd name="T63" fmla="*/ 105 h 1999"/>
                <a:gd name="T64" fmla="*/ 1249 w 2062"/>
                <a:gd name="T65" fmla="*/ 86 h 1999"/>
                <a:gd name="T66" fmla="*/ 1357 w 2062"/>
                <a:gd name="T67" fmla="*/ 236 h 1999"/>
                <a:gd name="T68" fmla="*/ 1303 w 2062"/>
                <a:gd name="T69" fmla="*/ 595 h 1999"/>
                <a:gd name="T70" fmla="*/ 1248 w 2062"/>
                <a:gd name="T71" fmla="*/ 951 h 1999"/>
                <a:gd name="T72" fmla="*/ 1207 w 2062"/>
                <a:gd name="T73" fmla="*/ 1010 h 1999"/>
                <a:gd name="T74" fmla="*/ 1140 w 2062"/>
                <a:gd name="T75" fmla="*/ 1383 h 1999"/>
                <a:gd name="T76" fmla="*/ 1023 w 2062"/>
                <a:gd name="T77" fmla="*/ 1828 h 1999"/>
                <a:gd name="T78" fmla="*/ 1545 w 2062"/>
                <a:gd name="T79" fmla="*/ 1524 h 1999"/>
                <a:gd name="T80" fmla="*/ 1588 w 2062"/>
                <a:gd name="T81" fmla="*/ 1131 h 1999"/>
                <a:gd name="T82" fmla="*/ 1587 w 2062"/>
                <a:gd name="T83" fmla="*/ 1067 h 1999"/>
                <a:gd name="T84" fmla="*/ 1643 w 2062"/>
                <a:gd name="T85" fmla="*/ 630 h 1999"/>
                <a:gd name="T86" fmla="*/ 1700 w 2062"/>
                <a:gd name="T87" fmla="*/ 193 h 1999"/>
                <a:gd name="T88" fmla="*/ 1860 w 2062"/>
                <a:gd name="T89" fmla="*/ 923 h 1999"/>
                <a:gd name="T90" fmla="*/ 1754 w 2062"/>
                <a:gd name="T91" fmla="*/ 1091 h 1999"/>
                <a:gd name="T92" fmla="*/ 1881 w 2062"/>
                <a:gd name="T93" fmla="*/ 898 h 1999"/>
                <a:gd name="T94" fmla="*/ 2011 w 2062"/>
                <a:gd name="T95" fmla="*/ 961 h 1999"/>
                <a:gd name="T96" fmla="*/ 1815 w 2062"/>
                <a:gd name="T97" fmla="*/ 1075 h 1999"/>
                <a:gd name="T98" fmla="*/ 1075 w 2062"/>
                <a:gd name="T99" fmla="*/ 943 h 1999"/>
                <a:gd name="T100" fmla="*/ 960 w 2062"/>
                <a:gd name="T101" fmla="*/ 764 h 1999"/>
                <a:gd name="T102" fmla="*/ 732 w 2062"/>
                <a:gd name="T103" fmla="*/ 530 h 1999"/>
                <a:gd name="T104" fmla="*/ 455 w 2062"/>
                <a:gd name="T105" fmla="*/ 319 h 1999"/>
                <a:gd name="T106" fmla="*/ 199 w 2062"/>
                <a:gd name="T107" fmla="*/ 194 h 1999"/>
                <a:gd name="T108" fmla="*/ 165 w 2062"/>
                <a:gd name="T109" fmla="*/ 189 h 1999"/>
                <a:gd name="T110" fmla="*/ 266 w 2062"/>
                <a:gd name="T111" fmla="*/ 352 h 1999"/>
                <a:gd name="T112" fmla="*/ 617 w 2062"/>
                <a:gd name="T113" fmla="*/ 711 h 1999"/>
                <a:gd name="T114" fmla="*/ 911 w 2062"/>
                <a:gd name="T115" fmla="*/ 888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2" h="1999">
                  <a:moveTo>
                    <a:pt x="1235" y="87"/>
                  </a:moveTo>
                  <a:lnTo>
                    <a:pt x="1243" y="86"/>
                  </a:lnTo>
                  <a:lnTo>
                    <a:pt x="1251" y="85"/>
                  </a:lnTo>
                  <a:lnTo>
                    <a:pt x="1260" y="86"/>
                  </a:lnTo>
                  <a:lnTo>
                    <a:pt x="1268" y="87"/>
                  </a:lnTo>
                  <a:lnTo>
                    <a:pt x="1275" y="89"/>
                  </a:lnTo>
                  <a:lnTo>
                    <a:pt x="1282" y="92"/>
                  </a:lnTo>
                  <a:lnTo>
                    <a:pt x="1290" y="95"/>
                  </a:lnTo>
                  <a:lnTo>
                    <a:pt x="1297" y="98"/>
                  </a:lnTo>
                  <a:lnTo>
                    <a:pt x="1303" y="103"/>
                  </a:lnTo>
                  <a:lnTo>
                    <a:pt x="1309" y="108"/>
                  </a:lnTo>
                  <a:lnTo>
                    <a:pt x="1314" y="115"/>
                  </a:lnTo>
                  <a:lnTo>
                    <a:pt x="1319" y="121"/>
                  </a:lnTo>
                  <a:lnTo>
                    <a:pt x="1325" y="127"/>
                  </a:lnTo>
                  <a:lnTo>
                    <a:pt x="1328" y="134"/>
                  </a:lnTo>
                  <a:lnTo>
                    <a:pt x="1332" y="142"/>
                  </a:lnTo>
                  <a:lnTo>
                    <a:pt x="1334" y="150"/>
                  </a:lnTo>
                  <a:lnTo>
                    <a:pt x="1235" y="87"/>
                  </a:lnTo>
                  <a:close/>
                  <a:moveTo>
                    <a:pt x="1235" y="87"/>
                  </a:moveTo>
                  <a:lnTo>
                    <a:pt x="1269" y="79"/>
                  </a:lnTo>
                  <a:lnTo>
                    <a:pt x="1303" y="72"/>
                  </a:lnTo>
                  <a:lnTo>
                    <a:pt x="1338" y="66"/>
                  </a:lnTo>
                  <a:lnTo>
                    <a:pt x="1373" y="61"/>
                  </a:lnTo>
                  <a:lnTo>
                    <a:pt x="1408" y="56"/>
                  </a:lnTo>
                  <a:lnTo>
                    <a:pt x="1444" y="52"/>
                  </a:lnTo>
                  <a:lnTo>
                    <a:pt x="1479" y="48"/>
                  </a:lnTo>
                  <a:lnTo>
                    <a:pt x="1515" y="43"/>
                  </a:lnTo>
                  <a:lnTo>
                    <a:pt x="1550" y="39"/>
                  </a:lnTo>
                  <a:lnTo>
                    <a:pt x="1584" y="35"/>
                  </a:lnTo>
                  <a:lnTo>
                    <a:pt x="1618" y="31"/>
                  </a:lnTo>
                  <a:lnTo>
                    <a:pt x="1652" y="27"/>
                  </a:lnTo>
                  <a:lnTo>
                    <a:pt x="1685" y="22"/>
                  </a:lnTo>
                  <a:lnTo>
                    <a:pt x="1718" y="17"/>
                  </a:lnTo>
                  <a:lnTo>
                    <a:pt x="1749" y="11"/>
                  </a:lnTo>
                  <a:lnTo>
                    <a:pt x="1780" y="3"/>
                  </a:lnTo>
                  <a:lnTo>
                    <a:pt x="1788" y="1"/>
                  </a:lnTo>
                  <a:lnTo>
                    <a:pt x="1796" y="0"/>
                  </a:lnTo>
                  <a:lnTo>
                    <a:pt x="1805" y="0"/>
                  </a:lnTo>
                  <a:lnTo>
                    <a:pt x="1813" y="1"/>
                  </a:lnTo>
                  <a:lnTo>
                    <a:pt x="1821" y="3"/>
                  </a:lnTo>
                  <a:lnTo>
                    <a:pt x="1829" y="5"/>
                  </a:lnTo>
                  <a:lnTo>
                    <a:pt x="1836" y="9"/>
                  </a:lnTo>
                  <a:lnTo>
                    <a:pt x="1844" y="13"/>
                  </a:lnTo>
                  <a:lnTo>
                    <a:pt x="1851" y="18"/>
                  </a:lnTo>
                  <a:lnTo>
                    <a:pt x="1857" y="23"/>
                  </a:lnTo>
                  <a:lnTo>
                    <a:pt x="1863" y="28"/>
                  </a:lnTo>
                  <a:lnTo>
                    <a:pt x="1868" y="35"/>
                  </a:lnTo>
                  <a:lnTo>
                    <a:pt x="1874" y="41"/>
                  </a:lnTo>
                  <a:lnTo>
                    <a:pt x="1877" y="49"/>
                  </a:lnTo>
                  <a:lnTo>
                    <a:pt x="1881" y="57"/>
                  </a:lnTo>
                  <a:lnTo>
                    <a:pt x="1883" y="65"/>
                  </a:lnTo>
                  <a:lnTo>
                    <a:pt x="1885" y="73"/>
                  </a:lnTo>
                  <a:lnTo>
                    <a:pt x="1885" y="82"/>
                  </a:lnTo>
                  <a:lnTo>
                    <a:pt x="1885" y="89"/>
                  </a:lnTo>
                  <a:lnTo>
                    <a:pt x="1885" y="96"/>
                  </a:lnTo>
                  <a:lnTo>
                    <a:pt x="1878" y="153"/>
                  </a:lnTo>
                  <a:lnTo>
                    <a:pt x="1870" y="210"/>
                  </a:lnTo>
                  <a:lnTo>
                    <a:pt x="1863" y="270"/>
                  </a:lnTo>
                  <a:lnTo>
                    <a:pt x="1855" y="332"/>
                  </a:lnTo>
                  <a:lnTo>
                    <a:pt x="1847" y="395"/>
                  </a:lnTo>
                  <a:lnTo>
                    <a:pt x="1838" y="459"/>
                  </a:lnTo>
                  <a:lnTo>
                    <a:pt x="1829" y="523"/>
                  </a:lnTo>
                  <a:lnTo>
                    <a:pt x="1821" y="588"/>
                  </a:lnTo>
                  <a:lnTo>
                    <a:pt x="1801" y="731"/>
                  </a:lnTo>
                  <a:lnTo>
                    <a:pt x="1819" y="713"/>
                  </a:lnTo>
                  <a:lnTo>
                    <a:pt x="1836" y="695"/>
                  </a:lnTo>
                  <a:lnTo>
                    <a:pt x="1854" y="676"/>
                  </a:lnTo>
                  <a:lnTo>
                    <a:pt x="1872" y="657"/>
                  </a:lnTo>
                  <a:lnTo>
                    <a:pt x="1892" y="638"/>
                  </a:lnTo>
                  <a:lnTo>
                    <a:pt x="1912" y="619"/>
                  </a:lnTo>
                  <a:lnTo>
                    <a:pt x="1931" y="598"/>
                  </a:lnTo>
                  <a:lnTo>
                    <a:pt x="1952" y="578"/>
                  </a:lnTo>
                  <a:lnTo>
                    <a:pt x="1959" y="571"/>
                  </a:lnTo>
                  <a:lnTo>
                    <a:pt x="1967" y="566"/>
                  </a:lnTo>
                  <a:lnTo>
                    <a:pt x="1991" y="549"/>
                  </a:lnTo>
                  <a:lnTo>
                    <a:pt x="2015" y="532"/>
                  </a:lnTo>
                  <a:lnTo>
                    <a:pt x="2038" y="516"/>
                  </a:lnTo>
                  <a:lnTo>
                    <a:pt x="2062" y="499"/>
                  </a:lnTo>
                  <a:lnTo>
                    <a:pt x="1235" y="87"/>
                  </a:lnTo>
                  <a:close/>
                  <a:moveTo>
                    <a:pt x="2062" y="1134"/>
                  </a:moveTo>
                  <a:lnTo>
                    <a:pt x="2031" y="1154"/>
                  </a:lnTo>
                  <a:lnTo>
                    <a:pt x="2001" y="1172"/>
                  </a:lnTo>
                  <a:lnTo>
                    <a:pt x="1972" y="1189"/>
                  </a:lnTo>
                  <a:lnTo>
                    <a:pt x="1945" y="1204"/>
                  </a:lnTo>
                  <a:lnTo>
                    <a:pt x="1917" y="1218"/>
                  </a:lnTo>
                  <a:lnTo>
                    <a:pt x="1890" y="1229"/>
                  </a:lnTo>
                  <a:lnTo>
                    <a:pt x="1863" y="1238"/>
                  </a:lnTo>
                  <a:lnTo>
                    <a:pt x="1837" y="1246"/>
                  </a:lnTo>
                  <a:lnTo>
                    <a:pt x="1813" y="1253"/>
                  </a:lnTo>
                  <a:lnTo>
                    <a:pt x="1788" y="1257"/>
                  </a:lnTo>
                  <a:lnTo>
                    <a:pt x="1765" y="1259"/>
                  </a:lnTo>
                  <a:lnTo>
                    <a:pt x="1743" y="1260"/>
                  </a:lnTo>
                  <a:lnTo>
                    <a:pt x="1739" y="1294"/>
                  </a:lnTo>
                  <a:lnTo>
                    <a:pt x="1734" y="1329"/>
                  </a:lnTo>
                  <a:lnTo>
                    <a:pt x="1730" y="1364"/>
                  </a:lnTo>
                  <a:lnTo>
                    <a:pt x="1727" y="1398"/>
                  </a:lnTo>
                  <a:lnTo>
                    <a:pt x="1724" y="1433"/>
                  </a:lnTo>
                  <a:lnTo>
                    <a:pt x="1721" y="1468"/>
                  </a:lnTo>
                  <a:lnTo>
                    <a:pt x="1719" y="1503"/>
                  </a:lnTo>
                  <a:lnTo>
                    <a:pt x="1716" y="1538"/>
                  </a:lnTo>
                  <a:lnTo>
                    <a:pt x="1712" y="1587"/>
                  </a:lnTo>
                  <a:lnTo>
                    <a:pt x="1708" y="1635"/>
                  </a:lnTo>
                  <a:lnTo>
                    <a:pt x="1703" y="1684"/>
                  </a:lnTo>
                  <a:lnTo>
                    <a:pt x="1698" y="1732"/>
                  </a:lnTo>
                  <a:lnTo>
                    <a:pt x="1693" y="1780"/>
                  </a:lnTo>
                  <a:lnTo>
                    <a:pt x="1687" y="1830"/>
                  </a:lnTo>
                  <a:lnTo>
                    <a:pt x="1680" y="1878"/>
                  </a:lnTo>
                  <a:lnTo>
                    <a:pt x="1673" y="1928"/>
                  </a:lnTo>
                  <a:lnTo>
                    <a:pt x="1671" y="1935"/>
                  </a:lnTo>
                  <a:lnTo>
                    <a:pt x="1669" y="1942"/>
                  </a:lnTo>
                  <a:lnTo>
                    <a:pt x="1665" y="1948"/>
                  </a:lnTo>
                  <a:lnTo>
                    <a:pt x="1662" y="1956"/>
                  </a:lnTo>
                  <a:lnTo>
                    <a:pt x="1659" y="1961"/>
                  </a:lnTo>
                  <a:lnTo>
                    <a:pt x="1655" y="1967"/>
                  </a:lnTo>
                  <a:lnTo>
                    <a:pt x="1650" y="1972"/>
                  </a:lnTo>
                  <a:lnTo>
                    <a:pt x="1646" y="1977"/>
                  </a:lnTo>
                  <a:lnTo>
                    <a:pt x="1640" y="1981"/>
                  </a:lnTo>
                  <a:lnTo>
                    <a:pt x="1635" y="1986"/>
                  </a:lnTo>
                  <a:lnTo>
                    <a:pt x="1628" y="1989"/>
                  </a:lnTo>
                  <a:lnTo>
                    <a:pt x="1622" y="1992"/>
                  </a:lnTo>
                  <a:lnTo>
                    <a:pt x="1616" y="1995"/>
                  </a:lnTo>
                  <a:lnTo>
                    <a:pt x="1609" y="1997"/>
                  </a:lnTo>
                  <a:lnTo>
                    <a:pt x="1603" y="1998"/>
                  </a:lnTo>
                  <a:lnTo>
                    <a:pt x="1595" y="1999"/>
                  </a:lnTo>
                  <a:lnTo>
                    <a:pt x="2062" y="1134"/>
                  </a:lnTo>
                  <a:close/>
                  <a:moveTo>
                    <a:pt x="899" y="1999"/>
                  </a:moveTo>
                  <a:lnTo>
                    <a:pt x="892" y="1998"/>
                  </a:lnTo>
                  <a:lnTo>
                    <a:pt x="884" y="1996"/>
                  </a:lnTo>
                  <a:lnTo>
                    <a:pt x="876" y="1993"/>
                  </a:lnTo>
                  <a:lnTo>
                    <a:pt x="870" y="1990"/>
                  </a:lnTo>
                  <a:lnTo>
                    <a:pt x="863" y="1986"/>
                  </a:lnTo>
                  <a:lnTo>
                    <a:pt x="857" y="1981"/>
                  </a:lnTo>
                  <a:lnTo>
                    <a:pt x="852" y="1976"/>
                  </a:lnTo>
                  <a:lnTo>
                    <a:pt x="846" y="1971"/>
                  </a:lnTo>
                  <a:lnTo>
                    <a:pt x="841" y="1965"/>
                  </a:lnTo>
                  <a:lnTo>
                    <a:pt x="837" y="1959"/>
                  </a:lnTo>
                  <a:lnTo>
                    <a:pt x="833" y="1953"/>
                  </a:lnTo>
                  <a:lnTo>
                    <a:pt x="830" y="1945"/>
                  </a:lnTo>
                  <a:lnTo>
                    <a:pt x="827" y="1938"/>
                  </a:lnTo>
                  <a:lnTo>
                    <a:pt x="826" y="1930"/>
                  </a:lnTo>
                  <a:lnTo>
                    <a:pt x="825" y="1922"/>
                  </a:lnTo>
                  <a:lnTo>
                    <a:pt x="824" y="1913"/>
                  </a:lnTo>
                  <a:lnTo>
                    <a:pt x="825" y="1906"/>
                  </a:lnTo>
                  <a:lnTo>
                    <a:pt x="826" y="1898"/>
                  </a:lnTo>
                  <a:lnTo>
                    <a:pt x="827" y="1891"/>
                  </a:lnTo>
                  <a:lnTo>
                    <a:pt x="830" y="1884"/>
                  </a:lnTo>
                  <a:lnTo>
                    <a:pt x="844" y="1835"/>
                  </a:lnTo>
                  <a:lnTo>
                    <a:pt x="857" y="1787"/>
                  </a:lnTo>
                  <a:lnTo>
                    <a:pt x="870" y="1738"/>
                  </a:lnTo>
                  <a:lnTo>
                    <a:pt x="885" y="1690"/>
                  </a:lnTo>
                  <a:lnTo>
                    <a:pt x="898" y="1641"/>
                  </a:lnTo>
                  <a:lnTo>
                    <a:pt x="911" y="1592"/>
                  </a:lnTo>
                  <a:lnTo>
                    <a:pt x="924" y="1543"/>
                  </a:lnTo>
                  <a:lnTo>
                    <a:pt x="936" y="1495"/>
                  </a:lnTo>
                  <a:lnTo>
                    <a:pt x="949" y="1446"/>
                  </a:lnTo>
                  <a:lnTo>
                    <a:pt x="961" y="1398"/>
                  </a:lnTo>
                  <a:lnTo>
                    <a:pt x="972" y="1350"/>
                  </a:lnTo>
                  <a:lnTo>
                    <a:pt x="984" y="1301"/>
                  </a:lnTo>
                  <a:lnTo>
                    <a:pt x="994" y="1253"/>
                  </a:lnTo>
                  <a:lnTo>
                    <a:pt x="1003" y="1205"/>
                  </a:lnTo>
                  <a:lnTo>
                    <a:pt x="1012" y="1157"/>
                  </a:lnTo>
                  <a:lnTo>
                    <a:pt x="1022" y="1108"/>
                  </a:lnTo>
                  <a:lnTo>
                    <a:pt x="1013" y="1107"/>
                  </a:lnTo>
                  <a:lnTo>
                    <a:pt x="1005" y="1105"/>
                  </a:lnTo>
                  <a:lnTo>
                    <a:pt x="998" y="1103"/>
                  </a:lnTo>
                  <a:lnTo>
                    <a:pt x="990" y="1101"/>
                  </a:lnTo>
                  <a:lnTo>
                    <a:pt x="964" y="1093"/>
                  </a:lnTo>
                  <a:lnTo>
                    <a:pt x="936" y="1084"/>
                  </a:lnTo>
                  <a:lnTo>
                    <a:pt x="908" y="1072"/>
                  </a:lnTo>
                  <a:lnTo>
                    <a:pt x="879" y="1060"/>
                  </a:lnTo>
                  <a:lnTo>
                    <a:pt x="847" y="1045"/>
                  </a:lnTo>
                  <a:lnTo>
                    <a:pt x="815" y="1029"/>
                  </a:lnTo>
                  <a:lnTo>
                    <a:pt x="781" y="1011"/>
                  </a:lnTo>
                  <a:lnTo>
                    <a:pt x="746" y="993"/>
                  </a:lnTo>
                  <a:lnTo>
                    <a:pt x="710" y="972"/>
                  </a:lnTo>
                  <a:lnTo>
                    <a:pt x="674" y="951"/>
                  </a:lnTo>
                  <a:lnTo>
                    <a:pt x="635" y="928"/>
                  </a:lnTo>
                  <a:lnTo>
                    <a:pt x="597" y="903"/>
                  </a:lnTo>
                  <a:lnTo>
                    <a:pt x="558" y="877"/>
                  </a:lnTo>
                  <a:lnTo>
                    <a:pt x="518" y="851"/>
                  </a:lnTo>
                  <a:lnTo>
                    <a:pt x="478" y="823"/>
                  </a:lnTo>
                  <a:lnTo>
                    <a:pt x="437" y="794"/>
                  </a:lnTo>
                  <a:lnTo>
                    <a:pt x="430" y="789"/>
                  </a:lnTo>
                  <a:lnTo>
                    <a:pt x="425" y="785"/>
                  </a:lnTo>
                  <a:lnTo>
                    <a:pt x="377" y="736"/>
                  </a:lnTo>
                  <a:lnTo>
                    <a:pt x="331" y="688"/>
                  </a:lnTo>
                  <a:lnTo>
                    <a:pt x="285" y="639"/>
                  </a:lnTo>
                  <a:lnTo>
                    <a:pt x="243" y="592"/>
                  </a:lnTo>
                  <a:lnTo>
                    <a:pt x="202" y="544"/>
                  </a:lnTo>
                  <a:lnTo>
                    <a:pt x="165" y="499"/>
                  </a:lnTo>
                  <a:lnTo>
                    <a:pt x="146" y="476"/>
                  </a:lnTo>
                  <a:lnTo>
                    <a:pt x="130" y="455"/>
                  </a:lnTo>
                  <a:lnTo>
                    <a:pt x="113" y="433"/>
                  </a:lnTo>
                  <a:lnTo>
                    <a:pt x="99" y="412"/>
                  </a:lnTo>
                  <a:lnTo>
                    <a:pt x="81" y="387"/>
                  </a:lnTo>
                  <a:lnTo>
                    <a:pt x="66" y="362"/>
                  </a:lnTo>
                  <a:lnTo>
                    <a:pt x="51" y="337"/>
                  </a:lnTo>
                  <a:lnTo>
                    <a:pt x="39" y="314"/>
                  </a:lnTo>
                  <a:lnTo>
                    <a:pt x="28" y="290"/>
                  </a:lnTo>
                  <a:lnTo>
                    <a:pt x="18" y="267"/>
                  </a:lnTo>
                  <a:lnTo>
                    <a:pt x="11" y="246"/>
                  </a:lnTo>
                  <a:lnTo>
                    <a:pt x="6" y="224"/>
                  </a:lnTo>
                  <a:lnTo>
                    <a:pt x="2" y="203"/>
                  </a:lnTo>
                  <a:lnTo>
                    <a:pt x="1" y="183"/>
                  </a:lnTo>
                  <a:lnTo>
                    <a:pt x="0" y="173"/>
                  </a:lnTo>
                  <a:lnTo>
                    <a:pt x="1" y="164"/>
                  </a:lnTo>
                  <a:lnTo>
                    <a:pt x="2" y="155"/>
                  </a:lnTo>
                  <a:lnTo>
                    <a:pt x="3" y="145"/>
                  </a:lnTo>
                  <a:lnTo>
                    <a:pt x="5" y="136"/>
                  </a:lnTo>
                  <a:lnTo>
                    <a:pt x="8" y="127"/>
                  </a:lnTo>
                  <a:lnTo>
                    <a:pt x="10" y="119"/>
                  </a:lnTo>
                  <a:lnTo>
                    <a:pt x="14" y="110"/>
                  </a:lnTo>
                  <a:lnTo>
                    <a:pt x="18" y="102"/>
                  </a:lnTo>
                  <a:lnTo>
                    <a:pt x="24" y="94"/>
                  </a:lnTo>
                  <a:lnTo>
                    <a:pt x="29" y="87"/>
                  </a:lnTo>
                  <a:lnTo>
                    <a:pt x="35" y="79"/>
                  </a:lnTo>
                  <a:lnTo>
                    <a:pt x="39" y="71"/>
                  </a:lnTo>
                  <a:lnTo>
                    <a:pt x="45" y="65"/>
                  </a:lnTo>
                  <a:lnTo>
                    <a:pt x="50" y="59"/>
                  </a:lnTo>
                  <a:lnTo>
                    <a:pt x="58" y="53"/>
                  </a:lnTo>
                  <a:lnTo>
                    <a:pt x="65" y="47"/>
                  </a:lnTo>
                  <a:lnTo>
                    <a:pt x="73" y="40"/>
                  </a:lnTo>
                  <a:lnTo>
                    <a:pt x="81" y="35"/>
                  </a:lnTo>
                  <a:lnTo>
                    <a:pt x="91" y="31"/>
                  </a:lnTo>
                  <a:lnTo>
                    <a:pt x="100" y="27"/>
                  </a:lnTo>
                  <a:lnTo>
                    <a:pt x="110" y="24"/>
                  </a:lnTo>
                  <a:lnTo>
                    <a:pt x="120" y="21"/>
                  </a:lnTo>
                  <a:lnTo>
                    <a:pt x="131" y="20"/>
                  </a:lnTo>
                  <a:lnTo>
                    <a:pt x="142" y="18"/>
                  </a:lnTo>
                  <a:lnTo>
                    <a:pt x="153" y="18"/>
                  </a:lnTo>
                  <a:lnTo>
                    <a:pt x="166" y="17"/>
                  </a:lnTo>
                  <a:lnTo>
                    <a:pt x="190" y="19"/>
                  </a:lnTo>
                  <a:lnTo>
                    <a:pt x="216" y="22"/>
                  </a:lnTo>
                  <a:lnTo>
                    <a:pt x="236" y="27"/>
                  </a:lnTo>
                  <a:lnTo>
                    <a:pt x="257" y="32"/>
                  </a:lnTo>
                  <a:lnTo>
                    <a:pt x="279" y="39"/>
                  </a:lnTo>
                  <a:lnTo>
                    <a:pt x="302" y="47"/>
                  </a:lnTo>
                  <a:lnTo>
                    <a:pt x="325" y="56"/>
                  </a:lnTo>
                  <a:lnTo>
                    <a:pt x="349" y="66"/>
                  </a:lnTo>
                  <a:lnTo>
                    <a:pt x="375" y="78"/>
                  </a:lnTo>
                  <a:lnTo>
                    <a:pt x="401" y="90"/>
                  </a:lnTo>
                  <a:lnTo>
                    <a:pt x="407" y="94"/>
                  </a:lnTo>
                  <a:lnTo>
                    <a:pt x="451" y="118"/>
                  </a:lnTo>
                  <a:lnTo>
                    <a:pt x="497" y="143"/>
                  </a:lnTo>
                  <a:lnTo>
                    <a:pt x="545" y="173"/>
                  </a:lnTo>
                  <a:lnTo>
                    <a:pt x="593" y="205"/>
                  </a:lnTo>
                  <a:lnTo>
                    <a:pt x="643" y="240"/>
                  </a:lnTo>
                  <a:lnTo>
                    <a:pt x="694" y="279"/>
                  </a:lnTo>
                  <a:lnTo>
                    <a:pt x="745" y="319"/>
                  </a:lnTo>
                  <a:lnTo>
                    <a:pt x="796" y="361"/>
                  </a:lnTo>
                  <a:lnTo>
                    <a:pt x="818" y="380"/>
                  </a:lnTo>
                  <a:lnTo>
                    <a:pt x="840" y="398"/>
                  </a:lnTo>
                  <a:lnTo>
                    <a:pt x="863" y="418"/>
                  </a:lnTo>
                  <a:lnTo>
                    <a:pt x="886" y="438"/>
                  </a:lnTo>
                  <a:lnTo>
                    <a:pt x="908" y="459"/>
                  </a:lnTo>
                  <a:lnTo>
                    <a:pt x="930" y="480"/>
                  </a:lnTo>
                  <a:lnTo>
                    <a:pt x="950" y="499"/>
                  </a:lnTo>
                  <a:lnTo>
                    <a:pt x="969" y="518"/>
                  </a:lnTo>
                  <a:lnTo>
                    <a:pt x="990" y="539"/>
                  </a:lnTo>
                  <a:lnTo>
                    <a:pt x="1010" y="561"/>
                  </a:lnTo>
                  <a:lnTo>
                    <a:pt x="1029" y="583"/>
                  </a:lnTo>
                  <a:lnTo>
                    <a:pt x="1048" y="603"/>
                  </a:lnTo>
                  <a:lnTo>
                    <a:pt x="1066" y="625"/>
                  </a:lnTo>
                  <a:lnTo>
                    <a:pt x="1085" y="647"/>
                  </a:lnTo>
                  <a:lnTo>
                    <a:pt x="1101" y="667"/>
                  </a:lnTo>
                  <a:lnTo>
                    <a:pt x="1117" y="688"/>
                  </a:lnTo>
                  <a:lnTo>
                    <a:pt x="1127" y="624"/>
                  </a:lnTo>
                  <a:lnTo>
                    <a:pt x="1135" y="559"/>
                  </a:lnTo>
                  <a:lnTo>
                    <a:pt x="1143" y="494"/>
                  </a:lnTo>
                  <a:lnTo>
                    <a:pt x="1150" y="429"/>
                  </a:lnTo>
                  <a:lnTo>
                    <a:pt x="1156" y="365"/>
                  </a:lnTo>
                  <a:lnTo>
                    <a:pt x="1160" y="300"/>
                  </a:lnTo>
                  <a:lnTo>
                    <a:pt x="1163" y="236"/>
                  </a:lnTo>
                  <a:lnTo>
                    <a:pt x="1164" y="171"/>
                  </a:lnTo>
                  <a:lnTo>
                    <a:pt x="1164" y="163"/>
                  </a:lnTo>
                  <a:lnTo>
                    <a:pt x="1165" y="156"/>
                  </a:lnTo>
                  <a:lnTo>
                    <a:pt x="1167" y="149"/>
                  </a:lnTo>
                  <a:lnTo>
                    <a:pt x="1169" y="141"/>
                  </a:lnTo>
                  <a:lnTo>
                    <a:pt x="1172" y="134"/>
                  </a:lnTo>
                  <a:lnTo>
                    <a:pt x="1175" y="128"/>
                  </a:lnTo>
                  <a:lnTo>
                    <a:pt x="1179" y="122"/>
                  </a:lnTo>
                  <a:lnTo>
                    <a:pt x="1184" y="116"/>
                  </a:lnTo>
                  <a:lnTo>
                    <a:pt x="1189" y="110"/>
                  </a:lnTo>
                  <a:lnTo>
                    <a:pt x="1195" y="105"/>
                  </a:lnTo>
                  <a:lnTo>
                    <a:pt x="1200" y="100"/>
                  </a:lnTo>
                  <a:lnTo>
                    <a:pt x="1207" y="97"/>
                  </a:lnTo>
                  <a:lnTo>
                    <a:pt x="1213" y="93"/>
                  </a:lnTo>
                  <a:lnTo>
                    <a:pt x="1220" y="90"/>
                  </a:lnTo>
                  <a:lnTo>
                    <a:pt x="1228" y="88"/>
                  </a:lnTo>
                  <a:lnTo>
                    <a:pt x="1235" y="87"/>
                  </a:lnTo>
                  <a:lnTo>
                    <a:pt x="1242" y="86"/>
                  </a:lnTo>
                  <a:lnTo>
                    <a:pt x="1249" y="86"/>
                  </a:lnTo>
                  <a:lnTo>
                    <a:pt x="899" y="1999"/>
                  </a:lnTo>
                  <a:close/>
                  <a:moveTo>
                    <a:pt x="1535" y="214"/>
                  </a:moveTo>
                  <a:lnTo>
                    <a:pt x="1509" y="217"/>
                  </a:lnTo>
                  <a:lnTo>
                    <a:pt x="1483" y="220"/>
                  </a:lnTo>
                  <a:lnTo>
                    <a:pt x="1457" y="223"/>
                  </a:lnTo>
                  <a:lnTo>
                    <a:pt x="1432" y="226"/>
                  </a:lnTo>
                  <a:lnTo>
                    <a:pt x="1407" y="229"/>
                  </a:lnTo>
                  <a:lnTo>
                    <a:pt x="1382" y="232"/>
                  </a:lnTo>
                  <a:lnTo>
                    <a:pt x="1357" y="236"/>
                  </a:lnTo>
                  <a:lnTo>
                    <a:pt x="1334" y="240"/>
                  </a:lnTo>
                  <a:lnTo>
                    <a:pt x="1332" y="285"/>
                  </a:lnTo>
                  <a:lnTo>
                    <a:pt x="1330" y="329"/>
                  </a:lnTo>
                  <a:lnTo>
                    <a:pt x="1327" y="373"/>
                  </a:lnTo>
                  <a:lnTo>
                    <a:pt x="1322" y="418"/>
                  </a:lnTo>
                  <a:lnTo>
                    <a:pt x="1318" y="462"/>
                  </a:lnTo>
                  <a:lnTo>
                    <a:pt x="1314" y="506"/>
                  </a:lnTo>
                  <a:lnTo>
                    <a:pt x="1309" y="551"/>
                  </a:lnTo>
                  <a:lnTo>
                    <a:pt x="1303" y="595"/>
                  </a:lnTo>
                  <a:lnTo>
                    <a:pt x="1298" y="639"/>
                  </a:lnTo>
                  <a:lnTo>
                    <a:pt x="1291" y="684"/>
                  </a:lnTo>
                  <a:lnTo>
                    <a:pt x="1284" y="727"/>
                  </a:lnTo>
                  <a:lnTo>
                    <a:pt x="1277" y="771"/>
                  </a:lnTo>
                  <a:lnTo>
                    <a:pt x="1271" y="816"/>
                  </a:lnTo>
                  <a:lnTo>
                    <a:pt x="1264" y="860"/>
                  </a:lnTo>
                  <a:lnTo>
                    <a:pt x="1257" y="904"/>
                  </a:lnTo>
                  <a:lnTo>
                    <a:pt x="1249" y="948"/>
                  </a:lnTo>
                  <a:lnTo>
                    <a:pt x="1248" y="951"/>
                  </a:lnTo>
                  <a:lnTo>
                    <a:pt x="1246" y="960"/>
                  </a:lnTo>
                  <a:lnTo>
                    <a:pt x="1243" y="968"/>
                  </a:lnTo>
                  <a:lnTo>
                    <a:pt x="1239" y="977"/>
                  </a:lnTo>
                  <a:lnTo>
                    <a:pt x="1234" y="985"/>
                  </a:lnTo>
                  <a:lnTo>
                    <a:pt x="1229" y="993"/>
                  </a:lnTo>
                  <a:lnTo>
                    <a:pt x="1222" y="999"/>
                  </a:lnTo>
                  <a:lnTo>
                    <a:pt x="1214" y="1005"/>
                  </a:lnTo>
                  <a:lnTo>
                    <a:pt x="1207" y="1010"/>
                  </a:lnTo>
                  <a:lnTo>
                    <a:pt x="1207" y="1022"/>
                  </a:lnTo>
                  <a:lnTo>
                    <a:pt x="1206" y="1033"/>
                  </a:lnTo>
                  <a:lnTo>
                    <a:pt x="1199" y="1084"/>
                  </a:lnTo>
                  <a:lnTo>
                    <a:pt x="1191" y="1133"/>
                  </a:lnTo>
                  <a:lnTo>
                    <a:pt x="1181" y="1184"/>
                  </a:lnTo>
                  <a:lnTo>
                    <a:pt x="1172" y="1233"/>
                  </a:lnTo>
                  <a:lnTo>
                    <a:pt x="1162" y="1283"/>
                  </a:lnTo>
                  <a:lnTo>
                    <a:pt x="1151" y="1332"/>
                  </a:lnTo>
                  <a:lnTo>
                    <a:pt x="1140" y="1383"/>
                  </a:lnTo>
                  <a:lnTo>
                    <a:pt x="1129" y="1432"/>
                  </a:lnTo>
                  <a:lnTo>
                    <a:pt x="1116" y="1482"/>
                  </a:lnTo>
                  <a:lnTo>
                    <a:pt x="1104" y="1531"/>
                  </a:lnTo>
                  <a:lnTo>
                    <a:pt x="1091" y="1580"/>
                  </a:lnTo>
                  <a:lnTo>
                    <a:pt x="1077" y="1630"/>
                  </a:lnTo>
                  <a:lnTo>
                    <a:pt x="1064" y="1679"/>
                  </a:lnTo>
                  <a:lnTo>
                    <a:pt x="1051" y="1729"/>
                  </a:lnTo>
                  <a:lnTo>
                    <a:pt x="1037" y="1778"/>
                  </a:lnTo>
                  <a:lnTo>
                    <a:pt x="1023" y="1828"/>
                  </a:lnTo>
                  <a:lnTo>
                    <a:pt x="1514" y="1828"/>
                  </a:lnTo>
                  <a:lnTo>
                    <a:pt x="1519" y="1791"/>
                  </a:lnTo>
                  <a:lnTo>
                    <a:pt x="1523" y="1753"/>
                  </a:lnTo>
                  <a:lnTo>
                    <a:pt x="1527" y="1714"/>
                  </a:lnTo>
                  <a:lnTo>
                    <a:pt x="1532" y="1676"/>
                  </a:lnTo>
                  <a:lnTo>
                    <a:pt x="1536" y="1639"/>
                  </a:lnTo>
                  <a:lnTo>
                    <a:pt x="1539" y="1600"/>
                  </a:lnTo>
                  <a:lnTo>
                    <a:pt x="1542" y="1562"/>
                  </a:lnTo>
                  <a:lnTo>
                    <a:pt x="1545" y="1524"/>
                  </a:lnTo>
                  <a:lnTo>
                    <a:pt x="1549" y="1476"/>
                  </a:lnTo>
                  <a:lnTo>
                    <a:pt x="1553" y="1429"/>
                  </a:lnTo>
                  <a:lnTo>
                    <a:pt x="1557" y="1382"/>
                  </a:lnTo>
                  <a:lnTo>
                    <a:pt x="1562" y="1333"/>
                  </a:lnTo>
                  <a:lnTo>
                    <a:pt x="1568" y="1286"/>
                  </a:lnTo>
                  <a:lnTo>
                    <a:pt x="1574" y="1237"/>
                  </a:lnTo>
                  <a:lnTo>
                    <a:pt x="1580" y="1189"/>
                  </a:lnTo>
                  <a:lnTo>
                    <a:pt x="1587" y="1140"/>
                  </a:lnTo>
                  <a:lnTo>
                    <a:pt x="1588" y="1131"/>
                  </a:lnTo>
                  <a:lnTo>
                    <a:pt x="1591" y="1123"/>
                  </a:lnTo>
                  <a:lnTo>
                    <a:pt x="1594" y="1115"/>
                  </a:lnTo>
                  <a:lnTo>
                    <a:pt x="1599" y="1106"/>
                  </a:lnTo>
                  <a:lnTo>
                    <a:pt x="1595" y="1100"/>
                  </a:lnTo>
                  <a:lnTo>
                    <a:pt x="1592" y="1094"/>
                  </a:lnTo>
                  <a:lnTo>
                    <a:pt x="1590" y="1088"/>
                  </a:lnTo>
                  <a:lnTo>
                    <a:pt x="1589" y="1081"/>
                  </a:lnTo>
                  <a:lnTo>
                    <a:pt x="1588" y="1074"/>
                  </a:lnTo>
                  <a:lnTo>
                    <a:pt x="1587" y="1067"/>
                  </a:lnTo>
                  <a:lnTo>
                    <a:pt x="1587" y="1061"/>
                  </a:lnTo>
                  <a:lnTo>
                    <a:pt x="1588" y="1054"/>
                  </a:lnTo>
                  <a:lnTo>
                    <a:pt x="1594" y="998"/>
                  </a:lnTo>
                  <a:lnTo>
                    <a:pt x="1603" y="940"/>
                  </a:lnTo>
                  <a:lnTo>
                    <a:pt x="1610" y="881"/>
                  </a:lnTo>
                  <a:lnTo>
                    <a:pt x="1618" y="820"/>
                  </a:lnTo>
                  <a:lnTo>
                    <a:pt x="1626" y="757"/>
                  </a:lnTo>
                  <a:lnTo>
                    <a:pt x="1635" y="694"/>
                  </a:lnTo>
                  <a:lnTo>
                    <a:pt x="1643" y="630"/>
                  </a:lnTo>
                  <a:lnTo>
                    <a:pt x="1652" y="566"/>
                  </a:lnTo>
                  <a:lnTo>
                    <a:pt x="1657" y="522"/>
                  </a:lnTo>
                  <a:lnTo>
                    <a:pt x="1663" y="479"/>
                  </a:lnTo>
                  <a:lnTo>
                    <a:pt x="1669" y="434"/>
                  </a:lnTo>
                  <a:lnTo>
                    <a:pt x="1675" y="389"/>
                  </a:lnTo>
                  <a:lnTo>
                    <a:pt x="1681" y="342"/>
                  </a:lnTo>
                  <a:lnTo>
                    <a:pt x="1687" y="294"/>
                  </a:lnTo>
                  <a:lnTo>
                    <a:pt x="1693" y="245"/>
                  </a:lnTo>
                  <a:lnTo>
                    <a:pt x="1700" y="193"/>
                  </a:lnTo>
                  <a:lnTo>
                    <a:pt x="1680" y="196"/>
                  </a:lnTo>
                  <a:lnTo>
                    <a:pt x="1659" y="199"/>
                  </a:lnTo>
                  <a:lnTo>
                    <a:pt x="1639" y="201"/>
                  </a:lnTo>
                  <a:lnTo>
                    <a:pt x="1618" y="204"/>
                  </a:lnTo>
                  <a:lnTo>
                    <a:pt x="1596" y="206"/>
                  </a:lnTo>
                  <a:lnTo>
                    <a:pt x="1576" y="209"/>
                  </a:lnTo>
                  <a:lnTo>
                    <a:pt x="1555" y="212"/>
                  </a:lnTo>
                  <a:lnTo>
                    <a:pt x="1535" y="214"/>
                  </a:lnTo>
                  <a:close/>
                  <a:moveTo>
                    <a:pt x="1860" y="923"/>
                  </a:moveTo>
                  <a:lnTo>
                    <a:pt x="1842" y="944"/>
                  </a:lnTo>
                  <a:lnTo>
                    <a:pt x="1825" y="966"/>
                  </a:lnTo>
                  <a:lnTo>
                    <a:pt x="1810" y="988"/>
                  </a:lnTo>
                  <a:lnTo>
                    <a:pt x="1795" y="1007"/>
                  </a:lnTo>
                  <a:lnTo>
                    <a:pt x="1783" y="1028"/>
                  </a:lnTo>
                  <a:lnTo>
                    <a:pt x="1772" y="1048"/>
                  </a:lnTo>
                  <a:lnTo>
                    <a:pt x="1762" y="1067"/>
                  </a:lnTo>
                  <a:lnTo>
                    <a:pt x="1755" y="1087"/>
                  </a:lnTo>
                  <a:lnTo>
                    <a:pt x="1754" y="1091"/>
                  </a:lnTo>
                  <a:lnTo>
                    <a:pt x="1860" y="923"/>
                  </a:lnTo>
                  <a:close/>
                  <a:moveTo>
                    <a:pt x="2062" y="709"/>
                  </a:moveTo>
                  <a:lnTo>
                    <a:pt x="2033" y="738"/>
                  </a:lnTo>
                  <a:lnTo>
                    <a:pt x="2004" y="767"/>
                  </a:lnTo>
                  <a:lnTo>
                    <a:pt x="1978" y="795"/>
                  </a:lnTo>
                  <a:lnTo>
                    <a:pt x="1952" y="822"/>
                  </a:lnTo>
                  <a:lnTo>
                    <a:pt x="1927" y="848"/>
                  </a:lnTo>
                  <a:lnTo>
                    <a:pt x="1903" y="873"/>
                  </a:lnTo>
                  <a:lnTo>
                    <a:pt x="1881" y="898"/>
                  </a:lnTo>
                  <a:lnTo>
                    <a:pt x="1860" y="923"/>
                  </a:lnTo>
                  <a:lnTo>
                    <a:pt x="2062" y="709"/>
                  </a:lnTo>
                  <a:close/>
                  <a:moveTo>
                    <a:pt x="1868" y="1052"/>
                  </a:moveTo>
                  <a:lnTo>
                    <a:pt x="1890" y="1039"/>
                  </a:lnTo>
                  <a:lnTo>
                    <a:pt x="1913" y="1027"/>
                  </a:lnTo>
                  <a:lnTo>
                    <a:pt x="1936" y="1012"/>
                  </a:lnTo>
                  <a:lnTo>
                    <a:pt x="1961" y="996"/>
                  </a:lnTo>
                  <a:lnTo>
                    <a:pt x="1985" y="979"/>
                  </a:lnTo>
                  <a:lnTo>
                    <a:pt x="2011" y="961"/>
                  </a:lnTo>
                  <a:lnTo>
                    <a:pt x="2036" y="941"/>
                  </a:lnTo>
                  <a:lnTo>
                    <a:pt x="2062" y="921"/>
                  </a:lnTo>
                  <a:lnTo>
                    <a:pt x="1868" y="1052"/>
                  </a:lnTo>
                  <a:close/>
                  <a:moveTo>
                    <a:pt x="1753" y="1093"/>
                  </a:moveTo>
                  <a:lnTo>
                    <a:pt x="1762" y="1092"/>
                  </a:lnTo>
                  <a:lnTo>
                    <a:pt x="1774" y="1090"/>
                  </a:lnTo>
                  <a:lnTo>
                    <a:pt x="1786" y="1086"/>
                  </a:lnTo>
                  <a:lnTo>
                    <a:pt x="1800" y="1082"/>
                  </a:lnTo>
                  <a:lnTo>
                    <a:pt x="1815" y="1075"/>
                  </a:lnTo>
                  <a:lnTo>
                    <a:pt x="1831" y="1068"/>
                  </a:lnTo>
                  <a:lnTo>
                    <a:pt x="1849" y="1061"/>
                  </a:lnTo>
                  <a:lnTo>
                    <a:pt x="1868" y="1052"/>
                  </a:lnTo>
                  <a:lnTo>
                    <a:pt x="1753" y="1093"/>
                  </a:lnTo>
                  <a:close/>
                  <a:moveTo>
                    <a:pt x="1034" y="936"/>
                  </a:moveTo>
                  <a:lnTo>
                    <a:pt x="1045" y="939"/>
                  </a:lnTo>
                  <a:lnTo>
                    <a:pt x="1057" y="941"/>
                  </a:lnTo>
                  <a:lnTo>
                    <a:pt x="1066" y="942"/>
                  </a:lnTo>
                  <a:lnTo>
                    <a:pt x="1075" y="943"/>
                  </a:lnTo>
                  <a:lnTo>
                    <a:pt x="1069" y="929"/>
                  </a:lnTo>
                  <a:lnTo>
                    <a:pt x="1061" y="912"/>
                  </a:lnTo>
                  <a:lnTo>
                    <a:pt x="1052" y="896"/>
                  </a:lnTo>
                  <a:lnTo>
                    <a:pt x="1041" y="878"/>
                  </a:lnTo>
                  <a:lnTo>
                    <a:pt x="1030" y="861"/>
                  </a:lnTo>
                  <a:lnTo>
                    <a:pt x="1019" y="842"/>
                  </a:lnTo>
                  <a:lnTo>
                    <a:pt x="1005" y="823"/>
                  </a:lnTo>
                  <a:lnTo>
                    <a:pt x="991" y="803"/>
                  </a:lnTo>
                  <a:lnTo>
                    <a:pt x="960" y="764"/>
                  </a:lnTo>
                  <a:lnTo>
                    <a:pt x="926" y="723"/>
                  </a:lnTo>
                  <a:lnTo>
                    <a:pt x="888" y="681"/>
                  </a:lnTo>
                  <a:lnTo>
                    <a:pt x="848" y="638"/>
                  </a:lnTo>
                  <a:lnTo>
                    <a:pt x="828" y="619"/>
                  </a:lnTo>
                  <a:lnTo>
                    <a:pt x="810" y="600"/>
                  </a:lnTo>
                  <a:lnTo>
                    <a:pt x="790" y="583"/>
                  </a:lnTo>
                  <a:lnTo>
                    <a:pt x="771" y="565"/>
                  </a:lnTo>
                  <a:lnTo>
                    <a:pt x="752" y="548"/>
                  </a:lnTo>
                  <a:lnTo>
                    <a:pt x="732" y="530"/>
                  </a:lnTo>
                  <a:lnTo>
                    <a:pt x="711" y="513"/>
                  </a:lnTo>
                  <a:lnTo>
                    <a:pt x="689" y="495"/>
                  </a:lnTo>
                  <a:lnTo>
                    <a:pt x="685" y="491"/>
                  </a:lnTo>
                  <a:lnTo>
                    <a:pt x="638" y="452"/>
                  </a:lnTo>
                  <a:lnTo>
                    <a:pt x="591" y="415"/>
                  </a:lnTo>
                  <a:lnTo>
                    <a:pt x="545" y="381"/>
                  </a:lnTo>
                  <a:lnTo>
                    <a:pt x="499" y="348"/>
                  </a:lnTo>
                  <a:lnTo>
                    <a:pt x="455" y="319"/>
                  </a:lnTo>
                  <a:lnTo>
                    <a:pt x="412" y="292"/>
                  </a:lnTo>
                  <a:lnTo>
                    <a:pt x="370" y="268"/>
                  </a:lnTo>
                  <a:lnTo>
                    <a:pt x="331" y="247"/>
                  </a:lnTo>
                  <a:lnTo>
                    <a:pt x="324" y="243"/>
                  </a:lnTo>
                  <a:lnTo>
                    <a:pt x="283" y="225"/>
                  </a:lnTo>
                  <a:lnTo>
                    <a:pt x="246" y="209"/>
                  </a:lnTo>
                  <a:lnTo>
                    <a:pt x="230" y="203"/>
                  </a:lnTo>
                  <a:lnTo>
                    <a:pt x="213" y="198"/>
                  </a:lnTo>
                  <a:lnTo>
                    <a:pt x="199" y="194"/>
                  </a:lnTo>
                  <a:lnTo>
                    <a:pt x="185" y="191"/>
                  </a:lnTo>
                  <a:lnTo>
                    <a:pt x="181" y="190"/>
                  </a:lnTo>
                  <a:lnTo>
                    <a:pt x="179" y="187"/>
                  </a:lnTo>
                  <a:lnTo>
                    <a:pt x="178" y="185"/>
                  </a:lnTo>
                  <a:lnTo>
                    <a:pt x="178" y="182"/>
                  </a:lnTo>
                  <a:lnTo>
                    <a:pt x="177" y="176"/>
                  </a:lnTo>
                  <a:lnTo>
                    <a:pt x="177" y="174"/>
                  </a:lnTo>
                  <a:lnTo>
                    <a:pt x="171" y="182"/>
                  </a:lnTo>
                  <a:lnTo>
                    <a:pt x="165" y="189"/>
                  </a:lnTo>
                  <a:lnTo>
                    <a:pt x="165" y="191"/>
                  </a:lnTo>
                  <a:lnTo>
                    <a:pt x="165" y="193"/>
                  </a:lnTo>
                  <a:lnTo>
                    <a:pt x="166" y="197"/>
                  </a:lnTo>
                  <a:lnTo>
                    <a:pt x="167" y="201"/>
                  </a:lnTo>
                  <a:lnTo>
                    <a:pt x="173" y="213"/>
                  </a:lnTo>
                  <a:lnTo>
                    <a:pt x="181" y="227"/>
                  </a:lnTo>
                  <a:lnTo>
                    <a:pt x="205" y="265"/>
                  </a:lnTo>
                  <a:lnTo>
                    <a:pt x="238" y="314"/>
                  </a:lnTo>
                  <a:lnTo>
                    <a:pt x="266" y="352"/>
                  </a:lnTo>
                  <a:lnTo>
                    <a:pt x="298" y="392"/>
                  </a:lnTo>
                  <a:lnTo>
                    <a:pt x="333" y="434"/>
                  </a:lnTo>
                  <a:lnTo>
                    <a:pt x="370" y="477"/>
                  </a:lnTo>
                  <a:lnTo>
                    <a:pt x="410" y="522"/>
                  </a:lnTo>
                  <a:lnTo>
                    <a:pt x="452" y="567"/>
                  </a:lnTo>
                  <a:lnTo>
                    <a:pt x="496" y="613"/>
                  </a:lnTo>
                  <a:lnTo>
                    <a:pt x="543" y="659"/>
                  </a:lnTo>
                  <a:lnTo>
                    <a:pt x="580" y="686"/>
                  </a:lnTo>
                  <a:lnTo>
                    <a:pt x="617" y="711"/>
                  </a:lnTo>
                  <a:lnTo>
                    <a:pt x="653" y="736"/>
                  </a:lnTo>
                  <a:lnTo>
                    <a:pt x="689" y="759"/>
                  </a:lnTo>
                  <a:lnTo>
                    <a:pt x="724" y="782"/>
                  </a:lnTo>
                  <a:lnTo>
                    <a:pt x="757" y="802"/>
                  </a:lnTo>
                  <a:lnTo>
                    <a:pt x="790" y="822"/>
                  </a:lnTo>
                  <a:lnTo>
                    <a:pt x="823" y="840"/>
                  </a:lnTo>
                  <a:lnTo>
                    <a:pt x="854" y="858"/>
                  </a:lnTo>
                  <a:lnTo>
                    <a:pt x="883" y="873"/>
                  </a:lnTo>
                  <a:lnTo>
                    <a:pt x="911" y="888"/>
                  </a:lnTo>
                  <a:lnTo>
                    <a:pt x="939" y="900"/>
                  </a:lnTo>
                  <a:lnTo>
                    <a:pt x="965" y="911"/>
                  </a:lnTo>
                  <a:lnTo>
                    <a:pt x="990" y="922"/>
                  </a:lnTo>
                  <a:lnTo>
                    <a:pt x="1012" y="930"/>
                  </a:lnTo>
                  <a:lnTo>
                    <a:pt x="1034" y="9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1" name="Freeform 16"/>
            <p:cNvSpPr>
              <a:spLocks noChangeArrowheads="1"/>
            </p:cNvSpPr>
            <p:nvPr userDrawn="1"/>
          </p:nvSpPr>
          <p:spPr bwMode="auto">
            <a:xfrm>
              <a:off x="7259638" y="5314776"/>
              <a:ext cx="892175" cy="1020428"/>
            </a:xfrm>
            <a:custGeom>
              <a:avLst/>
              <a:gdLst>
                <a:gd name="T0" fmla="*/ 1263 w 1977"/>
                <a:gd name="T1" fmla="*/ 66 h 1827"/>
                <a:gd name="T2" fmla="*/ 1510 w 1977"/>
                <a:gd name="T3" fmla="*/ 35 h 1827"/>
                <a:gd name="T4" fmla="*/ 1682 w 1977"/>
                <a:gd name="T5" fmla="*/ 8 h 1827"/>
                <a:gd name="T6" fmla="*/ 1692 w 1977"/>
                <a:gd name="T7" fmla="*/ 187 h 1827"/>
                <a:gd name="T8" fmla="*/ 1660 w 1977"/>
                <a:gd name="T9" fmla="*/ 430 h 1827"/>
                <a:gd name="T10" fmla="*/ 1628 w 1977"/>
                <a:gd name="T11" fmla="*/ 669 h 1827"/>
                <a:gd name="T12" fmla="*/ 1596 w 1977"/>
                <a:gd name="T13" fmla="*/ 914 h 1827"/>
                <a:gd name="T14" fmla="*/ 1621 w 1977"/>
                <a:gd name="T15" fmla="*/ 906 h 1827"/>
                <a:gd name="T16" fmla="*/ 1689 w 1977"/>
                <a:gd name="T17" fmla="*/ 807 h 1827"/>
                <a:gd name="T18" fmla="*/ 1781 w 1977"/>
                <a:gd name="T19" fmla="*/ 701 h 1827"/>
                <a:gd name="T20" fmla="*/ 1977 w 1977"/>
                <a:gd name="T21" fmla="*/ 517 h 1827"/>
                <a:gd name="T22" fmla="*/ 1881 w 1977"/>
                <a:gd name="T23" fmla="*/ 1008 h 1827"/>
                <a:gd name="T24" fmla="*/ 1766 w 1977"/>
                <a:gd name="T25" fmla="*/ 1067 h 1827"/>
                <a:gd name="T26" fmla="*/ 1680 w 1977"/>
                <a:gd name="T27" fmla="*/ 1088 h 1827"/>
                <a:gd name="T28" fmla="*/ 1640 w 1977"/>
                <a:gd name="T29" fmla="*/ 1087 h 1827"/>
                <a:gd name="T30" fmla="*/ 1607 w 1977"/>
                <a:gd name="T31" fmla="*/ 1077 h 1827"/>
                <a:gd name="T32" fmla="*/ 1580 w 1977"/>
                <a:gd name="T33" fmla="*/ 1111 h 1827"/>
                <a:gd name="T34" fmla="*/ 1558 w 1977"/>
                <a:gd name="T35" fmla="*/ 1302 h 1827"/>
                <a:gd name="T36" fmla="*/ 1541 w 1977"/>
                <a:gd name="T37" fmla="*/ 1493 h 1827"/>
                <a:gd name="T38" fmla="*/ 1523 w 1977"/>
                <a:gd name="T39" fmla="*/ 1684 h 1827"/>
                <a:gd name="T40" fmla="*/ 1422 w 1977"/>
                <a:gd name="T41" fmla="*/ 1827 h 1827"/>
                <a:gd name="T42" fmla="*/ 1077 w 1977"/>
                <a:gd name="T43" fmla="*/ 1827 h 1827"/>
                <a:gd name="T44" fmla="*/ 841 w 1977"/>
                <a:gd name="T45" fmla="*/ 1772 h 1827"/>
                <a:gd name="T46" fmla="*/ 903 w 1977"/>
                <a:gd name="T47" fmla="*/ 1549 h 1827"/>
                <a:gd name="T48" fmla="*/ 960 w 1977"/>
                <a:gd name="T49" fmla="*/ 1326 h 1827"/>
                <a:gd name="T50" fmla="*/ 1009 w 1977"/>
                <a:gd name="T51" fmla="*/ 1103 h 1827"/>
                <a:gd name="T52" fmla="*/ 1028 w 1977"/>
                <a:gd name="T53" fmla="*/ 939 h 1827"/>
                <a:gd name="T54" fmla="*/ 985 w 1977"/>
                <a:gd name="T55" fmla="*/ 943 h 1827"/>
                <a:gd name="T56" fmla="*/ 927 w 1977"/>
                <a:gd name="T57" fmla="*/ 933 h 1827"/>
                <a:gd name="T58" fmla="*/ 858 w 1977"/>
                <a:gd name="T59" fmla="*/ 909 h 1827"/>
                <a:gd name="T60" fmla="*/ 755 w 1977"/>
                <a:gd name="T61" fmla="*/ 861 h 1827"/>
                <a:gd name="T62" fmla="*/ 563 w 1977"/>
                <a:gd name="T63" fmla="*/ 748 h 1827"/>
                <a:gd name="T64" fmla="*/ 354 w 1977"/>
                <a:gd name="T65" fmla="*/ 590 h 1827"/>
                <a:gd name="T66" fmla="*/ 183 w 1977"/>
                <a:gd name="T67" fmla="*/ 404 h 1827"/>
                <a:gd name="T68" fmla="*/ 97 w 1977"/>
                <a:gd name="T69" fmla="*/ 297 h 1827"/>
                <a:gd name="T70" fmla="*/ 46 w 1977"/>
                <a:gd name="T71" fmla="*/ 219 h 1827"/>
                <a:gd name="T72" fmla="*/ 13 w 1977"/>
                <a:gd name="T73" fmla="*/ 151 h 1827"/>
                <a:gd name="T74" fmla="*/ 0 w 1977"/>
                <a:gd name="T75" fmla="*/ 95 h 1827"/>
                <a:gd name="T76" fmla="*/ 13 w 1977"/>
                <a:gd name="T77" fmla="*/ 51 h 1827"/>
                <a:gd name="T78" fmla="*/ 38 w 1977"/>
                <a:gd name="T79" fmla="*/ 24 h 1827"/>
                <a:gd name="T80" fmla="*/ 81 w 1977"/>
                <a:gd name="T81" fmla="*/ 16 h 1827"/>
                <a:gd name="T82" fmla="*/ 143 w 1977"/>
                <a:gd name="T83" fmla="*/ 28 h 1827"/>
                <a:gd name="T84" fmla="*/ 221 w 1977"/>
                <a:gd name="T85" fmla="*/ 54 h 1827"/>
                <a:gd name="T86" fmla="*/ 310 w 1977"/>
                <a:gd name="T87" fmla="*/ 99 h 1827"/>
                <a:gd name="T88" fmla="*/ 410 w 1977"/>
                <a:gd name="T89" fmla="*/ 157 h 1827"/>
                <a:gd name="T90" fmla="*/ 600 w 1977"/>
                <a:gd name="T91" fmla="*/ 295 h 1827"/>
                <a:gd name="T92" fmla="*/ 770 w 1977"/>
                <a:gd name="T93" fmla="*/ 440 h 1827"/>
                <a:gd name="T94" fmla="*/ 902 w 1977"/>
                <a:gd name="T95" fmla="*/ 577 h 1827"/>
                <a:gd name="T96" fmla="*/ 1005 w 1977"/>
                <a:gd name="T97" fmla="*/ 710 h 1827"/>
                <a:gd name="T98" fmla="*/ 1070 w 1977"/>
                <a:gd name="T99" fmla="*/ 825 h 1827"/>
                <a:gd name="T100" fmla="*/ 1103 w 1977"/>
                <a:gd name="T101" fmla="*/ 707 h 1827"/>
                <a:gd name="T102" fmla="*/ 1131 w 1977"/>
                <a:gd name="T103" fmla="*/ 515 h 1827"/>
                <a:gd name="T104" fmla="*/ 1153 w 1977"/>
                <a:gd name="T105" fmla="*/ 324 h 1827"/>
                <a:gd name="T106" fmla="*/ 1163 w 1977"/>
                <a:gd name="T107" fmla="*/ 133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7" h="1827">
                  <a:moveTo>
                    <a:pt x="1164" y="85"/>
                  </a:moveTo>
                  <a:lnTo>
                    <a:pt x="1196" y="78"/>
                  </a:lnTo>
                  <a:lnTo>
                    <a:pt x="1229" y="71"/>
                  </a:lnTo>
                  <a:lnTo>
                    <a:pt x="1263" y="66"/>
                  </a:lnTo>
                  <a:lnTo>
                    <a:pt x="1298" y="61"/>
                  </a:lnTo>
                  <a:lnTo>
                    <a:pt x="1368" y="51"/>
                  </a:lnTo>
                  <a:lnTo>
                    <a:pt x="1439" y="43"/>
                  </a:lnTo>
                  <a:lnTo>
                    <a:pt x="1510" y="35"/>
                  </a:lnTo>
                  <a:lnTo>
                    <a:pt x="1581" y="26"/>
                  </a:lnTo>
                  <a:lnTo>
                    <a:pt x="1615" y="20"/>
                  </a:lnTo>
                  <a:lnTo>
                    <a:pt x="1649" y="14"/>
                  </a:lnTo>
                  <a:lnTo>
                    <a:pt x="1682" y="8"/>
                  </a:lnTo>
                  <a:lnTo>
                    <a:pt x="1715" y="0"/>
                  </a:lnTo>
                  <a:lnTo>
                    <a:pt x="1707" y="64"/>
                  </a:lnTo>
                  <a:lnTo>
                    <a:pt x="1699" y="126"/>
                  </a:lnTo>
                  <a:lnTo>
                    <a:pt x="1692" y="187"/>
                  </a:lnTo>
                  <a:lnTo>
                    <a:pt x="1683" y="248"/>
                  </a:lnTo>
                  <a:lnTo>
                    <a:pt x="1675" y="309"/>
                  </a:lnTo>
                  <a:lnTo>
                    <a:pt x="1667" y="370"/>
                  </a:lnTo>
                  <a:lnTo>
                    <a:pt x="1660" y="430"/>
                  </a:lnTo>
                  <a:lnTo>
                    <a:pt x="1652" y="489"/>
                  </a:lnTo>
                  <a:lnTo>
                    <a:pt x="1643" y="549"/>
                  </a:lnTo>
                  <a:lnTo>
                    <a:pt x="1635" y="609"/>
                  </a:lnTo>
                  <a:lnTo>
                    <a:pt x="1628" y="669"/>
                  </a:lnTo>
                  <a:lnTo>
                    <a:pt x="1620" y="730"/>
                  </a:lnTo>
                  <a:lnTo>
                    <a:pt x="1611" y="790"/>
                  </a:lnTo>
                  <a:lnTo>
                    <a:pt x="1604" y="852"/>
                  </a:lnTo>
                  <a:lnTo>
                    <a:pt x="1596" y="914"/>
                  </a:lnTo>
                  <a:lnTo>
                    <a:pt x="1588" y="978"/>
                  </a:lnTo>
                  <a:lnTo>
                    <a:pt x="1597" y="954"/>
                  </a:lnTo>
                  <a:lnTo>
                    <a:pt x="1607" y="930"/>
                  </a:lnTo>
                  <a:lnTo>
                    <a:pt x="1621" y="906"/>
                  </a:lnTo>
                  <a:lnTo>
                    <a:pt x="1635" y="881"/>
                  </a:lnTo>
                  <a:lnTo>
                    <a:pt x="1650" y="857"/>
                  </a:lnTo>
                  <a:lnTo>
                    <a:pt x="1669" y="833"/>
                  </a:lnTo>
                  <a:lnTo>
                    <a:pt x="1689" y="807"/>
                  </a:lnTo>
                  <a:lnTo>
                    <a:pt x="1709" y="781"/>
                  </a:lnTo>
                  <a:lnTo>
                    <a:pt x="1732" y="755"/>
                  </a:lnTo>
                  <a:lnTo>
                    <a:pt x="1757" y="729"/>
                  </a:lnTo>
                  <a:lnTo>
                    <a:pt x="1781" y="701"/>
                  </a:lnTo>
                  <a:lnTo>
                    <a:pt x="1808" y="673"/>
                  </a:lnTo>
                  <a:lnTo>
                    <a:pt x="1866" y="615"/>
                  </a:lnTo>
                  <a:lnTo>
                    <a:pt x="1927" y="552"/>
                  </a:lnTo>
                  <a:lnTo>
                    <a:pt x="1977" y="517"/>
                  </a:lnTo>
                  <a:lnTo>
                    <a:pt x="1977" y="943"/>
                  </a:lnTo>
                  <a:lnTo>
                    <a:pt x="1944" y="967"/>
                  </a:lnTo>
                  <a:lnTo>
                    <a:pt x="1912" y="988"/>
                  </a:lnTo>
                  <a:lnTo>
                    <a:pt x="1881" y="1008"/>
                  </a:lnTo>
                  <a:lnTo>
                    <a:pt x="1850" y="1025"/>
                  </a:lnTo>
                  <a:lnTo>
                    <a:pt x="1821" y="1041"/>
                  </a:lnTo>
                  <a:lnTo>
                    <a:pt x="1793" y="1055"/>
                  </a:lnTo>
                  <a:lnTo>
                    <a:pt x="1766" y="1067"/>
                  </a:lnTo>
                  <a:lnTo>
                    <a:pt x="1739" y="1075"/>
                  </a:lnTo>
                  <a:lnTo>
                    <a:pt x="1714" y="1082"/>
                  </a:lnTo>
                  <a:lnTo>
                    <a:pt x="1692" y="1086"/>
                  </a:lnTo>
                  <a:lnTo>
                    <a:pt x="1680" y="1088"/>
                  </a:lnTo>
                  <a:lnTo>
                    <a:pt x="1670" y="1089"/>
                  </a:lnTo>
                  <a:lnTo>
                    <a:pt x="1660" y="1089"/>
                  </a:lnTo>
                  <a:lnTo>
                    <a:pt x="1649" y="1088"/>
                  </a:lnTo>
                  <a:lnTo>
                    <a:pt x="1640" y="1087"/>
                  </a:lnTo>
                  <a:lnTo>
                    <a:pt x="1632" y="1086"/>
                  </a:lnTo>
                  <a:lnTo>
                    <a:pt x="1623" y="1084"/>
                  </a:lnTo>
                  <a:lnTo>
                    <a:pt x="1615" y="1081"/>
                  </a:lnTo>
                  <a:lnTo>
                    <a:pt x="1607" y="1077"/>
                  </a:lnTo>
                  <a:lnTo>
                    <a:pt x="1600" y="1073"/>
                  </a:lnTo>
                  <a:lnTo>
                    <a:pt x="1594" y="1069"/>
                  </a:lnTo>
                  <a:lnTo>
                    <a:pt x="1588" y="1063"/>
                  </a:lnTo>
                  <a:lnTo>
                    <a:pt x="1580" y="1111"/>
                  </a:lnTo>
                  <a:lnTo>
                    <a:pt x="1573" y="1158"/>
                  </a:lnTo>
                  <a:lnTo>
                    <a:pt x="1568" y="1206"/>
                  </a:lnTo>
                  <a:lnTo>
                    <a:pt x="1563" y="1254"/>
                  </a:lnTo>
                  <a:lnTo>
                    <a:pt x="1558" y="1302"/>
                  </a:lnTo>
                  <a:lnTo>
                    <a:pt x="1554" y="1350"/>
                  </a:lnTo>
                  <a:lnTo>
                    <a:pt x="1550" y="1398"/>
                  </a:lnTo>
                  <a:lnTo>
                    <a:pt x="1545" y="1445"/>
                  </a:lnTo>
                  <a:lnTo>
                    <a:pt x="1541" y="1493"/>
                  </a:lnTo>
                  <a:lnTo>
                    <a:pt x="1537" y="1541"/>
                  </a:lnTo>
                  <a:lnTo>
                    <a:pt x="1533" y="1589"/>
                  </a:lnTo>
                  <a:lnTo>
                    <a:pt x="1528" y="1637"/>
                  </a:lnTo>
                  <a:lnTo>
                    <a:pt x="1523" y="1684"/>
                  </a:lnTo>
                  <a:lnTo>
                    <a:pt x="1517" y="1733"/>
                  </a:lnTo>
                  <a:lnTo>
                    <a:pt x="1510" y="1780"/>
                  </a:lnTo>
                  <a:lnTo>
                    <a:pt x="1503" y="1827"/>
                  </a:lnTo>
                  <a:lnTo>
                    <a:pt x="1422" y="1827"/>
                  </a:lnTo>
                  <a:lnTo>
                    <a:pt x="1337" y="1827"/>
                  </a:lnTo>
                  <a:lnTo>
                    <a:pt x="1251" y="1827"/>
                  </a:lnTo>
                  <a:lnTo>
                    <a:pt x="1164" y="1827"/>
                  </a:lnTo>
                  <a:lnTo>
                    <a:pt x="1077" y="1827"/>
                  </a:lnTo>
                  <a:lnTo>
                    <a:pt x="990" y="1827"/>
                  </a:lnTo>
                  <a:lnTo>
                    <a:pt x="906" y="1827"/>
                  </a:lnTo>
                  <a:lnTo>
                    <a:pt x="824" y="1827"/>
                  </a:lnTo>
                  <a:lnTo>
                    <a:pt x="841" y="1772"/>
                  </a:lnTo>
                  <a:lnTo>
                    <a:pt x="856" y="1716"/>
                  </a:lnTo>
                  <a:lnTo>
                    <a:pt x="872" y="1660"/>
                  </a:lnTo>
                  <a:lnTo>
                    <a:pt x="887" y="1605"/>
                  </a:lnTo>
                  <a:lnTo>
                    <a:pt x="903" y="1549"/>
                  </a:lnTo>
                  <a:lnTo>
                    <a:pt x="918" y="1493"/>
                  </a:lnTo>
                  <a:lnTo>
                    <a:pt x="933" y="1438"/>
                  </a:lnTo>
                  <a:lnTo>
                    <a:pt x="947" y="1382"/>
                  </a:lnTo>
                  <a:lnTo>
                    <a:pt x="960" y="1326"/>
                  </a:lnTo>
                  <a:lnTo>
                    <a:pt x="974" y="1270"/>
                  </a:lnTo>
                  <a:lnTo>
                    <a:pt x="986" y="1214"/>
                  </a:lnTo>
                  <a:lnTo>
                    <a:pt x="997" y="1158"/>
                  </a:lnTo>
                  <a:lnTo>
                    <a:pt x="1009" y="1103"/>
                  </a:lnTo>
                  <a:lnTo>
                    <a:pt x="1019" y="1047"/>
                  </a:lnTo>
                  <a:lnTo>
                    <a:pt x="1028" y="991"/>
                  </a:lnTo>
                  <a:lnTo>
                    <a:pt x="1037" y="936"/>
                  </a:lnTo>
                  <a:lnTo>
                    <a:pt x="1028" y="939"/>
                  </a:lnTo>
                  <a:lnTo>
                    <a:pt x="1019" y="942"/>
                  </a:lnTo>
                  <a:lnTo>
                    <a:pt x="1009" y="943"/>
                  </a:lnTo>
                  <a:lnTo>
                    <a:pt x="997" y="944"/>
                  </a:lnTo>
                  <a:lnTo>
                    <a:pt x="985" y="943"/>
                  </a:lnTo>
                  <a:lnTo>
                    <a:pt x="972" y="942"/>
                  </a:lnTo>
                  <a:lnTo>
                    <a:pt x="958" y="940"/>
                  </a:lnTo>
                  <a:lnTo>
                    <a:pt x="944" y="937"/>
                  </a:lnTo>
                  <a:lnTo>
                    <a:pt x="927" y="933"/>
                  </a:lnTo>
                  <a:lnTo>
                    <a:pt x="912" y="929"/>
                  </a:lnTo>
                  <a:lnTo>
                    <a:pt x="894" y="922"/>
                  </a:lnTo>
                  <a:lnTo>
                    <a:pt x="877" y="916"/>
                  </a:lnTo>
                  <a:lnTo>
                    <a:pt x="858" y="909"/>
                  </a:lnTo>
                  <a:lnTo>
                    <a:pt x="839" y="901"/>
                  </a:lnTo>
                  <a:lnTo>
                    <a:pt x="819" y="891"/>
                  </a:lnTo>
                  <a:lnTo>
                    <a:pt x="799" y="882"/>
                  </a:lnTo>
                  <a:lnTo>
                    <a:pt x="755" y="861"/>
                  </a:lnTo>
                  <a:lnTo>
                    <a:pt x="710" y="837"/>
                  </a:lnTo>
                  <a:lnTo>
                    <a:pt x="663" y="810"/>
                  </a:lnTo>
                  <a:lnTo>
                    <a:pt x="613" y="780"/>
                  </a:lnTo>
                  <a:lnTo>
                    <a:pt x="563" y="748"/>
                  </a:lnTo>
                  <a:lnTo>
                    <a:pt x="510" y="713"/>
                  </a:lnTo>
                  <a:lnTo>
                    <a:pt x="456" y="677"/>
                  </a:lnTo>
                  <a:lnTo>
                    <a:pt x="401" y="638"/>
                  </a:lnTo>
                  <a:lnTo>
                    <a:pt x="354" y="590"/>
                  </a:lnTo>
                  <a:lnTo>
                    <a:pt x="308" y="543"/>
                  </a:lnTo>
                  <a:lnTo>
                    <a:pt x="264" y="496"/>
                  </a:lnTo>
                  <a:lnTo>
                    <a:pt x="222" y="449"/>
                  </a:lnTo>
                  <a:lnTo>
                    <a:pt x="183" y="404"/>
                  </a:lnTo>
                  <a:lnTo>
                    <a:pt x="146" y="361"/>
                  </a:lnTo>
                  <a:lnTo>
                    <a:pt x="129" y="339"/>
                  </a:lnTo>
                  <a:lnTo>
                    <a:pt x="113" y="317"/>
                  </a:lnTo>
                  <a:lnTo>
                    <a:pt x="97" y="297"/>
                  </a:lnTo>
                  <a:lnTo>
                    <a:pt x="83" y="277"/>
                  </a:lnTo>
                  <a:lnTo>
                    <a:pt x="69" y="257"/>
                  </a:lnTo>
                  <a:lnTo>
                    <a:pt x="57" y="238"/>
                  </a:lnTo>
                  <a:lnTo>
                    <a:pt x="46" y="219"/>
                  </a:lnTo>
                  <a:lnTo>
                    <a:pt x="35" y="201"/>
                  </a:lnTo>
                  <a:lnTo>
                    <a:pt x="27" y="184"/>
                  </a:lnTo>
                  <a:lnTo>
                    <a:pt x="19" y="167"/>
                  </a:lnTo>
                  <a:lnTo>
                    <a:pt x="13" y="151"/>
                  </a:lnTo>
                  <a:lnTo>
                    <a:pt x="8" y="136"/>
                  </a:lnTo>
                  <a:lnTo>
                    <a:pt x="4" y="121"/>
                  </a:lnTo>
                  <a:lnTo>
                    <a:pt x="1" y="107"/>
                  </a:lnTo>
                  <a:lnTo>
                    <a:pt x="0" y="95"/>
                  </a:lnTo>
                  <a:lnTo>
                    <a:pt x="1" y="82"/>
                  </a:lnTo>
                  <a:lnTo>
                    <a:pt x="4" y="71"/>
                  </a:lnTo>
                  <a:lnTo>
                    <a:pt x="8" y="61"/>
                  </a:lnTo>
                  <a:lnTo>
                    <a:pt x="13" y="51"/>
                  </a:lnTo>
                  <a:lnTo>
                    <a:pt x="20" y="43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8" y="24"/>
                  </a:lnTo>
                  <a:lnTo>
                    <a:pt x="47" y="20"/>
                  </a:lnTo>
                  <a:lnTo>
                    <a:pt x="57" y="18"/>
                  </a:lnTo>
                  <a:lnTo>
                    <a:pt x="68" y="17"/>
                  </a:lnTo>
                  <a:lnTo>
                    <a:pt x="81" y="16"/>
                  </a:lnTo>
                  <a:lnTo>
                    <a:pt x="95" y="17"/>
                  </a:lnTo>
                  <a:lnTo>
                    <a:pt x="110" y="19"/>
                  </a:lnTo>
                  <a:lnTo>
                    <a:pt x="126" y="22"/>
                  </a:lnTo>
                  <a:lnTo>
                    <a:pt x="143" y="28"/>
                  </a:lnTo>
                  <a:lnTo>
                    <a:pt x="161" y="33"/>
                  </a:lnTo>
                  <a:lnTo>
                    <a:pt x="180" y="39"/>
                  </a:lnTo>
                  <a:lnTo>
                    <a:pt x="200" y="46"/>
                  </a:lnTo>
                  <a:lnTo>
                    <a:pt x="221" y="54"/>
                  </a:lnTo>
                  <a:lnTo>
                    <a:pt x="242" y="64"/>
                  </a:lnTo>
                  <a:lnTo>
                    <a:pt x="264" y="75"/>
                  </a:lnTo>
                  <a:lnTo>
                    <a:pt x="287" y="86"/>
                  </a:lnTo>
                  <a:lnTo>
                    <a:pt x="310" y="99"/>
                  </a:lnTo>
                  <a:lnTo>
                    <a:pt x="335" y="112"/>
                  </a:lnTo>
                  <a:lnTo>
                    <a:pt x="360" y="127"/>
                  </a:lnTo>
                  <a:lnTo>
                    <a:pt x="385" y="141"/>
                  </a:lnTo>
                  <a:lnTo>
                    <a:pt x="410" y="157"/>
                  </a:lnTo>
                  <a:lnTo>
                    <a:pt x="437" y="174"/>
                  </a:lnTo>
                  <a:lnTo>
                    <a:pt x="490" y="211"/>
                  </a:lnTo>
                  <a:lnTo>
                    <a:pt x="544" y="251"/>
                  </a:lnTo>
                  <a:lnTo>
                    <a:pt x="600" y="295"/>
                  </a:lnTo>
                  <a:lnTo>
                    <a:pt x="656" y="340"/>
                  </a:lnTo>
                  <a:lnTo>
                    <a:pt x="695" y="373"/>
                  </a:lnTo>
                  <a:lnTo>
                    <a:pt x="733" y="406"/>
                  </a:lnTo>
                  <a:lnTo>
                    <a:pt x="770" y="440"/>
                  </a:lnTo>
                  <a:lnTo>
                    <a:pt x="805" y="474"/>
                  </a:lnTo>
                  <a:lnTo>
                    <a:pt x="839" y="508"/>
                  </a:lnTo>
                  <a:lnTo>
                    <a:pt x="872" y="543"/>
                  </a:lnTo>
                  <a:lnTo>
                    <a:pt x="902" y="577"/>
                  </a:lnTo>
                  <a:lnTo>
                    <a:pt x="931" y="611"/>
                  </a:lnTo>
                  <a:lnTo>
                    <a:pt x="957" y="645"/>
                  </a:lnTo>
                  <a:lnTo>
                    <a:pt x="982" y="678"/>
                  </a:lnTo>
                  <a:lnTo>
                    <a:pt x="1005" y="710"/>
                  </a:lnTo>
                  <a:lnTo>
                    <a:pt x="1025" y="741"/>
                  </a:lnTo>
                  <a:lnTo>
                    <a:pt x="1043" y="771"/>
                  </a:lnTo>
                  <a:lnTo>
                    <a:pt x="1057" y="799"/>
                  </a:lnTo>
                  <a:lnTo>
                    <a:pt x="1070" y="825"/>
                  </a:lnTo>
                  <a:lnTo>
                    <a:pt x="1079" y="850"/>
                  </a:lnTo>
                  <a:lnTo>
                    <a:pt x="1087" y="803"/>
                  </a:lnTo>
                  <a:lnTo>
                    <a:pt x="1094" y="755"/>
                  </a:lnTo>
                  <a:lnTo>
                    <a:pt x="1103" y="707"/>
                  </a:lnTo>
                  <a:lnTo>
                    <a:pt x="1110" y="659"/>
                  </a:lnTo>
                  <a:lnTo>
                    <a:pt x="1117" y="611"/>
                  </a:lnTo>
                  <a:lnTo>
                    <a:pt x="1124" y="564"/>
                  </a:lnTo>
                  <a:lnTo>
                    <a:pt x="1131" y="515"/>
                  </a:lnTo>
                  <a:lnTo>
                    <a:pt x="1138" y="468"/>
                  </a:lnTo>
                  <a:lnTo>
                    <a:pt x="1143" y="420"/>
                  </a:lnTo>
                  <a:lnTo>
                    <a:pt x="1148" y="372"/>
                  </a:lnTo>
                  <a:lnTo>
                    <a:pt x="1153" y="324"/>
                  </a:lnTo>
                  <a:lnTo>
                    <a:pt x="1157" y="277"/>
                  </a:lnTo>
                  <a:lnTo>
                    <a:pt x="1160" y="229"/>
                  </a:lnTo>
                  <a:lnTo>
                    <a:pt x="1162" y="181"/>
                  </a:lnTo>
                  <a:lnTo>
                    <a:pt x="1163" y="133"/>
                  </a:lnTo>
                  <a:lnTo>
                    <a:pt x="1164" y="8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2" name="Freeform 17"/>
            <p:cNvSpPr>
              <a:spLocks noChangeArrowheads="1"/>
            </p:cNvSpPr>
            <p:nvPr userDrawn="1"/>
          </p:nvSpPr>
          <p:spPr bwMode="auto">
            <a:xfrm>
              <a:off x="7188200" y="5884068"/>
              <a:ext cx="452438" cy="495893"/>
            </a:xfrm>
            <a:custGeom>
              <a:avLst/>
              <a:gdLst>
                <a:gd name="T0" fmla="*/ 616 w 1012"/>
                <a:gd name="T1" fmla="*/ 9 h 894"/>
                <a:gd name="T2" fmla="*/ 669 w 1012"/>
                <a:gd name="T3" fmla="*/ 30 h 894"/>
                <a:gd name="T4" fmla="*/ 718 w 1012"/>
                <a:gd name="T5" fmla="*/ 63 h 894"/>
                <a:gd name="T6" fmla="*/ 763 w 1012"/>
                <a:gd name="T7" fmla="*/ 104 h 894"/>
                <a:gd name="T8" fmla="*/ 803 w 1012"/>
                <a:gd name="T9" fmla="*/ 154 h 894"/>
                <a:gd name="T10" fmla="*/ 840 w 1012"/>
                <a:gd name="T11" fmla="*/ 212 h 894"/>
                <a:gd name="T12" fmla="*/ 887 w 1012"/>
                <a:gd name="T13" fmla="*/ 308 h 894"/>
                <a:gd name="T14" fmla="*/ 927 w 1012"/>
                <a:gd name="T15" fmla="*/ 421 h 894"/>
                <a:gd name="T16" fmla="*/ 961 w 1012"/>
                <a:gd name="T17" fmla="*/ 549 h 894"/>
                <a:gd name="T18" fmla="*/ 988 w 1012"/>
                <a:gd name="T19" fmla="*/ 689 h 894"/>
                <a:gd name="T20" fmla="*/ 1007 w 1012"/>
                <a:gd name="T21" fmla="*/ 841 h 894"/>
                <a:gd name="T22" fmla="*/ 800 w 1012"/>
                <a:gd name="T23" fmla="*/ 894 h 894"/>
                <a:gd name="T24" fmla="*/ 0 w 1012"/>
                <a:gd name="T25" fmla="*/ 894 h 894"/>
                <a:gd name="T26" fmla="*/ 17 w 1012"/>
                <a:gd name="T27" fmla="*/ 818 h 894"/>
                <a:gd name="T28" fmla="*/ 45 w 1012"/>
                <a:gd name="T29" fmla="*/ 705 h 894"/>
                <a:gd name="T30" fmla="*/ 83 w 1012"/>
                <a:gd name="T31" fmla="*/ 581 h 894"/>
                <a:gd name="T32" fmla="*/ 125 w 1012"/>
                <a:gd name="T33" fmla="*/ 466 h 894"/>
                <a:gd name="T34" fmla="*/ 171 w 1012"/>
                <a:gd name="T35" fmla="*/ 362 h 894"/>
                <a:gd name="T36" fmla="*/ 222 w 1012"/>
                <a:gd name="T37" fmla="*/ 270 h 894"/>
                <a:gd name="T38" fmla="*/ 274 w 1012"/>
                <a:gd name="T39" fmla="*/ 191 h 894"/>
                <a:gd name="T40" fmla="*/ 331 w 1012"/>
                <a:gd name="T41" fmla="*/ 124 h 894"/>
                <a:gd name="T42" fmla="*/ 390 w 1012"/>
                <a:gd name="T43" fmla="*/ 71 h 894"/>
                <a:gd name="T44" fmla="*/ 449 w 1012"/>
                <a:gd name="T45" fmla="*/ 32 h 894"/>
                <a:gd name="T46" fmla="*/ 511 w 1012"/>
                <a:gd name="T47" fmla="*/ 9 h 894"/>
                <a:gd name="T48" fmla="*/ 574 w 1012"/>
                <a:gd name="T49" fmla="*/ 0 h 894"/>
                <a:gd name="T50" fmla="*/ 620 w 1012"/>
                <a:gd name="T51" fmla="*/ 203 h 894"/>
                <a:gd name="T52" fmla="*/ 581 w 1012"/>
                <a:gd name="T53" fmla="*/ 177 h 894"/>
                <a:gd name="T54" fmla="*/ 541 w 1012"/>
                <a:gd name="T55" fmla="*/ 177 h 894"/>
                <a:gd name="T56" fmla="*/ 502 w 1012"/>
                <a:gd name="T57" fmla="*/ 194 h 894"/>
                <a:gd name="T58" fmla="*/ 463 w 1012"/>
                <a:gd name="T59" fmla="*/ 223 h 894"/>
                <a:gd name="T60" fmla="*/ 424 w 1012"/>
                <a:gd name="T61" fmla="*/ 264 h 894"/>
                <a:gd name="T62" fmla="*/ 386 w 1012"/>
                <a:gd name="T63" fmla="*/ 316 h 894"/>
                <a:gd name="T64" fmla="*/ 349 w 1012"/>
                <a:gd name="T65" fmla="*/ 379 h 894"/>
                <a:gd name="T66" fmla="*/ 312 w 1012"/>
                <a:gd name="T67" fmla="*/ 452 h 894"/>
                <a:gd name="T68" fmla="*/ 278 w 1012"/>
                <a:gd name="T69" fmla="*/ 533 h 894"/>
                <a:gd name="T70" fmla="*/ 247 w 1012"/>
                <a:gd name="T71" fmla="*/ 625 h 894"/>
                <a:gd name="T72" fmla="*/ 216 w 1012"/>
                <a:gd name="T73" fmla="*/ 725 h 894"/>
                <a:gd name="T74" fmla="*/ 189 w 1012"/>
                <a:gd name="T75" fmla="*/ 832 h 894"/>
                <a:gd name="T76" fmla="*/ 179 w 1012"/>
                <a:gd name="T77" fmla="*/ 879 h 894"/>
                <a:gd name="T78" fmla="*/ 692 w 1012"/>
                <a:gd name="T79" fmla="*/ 296 h 894"/>
                <a:gd name="T80" fmla="*/ 648 w 1012"/>
                <a:gd name="T81" fmla="*/ 232 h 894"/>
                <a:gd name="T82" fmla="*/ 620 w 1012"/>
                <a:gd name="T83" fmla="*/ 203 h 894"/>
                <a:gd name="T84" fmla="*/ 837 w 1012"/>
                <a:gd name="T85" fmla="*/ 848 h 894"/>
                <a:gd name="T86" fmla="*/ 820 w 1012"/>
                <a:gd name="T87" fmla="*/ 713 h 894"/>
                <a:gd name="T88" fmla="*/ 797 w 1012"/>
                <a:gd name="T89" fmla="*/ 590 h 894"/>
                <a:gd name="T90" fmla="*/ 768 w 1012"/>
                <a:gd name="T91" fmla="*/ 478 h 894"/>
                <a:gd name="T92" fmla="*/ 732 w 1012"/>
                <a:gd name="T93" fmla="*/ 380 h 894"/>
                <a:gd name="T94" fmla="*/ 692 w 1012"/>
                <a:gd name="T95" fmla="*/ 296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12" h="894">
                  <a:moveTo>
                    <a:pt x="596" y="3"/>
                  </a:moveTo>
                  <a:lnTo>
                    <a:pt x="599" y="4"/>
                  </a:lnTo>
                  <a:lnTo>
                    <a:pt x="616" y="9"/>
                  </a:lnTo>
                  <a:lnTo>
                    <a:pt x="635" y="15"/>
                  </a:lnTo>
                  <a:lnTo>
                    <a:pt x="652" y="22"/>
                  </a:lnTo>
                  <a:lnTo>
                    <a:pt x="669" y="30"/>
                  </a:lnTo>
                  <a:lnTo>
                    <a:pt x="686" y="40"/>
                  </a:lnTo>
                  <a:lnTo>
                    <a:pt x="703" y="51"/>
                  </a:lnTo>
                  <a:lnTo>
                    <a:pt x="718" y="63"/>
                  </a:lnTo>
                  <a:lnTo>
                    <a:pt x="735" y="77"/>
                  </a:lnTo>
                  <a:lnTo>
                    <a:pt x="749" y="90"/>
                  </a:lnTo>
                  <a:lnTo>
                    <a:pt x="763" y="104"/>
                  </a:lnTo>
                  <a:lnTo>
                    <a:pt x="777" y="120"/>
                  </a:lnTo>
                  <a:lnTo>
                    <a:pt x="790" y="136"/>
                  </a:lnTo>
                  <a:lnTo>
                    <a:pt x="803" y="154"/>
                  </a:lnTo>
                  <a:lnTo>
                    <a:pt x="816" y="172"/>
                  </a:lnTo>
                  <a:lnTo>
                    <a:pt x="829" y="192"/>
                  </a:lnTo>
                  <a:lnTo>
                    <a:pt x="840" y="212"/>
                  </a:lnTo>
                  <a:lnTo>
                    <a:pt x="856" y="243"/>
                  </a:lnTo>
                  <a:lnTo>
                    <a:pt x="872" y="274"/>
                  </a:lnTo>
                  <a:lnTo>
                    <a:pt x="887" y="308"/>
                  </a:lnTo>
                  <a:lnTo>
                    <a:pt x="901" y="344"/>
                  </a:lnTo>
                  <a:lnTo>
                    <a:pt x="914" y="382"/>
                  </a:lnTo>
                  <a:lnTo>
                    <a:pt x="927" y="421"/>
                  </a:lnTo>
                  <a:lnTo>
                    <a:pt x="940" y="462"/>
                  </a:lnTo>
                  <a:lnTo>
                    <a:pt x="951" y="504"/>
                  </a:lnTo>
                  <a:lnTo>
                    <a:pt x="961" y="549"/>
                  </a:lnTo>
                  <a:lnTo>
                    <a:pt x="971" y="594"/>
                  </a:lnTo>
                  <a:lnTo>
                    <a:pt x="980" y="640"/>
                  </a:lnTo>
                  <a:lnTo>
                    <a:pt x="988" y="689"/>
                  </a:lnTo>
                  <a:lnTo>
                    <a:pt x="995" y="738"/>
                  </a:lnTo>
                  <a:lnTo>
                    <a:pt x="1002" y="789"/>
                  </a:lnTo>
                  <a:lnTo>
                    <a:pt x="1007" y="841"/>
                  </a:lnTo>
                  <a:lnTo>
                    <a:pt x="1012" y="894"/>
                  </a:lnTo>
                  <a:lnTo>
                    <a:pt x="842" y="894"/>
                  </a:lnTo>
                  <a:lnTo>
                    <a:pt x="800" y="894"/>
                  </a:lnTo>
                  <a:lnTo>
                    <a:pt x="360" y="894"/>
                  </a:lnTo>
                  <a:lnTo>
                    <a:pt x="175" y="894"/>
                  </a:lnTo>
                  <a:lnTo>
                    <a:pt x="0" y="894"/>
                  </a:lnTo>
                  <a:lnTo>
                    <a:pt x="6" y="868"/>
                  </a:lnTo>
                  <a:lnTo>
                    <a:pt x="11" y="843"/>
                  </a:lnTo>
                  <a:lnTo>
                    <a:pt x="17" y="818"/>
                  </a:lnTo>
                  <a:lnTo>
                    <a:pt x="22" y="793"/>
                  </a:lnTo>
                  <a:lnTo>
                    <a:pt x="33" y="749"/>
                  </a:lnTo>
                  <a:lnTo>
                    <a:pt x="45" y="705"/>
                  </a:lnTo>
                  <a:lnTo>
                    <a:pt x="57" y="662"/>
                  </a:lnTo>
                  <a:lnTo>
                    <a:pt x="69" y="621"/>
                  </a:lnTo>
                  <a:lnTo>
                    <a:pt x="83" y="581"/>
                  </a:lnTo>
                  <a:lnTo>
                    <a:pt x="96" y="540"/>
                  </a:lnTo>
                  <a:lnTo>
                    <a:pt x="110" y="503"/>
                  </a:lnTo>
                  <a:lnTo>
                    <a:pt x="125" y="466"/>
                  </a:lnTo>
                  <a:lnTo>
                    <a:pt x="139" y="430"/>
                  </a:lnTo>
                  <a:lnTo>
                    <a:pt x="155" y="396"/>
                  </a:lnTo>
                  <a:lnTo>
                    <a:pt x="171" y="362"/>
                  </a:lnTo>
                  <a:lnTo>
                    <a:pt x="188" y="330"/>
                  </a:lnTo>
                  <a:lnTo>
                    <a:pt x="204" y="300"/>
                  </a:lnTo>
                  <a:lnTo>
                    <a:pt x="222" y="270"/>
                  </a:lnTo>
                  <a:lnTo>
                    <a:pt x="239" y="243"/>
                  </a:lnTo>
                  <a:lnTo>
                    <a:pt x="257" y="216"/>
                  </a:lnTo>
                  <a:lnTo>
                    <a:pt x="274" y="191"/>
                  </a:lnTo>
                  <a:lnTo>
                    <a:pt x="293" y="167"/>
                  </a:lnTo>
                  <a:lnTo>
                    <a:pt x="311" y="145"/>
                  </a:lnTo>
                  <a:lnTo>
                    <a:pt x="331" y="124"/>
                  </a:lnTo>
                  <a:lnTo>
                    <a:pt x="351" y="105"/>
                  </a:lnTo>
                  <a:lnTo>
                    <a:pt x="369" y="87"/>
                  </a:lnTo>
                  <a:lnTo>
                    <a:pt x="390" y="71"/>
                  </a:lnTo>
                  <a:lnTo>
                    <a:pt x="409" y="57"/>
                  </a:lnTo>
                  <a:lnTo>
                    <a:pt x="429" y="44"/>
                  </a:lnTo>
                  <a:lnTo>
                    <a:pt x="449" y="32"/>
                  </a:lnTo>
                  <a:lnTo>
                    <a:pt x="470" y="23"/>
                  </a:lnTo>
                  <a:lnTo>
                    <a:pt x="491" y="15"/>
                  </a:lnTo>
                  <a:lnTo>
                    <a:pt x="511" y="9"/>
                  </a:lnTo>
                  <a:lnTo>
                    <a:pt x="532" y="4"/>
                  </a:lnTo>
                  <a:lnTo>
                    <a:pt x="552" y="1"/>
                  </a:lnTo>
                  <a:lnTo>
                    <a:pt x="574" y="0"/>
                  </a:lnTo>
                  <a:lnTo>
                    <a:pt x="585" y="1"/>
                  </a:lnTo>
                  <a:lnTo>
                    <a:pt x="596" y="3"/>
                  </a:lnTo>
                  <a:close/>
                  <a:moveTo>
                    <a:pt x="620" y="203"/>
                  </a:moveTo>
                  <a:lnTo>
                    <a:pt x="607" y="193"/>
                  </a:lnTo>
                  <a:lnTo>
                    <a:pt x="594" y="184"/>
                  </a:lnTo>
                  <a:lnTo>
                    <a:pt x="581" y="177"/>
                  </a:lnTo>
                  <a:lnTo>
                    <a:pt x="568" y="172"/>
                  </a:lnTo>
                  <a:lnTo>
                    <a:pt x="555" y="173"/>
                  </a:lnTo>
                  <a:lnTo>
                    <a:pt x="541" y="177"/>
                  </a:lnTo>
                  <a:lnTo>
                    <a:pt x="529" y="181"/>
                  </a:lnTo>
                  <a:lnTo>
                    <a:pt x="515" y="187"/>
                  </a:lnTo>
                  <a:lnTo>
                    <a:pt x="502" y="194"/>
                  </a:lnTo>
                  <a:lnTo>
                    <a:pt x="489" y="202"/>
                  </a:lnTo>
                  <a:lnTo>
                    <a:pt x="476" y="212"/>
                  </a:lnTo>
                  <a:lnTo>
                    <a:pt x="463" y="223"/>
                  </a:lnTo>
                  <a:lnTo>
                    <a:pt x="449" y="235"/>
                  </a:lnTo>
                  <a:lnTo>
                    <a:pt x="437" y="249"/>
                  </a:lnTo>
                  <a:lnTo>
                    <a:pt x="424" y="264"/>
                  </a:lnTo>
                  <a:lnTo>
                    <a:pt x="411" y="280"/>
                  </a:lnTo>
                  <a:lnTo>
                    <a:pt x="398" y="297"/>
                  </a:lnTo>
                  <a:lnTo>
                    <a:pt x="386" y="316"/>
                  </a:lnTo>
                  <a:lnTo>
                    <a:pt x="373" y="335"/>
                  </a:lnTo>
                  <a:lnTo>
                    <a:pt x="361" y="357"/>
                  </a:lnTo>
                  <a:lnTo>
                    <a:pt x="349" y="379"/>
                  </a:lnTo>
                  <a:lnTo>
                    <a:pt x="336" y="402"/>
                  </a:lnTo>
                  <a:lnTo>
                    <a:pt x="325" y="426"/>
                  </a:lnTo>
                  <a:lnTo>
                    <a:pt x="312" y="452"/>
                  </a:lnTo>
                  <a:lnTo>
                    <a:pt x="301" y="478"/>
                  </a:lnTo>
                  <a:lnTo>
                    <a:pt x="290" y="505"/>
                  </a:lnTo>
                  <a:lnTo>
                    <a:pt x="278" y="533"/>
                  </a:lnTo>
                  <a:lnTo>
                    <a:pt x="267" y="563"/>
                  </a:lnTo>
                  <a:lnTo>
                    <a:pt x="257" y="594"/>
                  </a:lnTo>
                  <a:lnTo>
                    <a:pt x="247" y="625"/>
                  </a:lnTo>
                  <a:lnTo>
                    <a:pt x="236" y="657"/>
                  </a:lnTo>
                  <a:lnTo>
                    <a:pt x="226" y="690"/>
                  </a:lnTo>
                  <a:lnTo>
                    <a:pt x="216" y="725"/>
                  </a:lnTo>
                  <a:lnTo>
                    <a:pt x="206" y="760"/>
                  </a:lnTo>
                  <a:lnTo>
                    <a:pt x="197" y="795"/>
                  </a:lnTo>
                  <a:lnTo>
                    <a:pt x="189" y="832"/>
                  </a:lnTo>
                  <a:lnTo>
                    <a:pt x="185" y="848"/>
                  </a:lnTo>
                  <a:lnTo>
                    <a:pt x="182" y="863"/>
                  </a:lnTo>
                  <a:lnTo>
                    <a:pt x="179" y="879"/>
                  </a:lnTo>
                  <a:lnTo>
                    <a:pt x="175" y="894"/>
                  </a:lnTo>
                  <a:lnTo>
                    <a:pt x="620" y="203"/>
                  </a:lnTo>
                  <a:close/>
                  <a:moveTo>
                    <a:pt x="692" y="296"/>
                  </a:moveTo>
                  <a:lnTo>
                    <a:pt x="675" y="268"/>
                  </a:lnTo>
                  <a:lnTo>
                    <a:pt x="658" y="244"/>
                  </a:lnTo>
                  <a:lnTo>
                    <a:pt x="648" y="232"/>
                  </a:lnTo>
                  <a:lnTo>
                    <a:pt x="639" y="222"/>
                  </a:lnTo>
                  <a:lnTo>
                    <a:pt x="630" y="213"/>
                  </a:lnTo>
                  <a:lnTo>
                    <a:pt x="620" y="203"/>
                  </a:lnTo>
                  <a:lnTo>
                    <a:pt x="692" y="296"/>
                  </a:lnTo>
                  <a:close/>
                  <a:moveTo>
                    <a:pt x="842" y="894"/>
                  </a:moveTo>
                  <a:lnTo>
                    <a:pt x="837" y="848"/>
                  </a:lnTo>
                  <a:lnTo>
                    <a:pt x="833" y="801"/>
                  </a:lnTo>
                  <a:lnTo>
                    <a:pt x="826" y="757"/>
                  </a:lnTo>
                  <a:lnTo>
                    <a:pt x="820" y="713"/>
                  </a:lnTo>
                  <a:lnTo>
                    <a:pt x="813" y="670"/>
                  </a:lnTo>
                  <a:lnTo>
                    <a:pt x="805" y="629"/>
                  </a:lnTo>
                  <a:lnTo>
                    <a:pt x="797" y="590"/>
                  </a:lnTo>
                  <a:lnTo>
                    <a:pt x="787" y="551"/>
                  </a:lnTo>
                  <a:lnTo>
                    <a:pt x="778" y="514"/>
                  </a:lnTo>
                  <a:lnTo>
                    <a:pt x="768" y="478"/>
                  </a:lnTo>
                  <a:lnTo>
                    <a:pt x="756" y="444"/>
                  </a:lnTo>
                  <a:lnTo>
                    <a:pt x="744" y="411"/>
                  </a:lnTo>
                  <a:lnTo>
                    <a:pt x="732" y="380"/>
                  </a:lnTo>
                  <a:lnTo>
                    <a:pt x="719" y="351"/>
                  </a:lnTo>
                  <a:lnTo>
                    <a:pt x="706" y="323"/>
                  </a:lnTo>
                  <a:lnTo>
                    <a:pt x="692" y="296"/>
                  </a:lnTo>
                  <a:lnTo>
                    <a:pt x="842" y="8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3" name="Freeform 18"/>
            <p:cNvSpPr>
              <a:spLocks noChangeArrowheads="1"/>
            </p:cNvSpPr>
            <p:nvPr userDrawn="1"/>
          </p:nvSpPr>
          <p:spPr bwMode="auto">
            <a:xfrm>
              <a:off x="7223125" y="5937774"/>
              <a:ext cx="381000" cy="442186"/>
            </a:xfrm>
            <a:custGeom>
              <a:avLst/>
              <a:gdLst>
                <a:gd name="T0" fmla="*/ 503 w 838"/>
                <a:gd name="T1" fmla="*/ 3 h 807"/>
                <a:gd name="T2" fmla="*/ 536 w 838"/>
                <a:gd name="T3" fmla="*/ 15 h 807"/>
                <a:gd name="T4" fmla="*/ 567 w 838"/>
                <a:gd name="T5" fmla="*/ 35 h 807"/>
                <a:gd name="T6" fmla="*/ 597 w 838"/>
                <a:gd name="T7" fmla="*/ 61 h 807"/>
                <a:gd name="T8" fmla="*/ 626 w 838"/>
                <a:gd name="T9" fmla="*/ 93 h 807"/>
                <a:gd name="T10" fmla="*/ 654 w 838"/>
                <a:gd name="T11" fmla="*/ 130 h 807"/>
                <a:gd name="T12" fmla="*/ 681 w 838"/>
                <a:gd name="T13" fmla="*/ 172 h 807"/>
                <a:gd name="T14" fmla="*/ 705 w 838"/>
                <a:gd name="T15" fmla="*/ 220 h 807"/>
                <a:gd name="T16" fmla="*/ 728 w 838"/>
                <a:gd name="T17" fmla="*/ 274 h 807"/>
                <a:gd name="T18" fmla="*/ 750 w 838"/>
                <a:gd name="T19" fmla="*/ 332 h 807"/>
                <a:gd name="T20" fmla="*/ 768 w 838"/>
                <a:gd name="T21" fmla="*/ 395 h 807"/>
                <a:gd name="T22" fmla="*/ 786 w 838"/>
                <a:gd name="T23" fmla="*/ 462 h 807"/>
                <a:gd name="T24" fmla="*/ 801 w 838"/>
                <a:gd name="T25" fmla="*/ 533 h 807"/>
                <a:gd name="T26" fmla="*/ 815 w 838"/>
                <a:gd name="T27" fmla="*/ 607 h 807"/>
                <a:gd name="T28" fmla="*/ 826 w 838"/>
                <a:gd name="T29" fmla="*/ 684 h 807"/>
                <a:gd name="T30" fmla="*/ 835 w 838"/>
                <a:gd name="T31" fmla="*/ 766 h 807"/>
                <a:gd name="T32" fmla="*/ 0 w 838"/>
                <a:gd name="T33" fmla="*/ 807 h 807"/>
                <a:gd name="T34" fmla="*/ 20 w 838"/>
                <a:gd name="T35" fmla="*/ 717 h 807"/>
                <a:gd name="T36" fmla="*/ 41 w 838"/>
                <a:gd name="T37" fmla="*/ 632 h 807"/>
                <a:gd name="T38" fmla="*/ 65 w 838"/>
                <a:gd name="T39" fmla="*/ 551 h 807"/>
                <a:gd name="T40" fmla="*/ 91 w 838"/>
                <a:gd name="T41" fmla="*/ 475 h 807"/>
                <a:gd name="T42" fmla="*/ 117 w 838"/>
                <a:gd name="T43" fmla="*/ 403 h 807"/>
                <a:gd name="T44" fmla="*/ 146 w 838"/>
                <a:gd name="T45" fmla="*/ 337 h 807"/>
                <a:gd name="T46" fmla="*/ 176 w 838"/>
                <a:gd name="T47" fmla="*/ 276 h 807"/>
                <a:gd name="T48" fmla="*/ 208 w 838"/>
                <a:gd name="T49" fmla="*/ 220 h 807"/>
                <a:gd name="T50" fmla="*/ 240 w 838"/>
                <a:gd name="T51" fmla="*/ 170 h 807"/>
                <a:gd name="T52" fmla="*/ 274 w 838"/>
                <a:gd name="T53" fmla="*/ 127 h 807"/>
                <a:gd name="T54" fmla="*/ 308 w 838"/>
                <a:gd name="T55" fmla="*/ 89 h 807"/>
                <a:gd name="T56" fmla="*/ 343 w 838"/>
                <a:gd name="T57" fmla="*/ 57 h 807"/>
                <a:gd name="T58" fmla="*/ 378 w 838"/>
                <a:gd name="T59" fmla="*/ 32 h 807"/>
                <a:gd name="T60" fmla="*/ 414 w 838"/>
                <a:gd name="T61" fmla="*/ 14 h 807"/>
                <a:gd name="T62" fmla="*/ 450 w 838"/>
                <a:gd name="T63" fmla="*/ 3 h 807"/>
                <a:gd name="T64" fmla="*/ 486 w 838"/>
                <a:gd name="T65" fmla="*/ 0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38" h="807">
                  <a:moveTo>
                    <a:pt x="486" y="0"/>
                  </a:moveTo>
                  <a:lnTo>
                    <a:pt x="503" y="3"/>
                  </a:lnTo>
                  <a:lnTo>
                    <a:pt x="519" y="9"/>
                  </a:lnTo>
                  <a:lnTo>
                    <a:pt x="536" y="15"/>
                  </a:lnTo>
                  <a:lnTo>
                    <a:pt x="551" y="25"/>
                  </a:lnTo>
                  <a:lnTo>
                    <a:pt x="567" y="35"/>
                  </a:lnTo>
                  <a:lnTo>
                    <a:pt x="583" y="47"/>
                  </a:lnTo>
                  <a:lnTo>
                    <a:pt x="597" y="61"/>
                  </a:lnTo>
                  <a:lnTo>
                    <a:pt x="613" y="75"/>
                  </a:lnTo>
                  <a:lnTo>
                    <a:pt x="626" y="93"/>
                  </a:lnTo>
                  <a:lnTo>
                    <a:pt x="641" y="110"/>
                  </a:lnTo>
                  <a:lnTo>
                    <a:pt x="654" y="130"/>
                  </a:lnTo>
                  <a:lnTo>
                    <a:pt x="667" y="150"/>
                  </a:lnTo>
                  <a:lnTo>
                    <a:pt x="681" y="172"/>
                  </a:lnTo>
                  <a:lnTo>
                    <a:pt x="693" y="196"/>
                  </a:lnTo>
                  <a:lnTo>
                    <a:pt x="705" y="220"/>
                  </a:lnTo>
                  <a:lnTo>
                    <a:pt x="717" y="247"/>
                  </a:lnTo>
                  <a:lnTo>
                    <a:pt x="728" y="274"/>
                  </a:lnTo>
                  <a:lnTo>
                    <a:pt x="739" y="303"/>
                  </a:lnTo>
                  <a:lnTo>
                    <a:pt x="750" y="332"/>
                  </a:lnTo>
                  <a:lnTo>
                    <a:pt x="759" y="363"/>
                  </a:lnTo>
                  <a:lnTo>
                    <a:pt x="768" y="395"/>
                  </a:lnTo>
                  <a:lnTo>
                    <a:pt x="778" y="428"/>
                  </a:lnTo>
                  <a:lnTo>
                    <a:pt x="786" y="462"/>
                  </a:lnTo>
                  <a:lnTo>
                    <a:pt x="794" y="497"/>
                  </a:lnTo>
                  <a:lnTo>
                    <a:pt x="801" y="533"/>
                  </a:lnTo>
                  <a:lnTo>
                    <a:pt x="808" y="569"/>
                  </a:lnTo>
                  <a:lnTo>
                    <a:pt x="815" y="607"/>
                  </a:lnTo>
                  <a:lnTo>
                    <a:pt x="821" y="645"/>
                  </a:lnTo>
                  <a:lnTo>
                    <a:pt x="826" y="684"/>
                  </a:lnTo>
                  <a:lnTo>
                    <a:pt x="831" y="725"/>
                  </a:lnTo>
                  <a:lnTo>
                    <a:pt x="835" y="766"/>
                  </a:lnTo>
                  <a:lnTo>
                    <a:pt x="838" y="807"/>
                  </a:lnTo>
                  <a:lnTo>
                    <a:pt x="0" y="807"/>
                  </a:lnTo>
                  <a:lnTo>
                    <a:pt x="9" y="762"/>
                  </a:lnTo>
                  <a:lnTo>
                    <a:pt x="20" y="717"/>
                  </a:lnTo>
                  <a:lnTo>
                    <a:pt x="30" y="674"/>
                  </a:lnTo>
                  <a:lnTo>
                    <a:pt x="41" y="632"/>
                  </a:lnTo>
                  <a:lnTo>
                    <a:pt x="52" y="592"/>
                  </a:lnTo>
                  <a:lnTo>
                    <a:pt x="65" y="551"/>
                  </a:lnTo>
                  <a:lnTo>
                    <a:pt x="77" y="512"/>
                  </a:lnTo>
                  <a:lnTo>
                    <a:pt x="91" y="475"/>
                  </a:lnTo>
                  <a:lnTo>
                    <a:pt x="104" y="438"/>
                  </a:lnTo>
                  <a:lnTo>
                    <a:pt x="117" y="403"/>
                  </a:lnTo>
                  <a:lnTo>
                    <a:pt x="132" y="369"/>
                  </a:lnTo>
                  <a:lnTo>
                    <a:pt x="146" y="337"/>
                  </a:lnTo>
                  <a:lnTo>
                    <a:pt x="162" y="306"/>
                  </a:lnTo>
                  <a:lnTo>
                    <a:pt x="176" y="276"/>
                  </a:lnTo>
                  <a:lnTo>
                    <a:pt x="193" y="247"/>
                  </a:lnTo>
                  <a:lnTo>
                    <a:pt x="208" y="220"/>
                  </a:lnTo>
                  <a:lnTo>
                    <a:pt x="223" y="195"/>
                  </a:lnTo>
                  <a:lnTo>
                    <a:pt x="240" y="170"/>
                  </a:lnTo>
                  <a:lnTo>
                    <a:pt x="256" y="147"/>
                  </a:lnTo>
                  <a:lnTo>
                    <a:pt x="274" y="127"/>
                  </a:lnTo>
                  <a:lnTo>
                    <a:pt x="290" y="107"/>
                  </a:lnTo>
                  <a:lnTo>
                    <a:pt x="308" y="89"/>
                  </a:lnTo>
                  <a:lnTo>
                    <a:pt x="325" y="72"/>
                  </a:lnTo>
                  <a:lnTo>
                    <a:pt x="343" y="57"/>
                  </a:lnTo>
                  <a:lnTo>
                    <a:pt x="360" y="44"/>
                  </a:lnTo>
                  <a:lnTo>
                    <a:pt x="378" y="32"/>
                  </a:lnTo>
                  <a:lnTo>
                    <a:pt x="395" y="23"/>
                  </a:lnTo>
                  <a:lnTo>
                    <a:pt x="414" y="14"/>
                  </a:lnTo>
                  <a:lnTo>
                    <a:pt x="432" y="8"/>
                  </a:lnTo>
                  <a:lnTo>
                    <a:pt x="450" y="3"/>
                  </a:lnTo>
                  <a:lnTo>
                    <a:pt x="468" y="1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4" name="Freeform 19"/>
            <p:cNvSpPr>
              <a:spLocks noChangeArrowheads="1"/>
            </p:cNvSpPr>
            <p:nvPr userDrawn="1"/>
          </p:nvSpPr>
          <p:spPr bwMode="auto">
            <a:xfrm>
              <a:off x="7151688" y="6265386"/>
              <a:ext cx="250825" cy="114574"/>
            </a:xfrm>
            <a:custGeom>
              <a:avLst/>
              <a:gdLst>
                <a:gd name="T0" fmla="*/ 258 w 555"/>
                <a:gd name="T1" fmla="*/ 2 h 215"/>
                <a:gd name="T2" fmla="*/ 268 w 555"/>
                <a:gd name="T3" fmla="*/ 1 h 215"/>
                <a:gd name="T4" fmla="*/ 278 w 555"/>
                <a:gd name="T5" fmla="*/ 0 h 215"/>
                <a:gd name="T6" fmla="*/ 296 w 555"/>
                <a:gd name="T7" fmla="*/ 0 h 215"/>
                <a:gd name="T8" fmla="*/ 313 w 555"/>
                <a:gd name="T9" fmla="*/ 1 h 215"/>
                <a:gd name="T10" fmla="*/ 331 w 555"/>
                <a:gd name="T11" fmla="*/ 4 h 215"/>
                <a:gd name="T12" fmla="*/ 348 w 555"/>
                <a:gd name="T13" fmla="*/ 9 h 215"/>
                <a:gd name="T14" fmla="*/ 366 w 555"/>
                <a:gd name="T15" fmla="*/ 15 h 215"/>
                <a:gd name="T16" fmla="*/ 383 w 555"/>
                <a:gd name="T17" fmla="*/ 24 h 215"/>
                <a:gd name="T18" fmla="*/ 401 w 555"/>
                <a:gd name="T19" fmla="*/ 34 h 215"/>
                <a:gd name="T20" fmla="*/ 417 w 555"/>
                <a:gd name="T21" fmla="*/ 45 h 215"/>
                <a:gd name="T22" fmla="*/ 434 w 555"/>
                <a:gd name="T23" fmla="*/ 58 h 215"/>
                <a:gd name="T24" fmla="*/ 450 w 555"/>
                <a:gd name="T25" fmla="*/ 74 h 215"/>
                <a:gd name="T26" fmla="*/ 467 w 555"/>
                <a:gd name="T27" fmla="*/ 90 h 215"/>
                <a:gd name="T28" fmla="*/ 482 w 555"/>
                <a:gd name="T29" fmla="*/ 108 h 215"/>
                <a:gd name="T30" fmla="*/ 498 w 555"/>
                <a:gd name="T31" fmla="*/ 127 h 215"/>
                <a:gd name="T32" fmla="*/ 513 w 555"/>
                <a:gd name="T33" fmla="*/ 148 h 215"/>
                <a:gd name="T34" fmla="*/ 529 w 555"/>
                <a:gd name="T35" fmla="*/ 170 h 215"/>
                <a:gd name="T36" fmla="*/ 543 w 555"/>
                <a:gd name="T37" fmla="*/ 192 h 215"/>
                <a:gd name="T38" fmla="*/ 555 w 555"/>
                <a:gd name="T39" fmla="*/ 215 h 215"/>
                <a:gd name="T40" fmla="*/ 351 w 555"/>
                <a:gd name="T41" fmla="*/ 215 h 215"/>
                <a:gd name="T42" fmla="*/ 342 w 555"/>
                <a:gd name="T43" fmla="*/ 205 h 215"/>
                <a:gd name="T44" fmla="*/ 334 w 555"/>
                <a:gd name="T45" fmla="*/ 195 h 215"/>
                <a:gd name="T46" fmla="*/ 326 w 555"/>
                <a:gd name="T47" fmla="*/ 187 h 215"/>
                <a:gd name="T48" fmla="*/ 318 w 555"/>
                <a:gd name="T49" fmla="*/ 181 h 215"/>
                <a:gd name="T50" fmla="*/ 310 w 555"/>
                <a:gd name="T51" fmla="*/ 176 h 215"/>
                <a:gd name="T52" fmla="*/ 303 w 555"/>
                <a:gd name="T53" fmla="*/ 173 h 215"/>
                <a:gd name="T54" fmla="*/ 297 w 555"/>
                <a:gd name="T55" fmla="*/ 171 h 215"/>
                <a:gd name="T56" fmla="*/ 291 w 555"/>
                <a:gd name="T57" fmla="*/ 171 h 215"/>
                <a:gd name="T58" fmla="*/ 291 w 555"/>
                <a:gd name="T59" fmla="*/ 170 h 215"/>
                <a:gd name="T60" fmla="*/ 281 w 555"/>
                <a:gd name="T61" fmla="*/ 172 h 215"/>
                <a:gd name="T62" fmla="*/ 272 w 555"/>
                <a:gd name="T63" fmla="*/ 173 h 215"/>
                <a:gd name="T64" fmla="*/ 266 w 555"/>
                <a:gd name="T65" fmla="*/ 173 h 215"/>
                <a:gd name="T66" fmla="*/ 265 w 555"/>
                <a:gd name="T67" fmla="*/ 173 h 215"/>
                <a:gd name="T68" fmla="*/ 257 w 555"/>
                <a:gd name="T69" fmla="*/ 175 h 215"/>
                <a:gd name="T70" fmla="*/ 248 w 555"/>
                <a:gd name="T71" fmla="*/ 177 h 215"/>
                <a:gd name="T72" fmla="*/ 240 w 555"/>
                <a:gd name="T73" fmla="*/ 181 h 215"/>
                <a:gd name="T74" fmla="*/ 232 w 555"/>
                <a:gd name="T75" fmla="*/ 185 h 215"/>
                <a:gd name="T76" fmla="*/ 224 w 555"/>
                <a:gd name="T77" fmla="*/ 191 h 215"/>
                <a:gd name="T78" fmla="*/ 215 w 555"/>
                <a:gd name="T79" fmla="*/ 199 h 215"/>
                <a:gd name="T80" fmla="*/ 207 w 555"/>
                <a:gd name="T81" fmla="*/ 206 h 215"/>
                <a:gd name="T82" fmla="*/ 199 w 555"/>
                <a:gd name="T83" fmla="*/ 215 h 215"/>
                <a:gd name="T84" fmla="*/ 0 w 555"/>
                <a:gd name="T85" fmla="*/ 215 h 215"/>
                <a:gd name="T86" fmla="*/ 13 w 555"/>
                <a:gd name="T87" fmla="*/ 192 h 215"/>
                <a:gd name="T88" fmla="*/ 25 w 555"/>
                <a:gd name="T89" fmla="*/ 170 h 215"/>
                <a:gd name="T90" fmla="*/ 37 w 555"/>
                <a:gd name="T91" fmla="*/ 149 h 215"/>
                <a:gd name="T92" fmla="*/ 52 w 555"/>
                <a:gd name="T93" fmla="*/ 129 h 215"/>
                <a:gd name="T94" fmla="*/ 65 w 555"/>
                <a:gd name="T95" fmla="*/ 111 h 215"/>
                <a:gd name="T96" fmla="*/ 79 w 555"/>
                <a:gd name="T97" fmla="*/ 94 h 215"/>
                <a:gd name="T98" fmla="*/ 95 w 555"/>
                <a:gd name="T99" fmla="*/ 79 h 215"/>
                <a:gd name="T100" fmla="*/ 110 w 555"/>
                <a:gd name="T101" fmla="*/ 64 h 215"/>
                <a:gd name="T102" fmla="*/ 127 w 555"/>
                <a:gd name="T103" fmla="*/ 51 h 215"/>
                <a:gd name="T104" fmla="*/ 143 w 555"/>
                <a:gd name="T105" fmla="*/ 40 h 215"/>
                <a:gd name="T106" fmla="*/ 160 w 555"/>
                <a:gd name="T107" fmla="*/ 29 h 215"/>
                <a:gd name="T108" fmla="*/ 177 w 555"/>
                <a:gd name="T109" fmla="*/ 21 h 215"/>
                <a:gd name="T110" fmla="*/ 196 w 555"/>
                <a:gd name="T111" fmla="*/ 14 h 215"/>
                <a:gd name="T112" fmla="*/ 214 w 555"/>
                <a:gd name="T113" fmla="*/ 9 h 215"/>
                <a:gd name="T114" fmla="*/ 233 w 555"/>
                <a:gd name="T115" fmla="*/ 5 h 215"/>
                <a:gd name="T116" fmla="*/ 252 w 555"/>
                <a:gd name="T117" fmla="*/ 3 h 215"/>
                <a:gd name="T118" fmla="*/ 258 w 555"/>
                <a:gd name="T119" fmla="*/ 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5" h="215">
                  <a:moveTo>
                    <a:pt x="258" y="2"/>
                  </a:moveTo>
                  <a:lnTo>
                    <a:pt x="268" y="1"/>
                  </a:lnTo>
                  <a:lnTo>
                    <a:pt x="278" y="0"/>
                  </a:lnTo>
                  <a:lnTo>
                    <a:pt x="296" y="0"/>
                  </a:lnTo>
                  <a:lnTo>
                    <a:pt x="313" y="1"/>
                  </a:lnTo>
                  <a:lnTo>
                    <a:pt x="331" y="4"/>
                  </a:lnTo>
                  <a:lnTo>
                    <a:pt x="348" y="9"/>
                  </a:lnTo>
                  <a:lnTo>
                    <a:pt x="366" y="15"/>
                  </a:lnTo>
                  <a:lnTo>
                    <a:pt x="383" y="24"/>
                  </a:lnTo>
                  <a:lnTo>
                    <a:pt x="401" y="34"/>
                  </a:lnTo>
                  <a:lnTo>
                    <a:pt x="417" y="45"/>
                  </a:lnTo>
                  <a:lnTo>
                    <a:pt x="434" y="58"/>
                  </a:lnTo>
                  <a:lnTo>
                    <a:pt x="450" y="74"/>
                  </a:lnTo>
                  <a:lnTo>
                    <a:pt x="467" y="90"/>
                  </a:lnTo>
                  <a:lnTo>
                    <a:pt x="482" y="108"/>
                  </a:lnTo>
                  <a:lnTo>
                    <a:pt x="498" y="127"/>
                  </a:lnTo>
                  <a:lnTo>
                    <a:pt x="513" y="148"/>
                  </a:lnTo>
                  <a:lnTo>
                    <a:pt x="529" y="170"/>
                  </a:lnTo>
                  <a:lnTo>
                    <a:pt x="543" y="192"/>
                  </a:lnTo>
                  <a:lnTo>
                    <a:pt x="555" y="215"/>
                  </a:lnTo>
                  <a:lnTo>
                    <a:pt x="351" y="215"/>
                  </a:lnTo>
                  <a:lnTo>
                    <a:pt x="342" y="205"/>
                  </a:lnTo>
                  <a:lnTo>
                    <a:pt x="334" y="195"/>
                  </a:lnTo>
                  <a:lnTo>
                    <a:pt x="326" y="187"/>
                  </a:lnTo>
                  <a:lnTo>
                    <a:pt x="318" y="181"/>
                  </a:lnTo>
                  <a:lnTo>
                    <a:pt x="310" y="176"/>
                  </a:lnTo>
                  <a:lnTo>
                    <a:pt x="303" y="173"/>
                  </a:lnTo>
                  <a:lnTo>
                    <a:pt x="297" y="171"/>
                  </a:lnTo>
                  <a:lnTo>
                    <a:pt x="291" y="171"/>
                  </a:lnTo>
                  <a:lnTo>
                    <a:pt x="291" y="170"/>
                  </a:lnTo>
                  <a:lnTo>
                    <a:pt x="281" y="172"/>
                  </a:lnTo>
                  <a:lnTo>
                    <a:pt x="272" y="173"/>
                  </a:lnTo>
                  <a:lnTo>
                    <a:pt x="266" y="173"/>
                  </a:lnTo>
                  <a:lnTo>
                    <a:pt x="265" y="173"/>
                  </a:lnTo>
                  <a:lnTo>
                    <a:pt x="257" y="175"/>
                  </a:lnTo>
                  <a:lnTo>
                    <a:pt x="248" y="177"/>
                  </a:lnTo>
                  <a:lnTo>
                    <a:pt x="240" y="181"/>
                  </a:lnTo>
                  <a:lnTo>
                    <a:pt x="232" y="185"/>
                  </a:lnTo>
                  <a:lnTo>
                    <a:pt x="224" y="191"/>
                  </a:lnTo>
                  <a:lnTo>
                    <a:pt x="215" y="199"/>
                  </a:lnTo>
                  <a:lnTo>
                    <a:pt x="207" y="206"/>
                  </a:lnTo>
                  <a:lnTo>
                    <a:pt x="199" y="215"/>
                  </a:lnTo>
                  <a:lnTo>
                    <a:pt x="0" y="215"/>
                  </a:lnTo>
                  <a:lnTo>
                    <a:pt x="13" y="192"/>
                  </a:lnTo>
                  <a:lnTo>
                    <a:pt x="25" y="170"/>
                  </a:lnTo>
                  <a:lnTo>
                    <a:pt x="37" y="149"/>
                  </a:lnTo>
                  <a:lnTo>
                    <a:pt x="52" y="129"/>
                  </a:lnTo>
                  <a:lnTo>
                    <a:pt x="65" y="111"/>
                  </a:lnTo>
                  <a:lnTo>
                    <a:pt x="79" y="94"/>
                  </a:lnTo>
                  <a:lnTo>
                    <a:pt x="95" y="79"/>
                  </a:lnTo>
                  <a:lnTo>
                    <a:pt x="110" y="64"/>
                  </a:lnTo>
                  <a:lnTo>
                    <a:pt x="127" y="51"/>
                  </a:lnTo>
                  <a:lnTo>
                    <a:pt x="143" y="40"/>
                  </a:lnTo>
                  <a:lnTo>
                    <a:pt x="160" y="29"/>
                  </a:lnTo>
                  <a:lnTo>
                    <a:pt x="177" y="21"/>
                  </a:lnTo>
                  <a:lnTo>
                    <a:pt x="196" y="14"/>
                  </a:lnTo>
                  <a:lnTo>
                    <a:pt x="214" y="9"/>
                  </a:lnTo>
                  <a:lnTo>
                    <a:pt x="233" y="5"/>
                  </a:lnTo>
                  <a:lnTo>
                    <a:pt x="252" y="3"/>
                  </a:lnTo>
                  <a:lnTo>
                    <a:pt x="258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5" name="Freeform 20"/>
            <p:cNvSpPr>
              <a:spLocks noChangeArrowheads="1"/>
            </p:cNvSpPr>
            <p:nvPr userDrawn="1"/>
          </p:nvSpPr>
          <p:spPr bwMode="auto">
            <a:xfrm>
              <a:off x="7194550" y="6310141"/>
              <a:ext cx="157163" cy="69819"/>
            </a:xfrm>
            <a:custGeom>
              <a:avLst/>
              <a:gdLst>
                <a:gd name="T0" fmla="*/ 173 w 358"/>
                <a:gd name="T1" fmla="*/ 2 h 130"/>
                <a:gd name="T2" fmla="*/ 184 w 358"/>
                <a:gd name="T3" fmla="*/ 0 h 130"/>
                <a:gd name="T4" fmla="*/ 196 w 358"/>
                <a:gd name="T5" fmla="*/ 0 h 130"/>
                <a:gd name="T6" fmla="*/ 207 w 358"/>
                <a:gd name="T7" fmla="*/ 1 h 130"/>
                <a:gd name="T8" fmla="*/ 218 w 358"/>
                <a:gd name="T9" fmla="*/ 3 h 130"/>
                <a:gd name="T10" fmla="*/ 230 w 358"/>
                <a:gd name="T11" fmla="*/ 6 h 130"/>
                <a:gd name="T12" fmla="*/ 242 w 358"/>
                <a:gd name="T13" fmla="*/ 11 h 130"/>
                <a:gd name="T14" fmla="*/ 253 w 358"/>
                <a:gd name="T15" fmla="*/ 18 h 130"/>
                <a:gd name="T16" fmla="*/ 265 w 358"/>
                <a:gd name="T17" fmla="*/ 26 h 130"/>
                <a:gd name="T18" fmla="*/ 277 w 358"/>
                <a:gd name="T19" fmla="*/ 34 h 130"/>
                <a:gd name="T20" fmla="*/ 288 w 358"/>
                <a:gd name="T21" fmla="*/ 44 h 130"/>
                <a:gd name="T22" fmla="*/ 301 w 358"/>
                <a:gd name="T23" fmla="*/ 56 h 130"/>
                <a:gd name="T24" fmla="*/ 312 w 358"/>
                <a:gd name="T25" fmla="*/ 68 h 130"/>
                <a:gd name="T26" fmla="*/ 323 w 358"/>
                <a:gd name="T27" fmla="*/ 83 h 130"/>
                <a:gd name="T28" fmla="*/ 336 w 358"/>
                <a:gd name="T29" fmla="*/ 97 h 130"/>
                <a:gd name="T30" fmla="*/ 347 w 358"/>
                <a:gd name="T31" fmla="*/ 114 h 130"/>
                <a:gd name="T32" fmla="*/ 358 w 358"/>
                <a:gd name="T33" fmla="*/ 130 h 130"/>
                <a:gd name="T34" fmla="*/ 0 w 358"/>
                <a:gd name="T35" fmla="*/ 130 h 130"/>
                <a:gd name="T36" fmla="*/ 9 w 358"/>
                <a:gd name="T37" fmla="*/ 116 h 130"/>
                <a:gd name="T38" fmla="*/ 19 w 358"/>
                <a:gd name="T39" fmla="*/ 101 h 130"/>
                <a:gd name="T40" fmla="*/ 28 w 358"/>
                <a:gd name="T41" fmla="*/ 88 h 130"/>
                <a:gd name="T42" fmla="*/ 38 w 358"/>
                <a:gd name="T43" fmla="*/ 76 h 130"/>
                <a:gd name="T44" fmla="*/ 47 w 358"/>
                <a:gd name="T45" fmla="*/ 65 h 130"/>
                <a:gd name="T46" fmla="*/ 58 w 358"/>
                <a:gd name="T47" fmla="*/ 54 h 130"/>
                <a:gd name="T48" fmla="*/ 68 w 358"/>
                <a:gd name="T49" fmla="*/ 44 h 130"/>
                <a:gd name="T50" fmla="*/ 79 w 358"/>
                <a:gd name="T51" fmla="*/ 36 h 130"/>
                <a:gd name="T52" fmla="*/ 90 w 358"/>
                <a:gd name="T53" fmla="*/ 28 h 130"/>
                <a:gd name="T54" fmla="*/ 101 w 358"/>
                <a:gd name="T55" fmla="*/ 22 h 130"/>
                <a:gd name="T56" fmla="*/ 112 w 358"/>
                <a:gd name="T57" fmla="*/ 16 h 130"/>
                <a:gd name="T58" fmla="*/ 125 w 358"/>
                <a:gd name="T59" fmla="*/ 11 h 130"/>
                <a:gd name="T60" fmla="*/ 136 w 358"/>
                <a:gd name="T61" fmla="*/ 7 h 130"/>
                <a:gd name="T62" fmla="*/ 148 w 358"/>
                <a:gd name="T63" fmla="*/ 4 h 130"/>
                <a:gd name="T64" fmla="*/ 161 w 358"/>
                <a:gd name="T65" fmla="*/ 3 h 130"/>
                <a:gd name="T66" fmla="*/ 173 w 358"/>
                <a:gd name="T67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8" h="130">
                  <a:moveTo>
                    <a:pt x="173" y="2"/>
                  </a:moveTo>
                  <a:lnTo>
                    <a:pt x="184" y="0"/>
                  </a:lnTo>
                  <a:lnTo>
                    <a:pt x="196" y="0"/>
                  </a:lnTo>
                  <a:lnTo>
                    <a:pt x="207" y="1"/>
                  </a:lnTo>
                  <a:lnTo>
                    <a:pt x="218" y="3"/>
                  </a:lnTo>
                  <a:lnTo>
                    <a:pt x="230" y="6"/>
                  </a:lnTo>
                  <a:lnTo>
                    <a:pt x="242" y="11"/>
                  </a:lnTo>
                  <a:lnTo>
                    <a:pt x="253" y="18"/>
                  </a:lnTo>
                  <a:lnTo>
                    <a:pt x="265" y="26"/>
                  </a:lnTo>
                  <a:lnTo>
                    <a:pt x="277" y="34"/>
                  </a:lnTo>
                  <a:lnTo>
                    <a:pt x="288" y="44"/>
                  </a:lnTo>
                  <a:lnTo>
                    <a:pt x="301" y="56"/>
                  </a:lnTo>
                  <a:lnTo>
                    <a:pt x="312" y="68"/>
                  </a:lnTo>
                  <a:lnTo>
                    <a:pt x="323" y="83"/>
                  </a:lnTo>
                  <a:lnTo>
                    <a:pt x="336" y="97"/>
                  </a:lnTo>
                  <a:lnTo>
                    <a:pt x="347" y="114"/>
                  </a:lnTo>
                  <a:lnTo>
                    <a:pt x="358" y="130"/>
                  </a:lnTo>
                  <a:lnTo>
                    <a:pt x="0" y="130"/>
                  </a:lnTo>
                  <a:lnTo>
                    <a:pt x="9" y="116"/>
                  </a:lnTo>
                  <a:lnTo>
                    <a:pt x="19" y="101"/>
                  </a:lnTo>
                  <a:lnTo>
                    <a:pt x="28" y="88"/>
                  </a:lnTo>
                  <a:lnTo>
                    <a:pt x="38" y="76"/>
                  </a:lnTo>
                  <a:lnTo>
                    <a:pt x="47" y="65"/>
                  </a:lnTo>
                  <a:lnTo>
                    <a:pt x="58" y="54"/>
                  </a:lnTo>
                  <a:lnTo>
                    <a:pt x="68" y="44"/>
                  </a:lnTo>
                  <a:lnTo>
                    <a:pt x="79" y="36"/>
                  </a:lnTo>
                  <a:lnTo>
                    <a:pt x="90" y="28"/>
                  </a:lnTo>
                  <a:lnTo>
                    <a:pt x="101" y="22"/>
                  </a:lnTo>
                  <a:lnTo>
                    <a:pt x="112" y="16"/>
                  </a:lnTo>
                  <a:lnTo>
                    <a:pt x="125" y="11"/>
                  </a:lnTo>
                  <a:lnTo>
                    <a:pt x="136" y="7"/>
                  </a:lnTo>
                  <a:lnTo>
                    <a:pt x="148" y="4"/>
                  </a:lnTo>
                  <a:lnTo>
                    <a:pt x="161" y="3"/>
                  </a:lnTo>
                  <a:lnTo>
                    <a:pt x="173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6" name="Freeform 21"/>
            <p:cNvSpPr>
              <a:spLocks noChangeArrowheads="1"/>
            </p:cNvSpPr>
            <p:nvPr userDrawn="1"/>
          </p:nvSpPr>
          <p:spPr bwMode="auto">
            <a:xfrm>
              <a:off x="8051800" y="6336995"/>
              <a:ext cx="100013" cy="44755"/>
            </a:xfrm>
            <a:custGeom>
              <a:avLst/>
              <a:gdLst>
                <a:gd name="T0" fmla="*/ 228 w 228"/>
                <a:gd name="T1" fmla="*/ 74 h 74"/>
                <a:gd name="T2" fmla="*/ 0 w 228"/>
                <a:gd name="T3" fmla="*/ 74 h 74"/>
                <a:gd name="T4" fmla="*/ 30 w 228"/>
                <a:gd name="T5" fmla="*/ 63 h 74"/>
                <a:gd name="T6" fmla="*/ 59 w 228"/>
                <a:gd name="T7" fmla="*/ 52 h 74"/>
                <a:gd name="T8" fmla="*/ 88 w 228"/>
                <a:gd name="T9" fmla="*/ 42 h 74"/>
                <a:gd name="T10" fmla="*/ 117 w 228"/>
                <a:gd name="T11" fmla="*/ 33 h 74"/>
                <a:gd name="T12" fmla="*/ 145 w 228"/>
                <a:gd name="T13" fmla="*/ 23 h 74"/>
                <a:gd name="T14" fmla="*/ 173 w 228"/>
                <a:gd name="T15" fmla="*/ 15 h 74"/>
                <a:gd name="T16" fmla="*/ 200 w 228"/>
                <a:gd name="T17" fmla="*/ 8 h 74"/>
                <a:gd name="T18" fmla="*/ 228 w 228"/>
                <a:gd name="T19" fmla="*/ 0 h 74"/>
                <a:gd name="T20" fmla="*/ 228 w 228"/>
                <a:gd name="T2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74">
                  <a:moveTo>
                    <a:pt x="228" y="74"/>
                  </a:moveTo>
                  <a:lnTo>
                    <a:pt x="0" y="74"/>
                  </a:lnTo>
                  <a:lnTo>
                    <a:pt x="30" y="63"/>
                  </a:lnTo>
                  <a:lnTo>
                    <a:pt x="59" y="52"/>
                  </a:lnTo>
                  <a:lnTo>
                    <a:pt x="88" y="42"/>
                  </a:lnTo>
                  <a:lnTo>
                    <a:pt x="117" y="33"/>
                  </a:lnTo>
                  <a:lnTo>
                    <a:pt x="145" y="23"/>
                  </a:lnTo>
                  <a:lnTo>
                    <a:pt x="173" y="15"/>
                  </a:lnTo>
                  <a:lnTo>
                    <a:pt x="200" y="8"/>
                  </a:lnTo>
                  <a:lnTo>
                    <a:pt x="228" y="0"/>
                  </a:lnTo>
                  <a:lnTo>
                    <a:pt x="228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7" name="Freeform 22"/>
            <p:cNvSpPr>
              <a:spLocks noChangeArrowheads="1"/>
            </p:cNvSpPr>
            <p:nvPr userDrawn="1"/>
          </p:nvSpPr>
          <p:spPr bwMode="auto">
            <a:xfrm>
              <a:off x="7410450" y="5998642"/>
              <a:ext cx="460375" cy="381318"/>
            </a:xfrm>
            <a:custGeom>
              <a:avLst/>
              <a:gdLst>
                <a:gd name="T0" fmla="*/ 841 w 1025"/>
                <a:gd name="T1" fmla="*/ 25 h 689"/>
                <a:gd name="T2" fmla="*/ 878 w 1025"/>
                <a:gd name="T3" fmla="*/ 55 h 689"/>
                <a:gd name="T4" fmla="*/ 912 w 1025"/>
                <a:gd name="T5" fmla="*/ 92 h 689"/>
                <a:gd name="T6" fmla="*/ 940 w 1025"/>
                <a:gd name="T7" fmla="*/ 137 h 689"/>
                <a:gd name="T8" fmla="*/ 966 w 1025"/>
                <a:gd name="T9" fmla="*/ 189 h 689"/>
                <a:gd name="T10" fmla="*/ 987 w 1025"/>
                <a:gd name="T11" fmla="*/ 248 h 689"/>
                <a:gd name="T12" fmla="*/ 1003 w 1025"/>
                <a:gd name="T13" fmla="*/ 312 h 689"/>
                <a:gd name="T14" fmla="*/ 1015 w 1025"/>
                <a:gd name="T15" fmla="*/ 382 h 689"/>
                <a:gd name="T16" fmla="*/ 1022 w 1025"/>
                <a:gd name="T17" fmla="*/ 458 h 689"/>
                <a:gd name="T18" fmla="*/ 1024 w 1025"/>
                <a:gd name="T19" fmla="*/ 494 h 689"/>
                <a:gd name="T20" fmla="*/ 1025 w 1025"/>
                <a:gd name="T21" fmla="*/ 531 h 689"/>
                <a:gd name="T22" fmla="*/ 1024 w 1025"/>
                <a:gd name="T23" fmla="*/ 570 h 689"/>
                <a:gd name="T24" fmla="*/ 1024 w 1025"/>
                <a:gd name="T25" fmla="*/ 611 h 689"/>
                <a:gd name="T26" fmla="*/ 1022 w 1025"/>
                <a:gd name="T27" fmla="*/ 649 h 689"/>
                <a:gd name="T28" fmla="*/ 1019 w 1025"/>
                <a:gd name="T29" fmla="*/ 689 h 689"/>
                <a:gd name="T30" fmla="*/ 849 w 1025"/>
                <a:gd name="T31" fmla="*/ 667 h 689"/>
                <a:gd name="T32" fmla="*/ 852 w 1025"/>
                <a:gd name="T33" fmla="*/ 624 h 689"/>
                <a:gd name="T34" fmla="*/ 854 w 1025"/>
                <a:gd name="T35" fmla="*/ 568 h 689"/>
                <a:gd name="T36" fmla="*/ 853 w 1025"/>
                <a:gd name="T37" fmla="*/ 500 h 689"/>
                <a:gd name="T38" fmla="*/ 850 w 1025"/>
                <a:gd name="T39" fmla="*/ 441 h 689"/>
                <a:gd name="T40" fmla="*/ 844 w 1025"/>
                <a:gd name="T41" fmla="*/ 388 h 689"/>
                <a:gd name="T42" fmla="*/ 835 w 1025"/>
                <a:gd name="T43" fmla="*/ 341 h 689"/>
                <a:gd name="T44" fmla="*/ 825 w 1025"/>
                <a:gd name="T45" fmla="*/ 297 h 689"/>
                <a:gd name="T46" fmla="*/ 813 w 1025"/>
                <a:gd name="T47" fmla="*/ 259 h 689"/>
                <a:gd name="T48" fmla="*/ 797 w 1025"/>
                <a:gd name="T49" fmla="*/ 227 h 689"/>
                <a:gd name="T50" fmla="*/ 781 w 1025"/>
                <a:gd name="T51" fmla="*/ 200 h 689"/>
                <a:gd name="T52" fmla="*/ 762 w 1025"/>
                <a:gd name="T53" fmla="*/ 180 h 689"/>
                <a:gd name="T54" fmla="*/ 741 w 1025"/>
                <a:gd name="T55" fmla="*/ 168 h 689"/>
                <a:gd name="T56" fmla="*/ 717 w 1025"/>
                <a:gd name="T57" fmla="*/ 167 h 689"/>
                <a:gd name="T58" fmla="*/ 691 w 1025"/>
                <a:gd name="T59" fmla="*/ 173 h 689"/>
                <a:gd name="T60" fmla="*/ 663 w 1025"/>
                <a:gd name="T61" fmla="*/ 182 h 689"/>
                <a:gd name="T62" fmla="*/ 634 w 1025"/>
                <a:gd name="T63" fmla="*/ 197 h 689"/>
                <a:gd name="T64" fmla="*/ 603 w 1025"/>
                <a:gd name="T65" fmla="*/ 217 h 689"/>
                <a:gd name="T66" fmla="*/ 569 w 1025"/>
                <a:gd name="T67" fmla="*/ 242 h 689"/>
                <a:gd name="T68" fmla="*/ 535 w 1025"/>
                <a:gd name="T69" fmla="*/ 270 h 689"/>
                <a:gd name="T70" fmla="*/ 499 w 1025"/>
                <a:gd name="T71" fmla="*/ 304 h 689"/>
                <a:gd name="T72" fmla="*/ 462 w 1025"/>
                <a:gd name="T73" fmla="*/ 344 h 689"/>
                <a:gd name="T74" fmla="*/ 404 w 1025"/>
                <a:gd name="T75" fmla="*/ 409 h 689"/>
                <a:gd name="T76" fmla="*/ 325 w 1025"/>
                <a:gd name="T77" fmla="*/ 509 h 689"/>
                <a:gd name="T78" fmla="*/ 243 w 1025"/>
                <a:gd name="T79" fmla="*/ 624 h 689"/>
                <a:gd name="T80" fmla="*/ 201 w 1025"/>
                <a:gd name="T81" fmla="*/ 689 h 689"/>
                <a:gd name="T82" fmla="*/ 15 w 1025"/>
                <a:gd name="T83" fmla="*/ 664 h 689"/>
                <a:gd name="T84" fmla="*/ 44 w 1025"/>
                <a:gd name="T85" fmla="*/ 617 h 689"/>
                <a:gd name="T86" fmla="*/ 84 w 1025"/>
                <a:gd name="T87" fmla="*/ 555 h 689"/>
                <a:gd name="T88" fmla="*/ 134 w 1025"/>
                <a:gd name="T89" fmla="*/ 481 h 689"/>
                <a:gd name="T90" fmla="*/ 185 w 1025"/>
                <a:gd name="T91" fmla="*/ 412 h 689"/>
                <a:gd name="T92" fmla="*/ 238 w 1025"/>
                <a:gd name="T93" fmla="*/ 347 h 689"/>
                <a:gd name="T94" fmla="*/ 290 w 1025"/>
                <a:gd name="T95" fmla="*/ 287 h 689"/>
                <a:gd name="T96" fmla="*/ 341 w 1025"/>
                <a:gd name="T97" fmla="*/ 232 h 689"/>
                <a:gd name="T98" fmla="*/ 393 w 1025"/>
                <a:gd name="T99" fmla="*/ 182 h 689"/>
                <a:gd name="T100" fmla="*/ 443 w 1025"/>
                <a:gd name="T101" fmla="*/ 139 h 689"/>
                <a:gd name="T102" fmla="*/ 492 w 1025"/>
                <a:gd name="T103" fmla="*/ 100 h 689"/>
                <a:gd name="T104" fmla="*/ 542 w 1025"/>
                <a:gd name="T105" fmla="*/ 67 h 689"/>
                <a:gd name="T106" fmla="*/ 589 w 1025"/>
                <a:gd name="T107" fmla="*/ 42 h 689"/>
                <a:gd name="T108" fmla="*/ 636 w 1025"/>
                <a:gd name="T109" fmla="*/ 21 h 689"/>
                <a:gd name="T110" fmla="*/ 681 w 1025"/>
                <a:gd name="T111" fmla="*/ 8 h 689"/>
                <a:gd name="T112" fmla="*/ 723 w 1025"/>
                <a:gd name="T113" fmla="*/ 1 h 689"/>
                <a:gd name="T114" fmla="*/ 764 w 1025"/>
                <a:gd name="T115" fmla="*/ 1 h 689"/>
                <a:gd name="T116" fmla="*/ 802 w 1025"/>
                <a:gd name="T117" fmla="*/ 9 h 689"/>
                <a:gd name="T118" fmla="*/ 829 w 1025"/>
                <a:gd name="T119" fmla="*/ 18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5" h="689">
                  <a:moveTo>
                    <a:pt x="837" y="23"/>
                  </a:moveTo>
                  <a:lnTo>
                    <a:pt x="841" y="25"/>
                  </a:lnTo>
                  <a:lnTo>
                    <a:pt x="859" y="39"/>
                  </a:lnTo>
                  <a:lnTo>
                    <a:pt x="878" y="55"/>
                  </a:lnTo>
                  <a:lnTo>
                    <a:pt x="895" y="73"/>
                  </a:lnTo>
                  <a:lnTo>
                    <a:pt x="912" y="92"/>
                  </a:lnTo>
                  <a:lnTo>
                    <a:pt x="927" y="114"/>
                  </a:lnTo>
                  <a:lnTo>
                    <a:pt x="940" y="137"/>
                  </a:lnTo>
                  <a:lnTo>
                    <a:pt x="954" y="162"/>
                  </a:lnTo>
                  <a:lnTo>
                    <a:pt x="966" y="189"/>
                  </a:lnTo>
                  <a:lnTo>
                    <a:pt x="977" y="218"/>
                  </a:lnTo>
                  <a:lnTo>
                    <a:pt x="987" y="248"/>
                  </a:lnTo>
                  <a:lnTo>
                    <a:pt x="995" y="279"/>
                  </a:lnTo>
                  <a:lnTo>
                    <a:pt x="1003" y="312"/>
                  </a:lnTo>
                  <a:lnTo>
                    <a:pt x="1009" y="347"/>
                  </a:lnTo>
                  <a:lnTo>
                    <a:pt x="1015" y="382"/>
                  </a:lnTo>
                  <a:lnTo>
                    <a:pt x="1019" y="420"/>
                  </a:lnTo>
                  <a:lnTo>
                    <a:pt x="1022" y="458"/>
                  </a:lnTo>
                  <a:lnTo>
                    <a:pt x="1023" y="476"/>
                  </a:lnTo>
                  <a:lnTo>
                    <a:pt x="1024" y="494"/>
                  </a:lnTo>
                  <a:lnTo>
                    <a:pt x="1024" y="513"/>
                  </a:lnTo>
                  <a:lnTo>
                    <a:pt x="1025" y="531"/>
                  </a:lnTo>
                  <a:lnTo>
                    <a:pt x="1025" y="551"/>
                  </a:lnTo>
                  <a:lnTo>
                    <a:pt x="1024" y="570"/>
                  </a:lnTo>
                  <a:lnTo>
                    <a:pt x="1024" y="590"/>
                  </a:lnTo>
                  <a:lnTo>
                    <a:pt x="1024" y="611"/>
                  </a:lnTo>
                  <a:lnTo>
                    <a:pt x="1023" y="629"/>
                  </a:lnTo>
                  <a:lnTo>
                    <a:pt x="1022" y="649"/>
                  </a:lnTo>
                  <a:lnTo>
                    <a:pt x="1020" y="669"/>
                  </a:lnTo>
                  <a:lnTo>
                    <a:pt x="1019" y="689"/>
                  </a:lnTo>
                  <a:lnTo>
                    <a:pt x="847" y="689"/>
                  </a:lnTo>
                  <a:lnTo>
                    <a:pt x="849" y="667"/>
                  </a:lnTo>
                  <a:lnTo>
                    <a:pt x="851" y="646"/>
                  </a:lnTo>
                  <a:lnTo>
                    <a:pt x="852" y="624"/>
                  </a:lnTo>
                  <a:lnTo>
                    <a:pt x="853" y="603"/>
                  </a:lnTo>
                  <a:lnTo>
                    <a:pt x="854" y="568"/>
                  </a:lnTo>
                  <a:lnTo>
                    <a:pt x="854" y="534"/>
                  </a:lnTo>
                  <a:lnTo>
                    <a:pt x="853" y="500"/>
                  </a:lnTo>
                  <a:lnTo>
                    <a:pt x="852" y="468"/>
                  </a:lnTo>
                  <a:lnTo>
                    <a:pt x="850" y="441"/>
                  </a:lnTo>
                  <a:lnTo>
                    <a:pt x="847" y="414"/>
                  </a:lnTo>
                  <a:lnTo>
                    <a:pt x="844" y="388"/>
                  </a:lnTo>
                  <a:lnTo>
                    <a:pt x="840" y="363"/>
                  </a:lnTo>
                  <a:lnTo>
                    <a:pt x="835" y="341"/>
                  </a:lnTo>
                  <a:lnTo>
                    <a:pt x="830" y="318"/>
                  </a:lnTo>
                  <a:lnTo>
                    <a:pt x="825" y="297"/>
                  </a:lnTo>
                  <a:lnTo>
                    <a:pt x="819" y="278"/>
                  </a:lnTo>
                  <a:lnTo>
                    <a:pt x="813" y="259"/>
                  </a:lnTo>
                  <a:lnTo>
                    <a:pt x="806" y="243"/>
                  </a:lnTo>
                  <a:lnTo>
                    <a:pt x="797" y="227"/>
                  </a:lnTo>
                  <a:lnTo>
                    <a:pt x="790" y="213"/>
                  </a:lnTo>
                  <a:lnTo>
                    <a:pt x="781" y="200"/>
                  </a:lnTo>
                  <a:lnTo>
                    <a:pt x="772" y="189"/>
                  </a:lnTo>
                  <a:lnTo>
                    <a:pt x="762" y="180"/>
                  </a:lnTo>
                  <a:lnTo>
                    <a:pt x="752" y="172"/>
                  </a:lnTo>
                  <a:lnTo>
                    <a:pt x="741" y="168"/>
                  </a:lnTo>
                  <a:lnTo>
                    <a:pt x="729" y="167"/>
                  </a:lnTo>
                  <a:lnTo>
                    <a:pt x="717" y="167"/>
                  </a:lnTo>
                  <a:lnTo>
                    <a:pt x="705" y="169"/>
                  </a:lnTo>
                  <a:lnTo>
                    <a:pt x="691" y="173"/>
                  </a:lnTo>
                  <a:lnTo>
                    <a:pt x="678" y="177"/>
                  </a:lnTo>
                  <a:lnTo>
                    <a:pt x="663" y="182"/>
                  </a:lnTo>
                  <a:lnTo>
                    <a:pt x="649" y="189"/>
                  </a:lnTo>
                  <a:lnTo>
                    <a:pt x="634" y="197"/>
                  </a:lnTo>
                  <a:lnTo>
                    <a:pt x="618" y="207"/>
                  </a:lnTo>
                  <a:lnTo>
                    <a:pt x="603" y="217"/>
                  </a:lnTo>
                  <a:lnTo>
                    <a:pt x="586" y="228"/>
                  </a:lnTo>
                  <a:lnTo>
                    <a:pt x="569" y="242"/>
                  </a:lnTo>
                  <a:lnTo>
                    <a:pt x="552" y="256"/>
                  </a:lnTo>
                  <a:lnTo>
                    <a:pt x="535" y="270"/>
                  </a:lnTo>
                  <a:lnTo>
                    <a:pt x="516" y="287"/>
                  </a:lnTo>
                  <a:lnTo>
                    <a:pt x="499" y="304"/>
                  </a:lnTo>
                  <a:lnTo>
                    <a:pt x="480" y="323"/>
                  </a:lnTo>
                  <a:lnTo>
                    <a:pt x="462" y="344"/>
                  </a:lnTo>
                  <a:lnTo>
                    <a:pt x="442" y="364"/>
                  </a:lnTo>
                  <a:lnTo>
                    <a:pt x="404" y="409"/>
                  </a:lnTo>
                  <a:lnTo>
                    <a:pt x="365" y="457"/>
                  </a:lnTo>
                  <a:lnTo>
                    <a:pt x="325" y="509"/>
                  </a:lnTo>
                  <a:lnTo>
                    <a:pt x="284" y="564"/>
                  </a:lnTo>
                  <a:lnTo>
                    <a:pt x="243" y="624"/>
                  </a:lnTo>
                  <a:lnTo>
                    <a:pt x="202" y="686"/>
                  </a:lnTo>
                  <a:lnTo>
                    <a:pt x="201" y="689"/>
                  </a:lnTo>
                  <a:lnTo>
                    <a:pt x="0" y="689"/>
                  </a:lnTo>
                  <a:lnTo>
                    <a:pt x="15" y="664"/>
                  </a:lnTo>
                  <a:lnTo>
                    <a:pt x="29" y="641"/>
                  </a:lnTo>
                  <a:lnTo>
                    <a:pt x="44" y="617"/>
                  </a:lnTo>
                  <a:lnTo>
                    <a:pt x="59" y="594"/>
                  </a:lnTo>
                  <a:lnTo>
                    <a:pt x="84" y="555"/>
                  </a:lnTo>
                  <a:lnTo>
                    <a:pt x="109" y="518"/>
                  </a:lnTo>
                  <a:lnTo>
                    <a:pt x="134" y="481"/>
                  </a:lnTo>
                  <a:lnTo>
                    <a:pt x="160" y="446"/>
                  </a:lnTo>
                  <a:lnTo>
                    <a:pt x="185" y="412"/>
                  </a:lnTo>
                  <a:lnTo>
                    <a:pt x="211" y="379"/>
                  </a:lnTo>
                  <a:lnTo>
                    <a:pt x="238" y="347"/>
                  </a:lnTo>
                  <a:lnTo>
                    <a:pt x="264" y="316"/>
                  </a:lnTo>
                  <a:lnTo>
                    <a:pt x="290" y="287"/>
                  </a:lnTo>
                  <a:lnTo>
                    <a:pt x="315" y="259"/>
                  </a:lnTo>
                  <a:lnTo>
                    <a:pt x="341" y="232"/>
                  </a:lnTo>
                  <a:lnTo>
                    <a:pt x="367" y="207"/>
                  </a:lnTo>
                  <a:lnTo>
                    <a:pt x="393" y="182"/>
                  </a:lnTo>
                  <a:lnTo>
                    <a:pt x="417" y="159"/>
                  </a:lnTo>
                  <a:lnTo>
                    <a:pt x="443" y="139"/>
                  </a:lnTo>
                  <a:lnTo>
                    <a:pt x="468" y="118"/>
                  </a:lnTo>
                  <a:lnTo>
                    <a:pt x="492" y="100"/>
                  </a:lnTo>
                  <a:lnTo>
                    <a:pt x="517" y="83"/>
                  </a:lnTo>
                  <a:lnTo>
                    <a:pt x="542" y="67"/>
                  </a:lnTo>
                  <a:lnTo>
                    <a:pt x="566" y="54"/>
                  </a:lnTo>
                  <a:lnTo>
                    <a:pt x="589" y="42"/>
                  </a:lnTo>
                  <a:lnTo>
                    <a:pt x="613" y="30"/>
                  </a:lnTo>
                  <a:lnTo>
                    <a:pt x="636" y="21"/>
                  </a:lnTo>
                  <a:lnTo>
                    <a:pt x="658" y="14"/>
                  </a:lnTo>
                  <a:lnTo>
                    <a:pt x="681" y="8"/>
                  </a:lnTo>
                  <a:lnTo>
                    <a:pt x="703" y="3"/>
                  </a:lnTo>
                  <a:lnTo>
                    <a:pt x="723" y="1"/>
                  </a:lnTo>
                  <a:lnTo>
                    <a:pt x="744" y="0"/>
                  </a:lnTo>
                  <a:lnTo>
                    <a:pt x="764" y="1"/>
                  </a:lnTo>
                  <a:lnTo>
                    <a:pt x="784" y="3"/>
                  </a:lnTo>
                  <a:lnTo>
                    <a:pt x="802" y="9"/>
                  </a:lnTo>
                  <a:lnTo>
                    <a:pt x="821" y="15"/>
                  </a:lnTo>
                  <a:lnTo>
                    <a:pt x="829" y="18"/>
                  </a:lnTo>
                  <a:lnTo>
                    <a:pt x="837" y="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8" name="Freeform 23"/>
            <p:cNvSpPr>
              <a:spLocks noChangeArrowheads="1"/>
            </p:cNvSpPr>
            <p:nvPr userDrawn="1"/>
          </p:nvSpPr>
          <p:spPr bwMode="auto">
            <a:xfrm>
              <a:off x="7453313" y="6043398"/>
              <a:ext cx="381000" cy="336562"/>
            </a:xfrm>
            <a:custGeom>
              <a:avLst/>
              <a:gdLst>
                <a:gd name="T0" fmla="*/ 689 w 838"/>
                <a:gd name="T1" fmla="*/ 10 h 605"/>
                <a:gd name="T2" fmla="*/ 700 w 838"/>
                <a:gd name="T3" fmla="*/ 17 h 605"/>
                <a:gd name="T4" fmla="*/ 711 w 838"/>
                <a:gd name="T5" fmla="*/ 25 h 605"/>
                <a:gd name="T6" fmla="*/ 720 w 838"/>
                <a:gd name="T7" fmla="*/ 34 h 605"/>
                <a:gd name="T8" fmla="*/ 730 w 838"/>
                <a:gd name="T9" fmla="*/ 43 h 605"/>
                <a:gd name="T10" fmla="*/ 740 w 838"/>
                <a:gd name="T11" fmla="*/ 53 h 605"/>
                <a:gd name="T12" fmla="*/ 748 w 838"/>
                <a:gd name="T13" fmla="*/ 65 h 605"/>
                <a:gd name="T14" fmla="*/ 756 w 838"/>
                <a:gd name="T15" fmla="*/ 77 h 605"/>
                <a:gd name="T16" fmla="*/ 764 w 838"/>
                <a:gd name="T17" fmla="*/ 91 h 605"/>
                <a:gd name="T18" fmla="*/ 773 w 838"/>
                <a:gd name="T19" fmla="*/ 104 h 605"/>
                <a:gd name="T20" fmla="*/ 780 w 838"/>
                <a:gd name="T21" fmla="*/ 118 h 605"/>
                <a:gd name="T22" fmla="*/ 786 w 838"/>
                <a:gd name="T23" fmla="*/ 134 h 605"/>
                <a:gd name="T24" fmla="*/ 793 w 838"/>
                <a:gd name="T25" fmla="*/ 149 h 605"/>
                <a:gd name="T26" fmla="*/ 798 w 838"/>
                <a:gd name="T27" fmla="*/ 167 h 605"/>
                <a:gd name="T28" fmla="*/ 804 w 838"/>
                <a:gd name="T29" fmla="*/ 184 h 605"/>
                <a:gd name="T30" fmla="*/ 810 w 838"/>
                <a:gd name="T31" fmla="*/ 202 h 605"/>
                <a:gd name="T32" fmla="*/ 815 w 838"/>
                <a:gd name="T33" fmla="*/ 222 h 605"/>
                <a:gd name="T34" fmla="*/ 823 w 838"/>
                <a:gd name="T35" fmla="*/ 261 h 605"/>
                <a:gd name="T36" fmla="*/ 829 w 838"/>
                <a:gd name="T37" fmla="*/ 303 h 605"/>
                <a:gd name="T38" fmla="*/ 834 w 838"/>
                <a:gd name="T39" fmla="*/ 348 h 605"/>
                <a:gd name="T40" fmla="*/ 837 w 838"/>
                <a:gd name="T41" fmla="*/ 395 h 605"/>
                <a:gd name="T42" fmla="*/ 838 w 838"/>
                <a:gd name="T43" fmla="*/ 444 h 605"/>
                <a:gd name="T44" fmla="*/ 838 w 838"/>
                <a:gd name="T45" fmla="*/ 496 h 605"/>
                <a:gd name="T46" fmla="*/ 836 w 838"/>
                <a:gd name="T47" fmla="*/ 549 h 605"/>
                <a:gd name="T48" fmla="*/ 832 w 838"/>
                <a:gd name="T49" fmla="*/ 605 h 605"/>
                <a:gd name="T50" fmla="*/ 0 w 838"/>
                <a:gd name="T51" fmla="*/ 605 h 605"/>
                <a:gd name="T52" fmla="*/ 24 w 838"/>
                <a:gd name="T53" fmla="*/ 567 h 605"/>
                <a:gd name="T54" fmla="*/ 47 w 838"/>
                <a:gd name="T55" fmla="*/ 530 h 605"/>
                <a:gd name="T56" fmla="*/ 72 w 838"/>
                <a:gd name="T57" fmla="*/ 494 h 605"/>
                <a:gd name="T58" fmla="*/ 96 w 838"/>
                <a:gd name="T59" fmla="*/ 459 h 605"/>
                <a:gd name="T60" fmla="*/ 119 w 838"/>
                <a:gd name="T61" fmla="*/ 425 h 605"/>
                <a:gd name="T62" fmla="*/ 144 w 838"/>
                <a:gd name="T63" fmla="*/ 392 h 605"/>
                <a:gd name="T64" fmla="*/ 168 w 838"/>
                <a:gd name="T65" fmla="*/ 360 h 605"/>
                <a:gd name="T66" fmla="*/ 193 w 838"/>
                <a:gd name="T67" fmla="*/ 329 h 605"/>
                <a:gd name="T68" fmla="*/ 216 w 838"/>
                <a:gd name="T69" fmla="*/ 300 h 605"/>
                <a:gd name="T70" fmla="*/ 240 w 838"/>
                <a:gd name="T71" fmla="*/ 271 h 605"/>
                <a:gd name="T72" fmla="*/ 264 w 838"/>
                <a:gd name="T73" fmla="*/ 244 h 605"/>
                <a:gd name="T74" fmla="*/ 287 w 838"/>
                <a:gd name="T75" fmla="*/ 218 h 605"/>
                <a:gd name="T76" fmla="*/ 311 w 838"/>
                <a:gd name="T77" fmla="*/ 194 h 605"/>
                <a:gd name="T78" fmla="*/ 335 w 838"/>
                <a:gd name="T79" fmla="*/ 171 h 605"/>
                <a:gd name="T80" fmla="*/ 357 w 838"/>
                <a:gd name="T81" fmla="*/ 149 h 605"/>
                <a:gd name="T82" fmla="*/ 380 w 838"/>
                <a:gd name="T83" fmla="*/ 129 h 605"/>
                <a:gd name="T84" fmla="*/ 403 w 838"/>
                <a:gd name="T85" fmla="*/ 110 h 605"/>
                <a:gd name="T86" fmla="*/ 425 w 838"/>
                <a:gd name="T87" fmla="*/ 93 h 605"/>
                <a:gd name="T88" fmla="*/ 447 w 838"/>
                <a:gd name="T89" fmla="*/ 76 h 605"/>
                <a:gd name="T90" fmla="*/ 469 w 838"/>
                <a:gd name="T91" fmla="*/ 62 h 605"/>
                <a:gd name="T92" fmla="*/ 489 w 838"/>
                <a:gd name="T93" fmla="*/ 48 h 605"/>
                <a:gd name="T94" fmla="*/ 510 w 838"/>
                <a:gd name="T95" fmla="*/ 37 h 605"/>
                <a:gd name="T96" fmla="*/ 530 w 838"/>
                <a:gd name="T97" fmla="*/ 27 h 605"/>
                <a:gd name="T98" fmla="*/ 550 w 838"/>
                <a:gd name="T99" fmla="*/ 18 h 605"/>
                <a:gd name="T100" fmla="*/ 570 w 838"/>
                <a:gd name="T101" fmla="*/ 11 h 605"/>
                <a:gd name="T102" fmla="*/ 588 w 838"/>
                <a:gd name="T103" fmla="*/ 6 h 605"/>
                <a:gd name="T104" fmla="*/ 607 w 838"/>
                <a:gd name="T105" fmla="*/ 2 h 605"/>
                <a:gd name="T106" fmla="*/ 624 w 838"/>
                <a:gd name="T107" fmla="*/ 0 h 605"/>
                <a:gd name="T108" fmla="*/ 642 w 838"/>
                <a:gd name="T109" fmla="*/ 0 h 605"/>
                <a:gd name="T110" fmla="*/ 658 w 838"/>
                <a:gd name="T111" fmla="*/ 2 h 605"/>
                <a:gd name="T112" fmla="*/ 675 w 838"/>
                <a:gd name="T113" fmla="*/ 5 h 605"/>
                <a:gd name="T114" fmla="*/ 689 w 838"/>
                <a:gd name="T115" fmla="*/ 1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8" h="605">
                  <a:moveTo>
                    <a:pt x="689" y="10"/>
                  </a:moveTo>
                  <a:lnTo>
                    <a:pt x="700" y="17"/>
                  </a:lnTo>
                  <a:lnTo>
                    <a:pt x="711" y="25"/>
                  </a:lnTo>
                  <a:lnTo>
                    <a:pt x="720" y="34"/>
                  </a:lnTo>
                  <a:lnTo>
                    <a:pt x="730" y="43"/>
                  </a:lnTo>
                  <a:lnTo>
                    <a:pt x="740" y="53"/>
                  </a:lnTo>
                  <a:lnTo>
                    <a:pt x="748" y="65"/>
                  </a:lnTo>
                  <a:lnTo>
                    <a:pt x="756" y="77"/>
                  </a:lnTo>
                  <a:lnTo>
                    <a:pt x="764" y="91"/>
                  </a:lnTo>
                  <a:lnTo>
                    <a:pt x="773" y="104"/>
                  </a:lnTo>
                  <a:lnTo>
                    <a:pt x="780" y="118"/>
                  </a:lnTo>
                  <a:lnTo>
                    <a:pt x="786" y="134"/>
                  </a:lnTo>
                  <a:lnTo>
                    <a:pt x="793" y="149"/>
                  </a:lnTo>
                  <a:lnTo>
                    <a:pt x="798" y="167"/>
                  </a:lnTo>
                  <a:lnTo>
                    <a:pt x="804" y="184"/>
                  </a:lnTo>
                  <a:lnTo>
                    <a:pt x="810" y="202"/>
                  </a:lnTo>
                  <a:lnTo>
                    <a:pt x="815" y="222"/>
                  </a:lnTo>
                  <a:lnTo>
                    <a:pt x="823" y="261"/>
                  </a:lnTo>
                  <a:lnTo>
                    <a:pt x="829" y="303"/>
                  </a:lnTo>
                  <a:lnTo>
                    <a:pt x="834" y="348"/>
                  </a:lnTo>
                  <a:lnTo>
                    <a:pt x="837" y="395"/>
                  </a:lnTo>
                  <a:lnTo>
                    <a:pt x="838" y="444"/>
                  </a:lnTo>
                  <a:lnTo>
                    <a:pt x="838" y="496"/>
                  </a:lnTo>
                  <a:lnTo>
                    <a:pt x="836" y="549"/>
                  </a:lnTo>
                  <a:lnTo>
                    <a:pt x="832" y="605"/>
                  </a:lnTo>
                  <a:lnTo>
                    <a:pt x="0" y="605"/>
                  </a:lnTo>
                  <a:lnTo>
                    <a:pt x="24" y="567"/>
                  </a:lnTo>
                  <a:lnTo>
                    <a:pt x="47" y="530"/>
                  </a:lnTo>
                  <a:lnTo>
                    <a:pt x="72" y="494"/>
                  </a:lnTo>
                  <a:lnTo>
                    <a:pt x="96" y="459"/>
                  </a:lnTo>
                  <a:lnTo>
                    <a:pt x="119" y="425"/>
                  </a:lnTo>
                  <a:lnTo>
                    <a:pt x="144" y="392"/>
                  </a:lnTo>
                  <a:lnTo>
                    <a:pt x="168" y="360"/>
                  </a:lnTo>
                  <a:lnTo>
                    <a:pt x="193" y="329"/>
                  </a:lnTo>
                  <a:lnTo>
                    <a:pt x="216" y="300"/>
                  </a:lnTo>
                  <a:lnTo>
                    <a:pt x="240" y="271"/>
                  </a:lnTo>
                  <a:lnTo>
                    <a:pt x="264" y="244"/>
                  </a:lnTo>
                  <a:lnTo>
                    <a:pt x="287" y="218"/>
                  </a:lnTo>
                  <a:lnTo>
                    <a:pt x="311" y="194"/>
                  </a:lnTo>
                  <a:lnTo>
                    <a:pt x="335" y="171"/>
                  </a:lnTo>
                  <a:lnTo>
                    <a:pt x="357" y="149"/>
                  </a:lnTo>
                  <a:lnTo>
                    <a:pt x="380" y="129"/>
                  </a:lnTo>
                  <a:lnTo>
                    <a:pt x="403" y="110"/>
                  </a:lnTo>
                  <a:lnTo>
                    <a:pt x="425" y="93"/>
                  </a:lnTo>
                  <a:lnTo>
                    <a:pt x="447" y="76"/>
                  </a:lnTo>
                  <a:lnTo>
                    <a:pt x="469" y="62"/>
                  </a:lnTo>
                  <a:lnTo>
                    <a:pt x="489" y="48"/>
                  </a:lnTo>
                  <a:lnTo>
                    <a:pt x="510" y="37"/>
                  </a:lnTo>
                  <a:lnTo>
                    <a:pt x="530" y="27"/>
                  </a:lnTo>
                  <a:lnTo>
                    <a:pt x="550" y="18"/>
                  </a:lnTo>
                  <a:lnTo>
                    <a:pt x="570" y="11"/>
                  </a:lnTo>
                  <a:lnTo>
                    <a:pt x="588" y="6"/>
                  </a:lnTo>
                  <a:lnTo>
                    <a:pt x="607" y="2"/>
                  </a:lnTo>
                  <a:lnTo>
                    <a:pt x="624" y="0"/>
                  </a:lnTo>
                  <a:lnTo>
                    <a:pt x="642" y="0"/>
                  </a:lnTo>
                  <a:lnTo>
                    <a:pt x="658" y="2"/>
                  </a:lnTo>
                  <a:lnTo>
                    <a:pt x="675" y="5"/>
                  </a:lnTo>
                  <a:lnTo>
                    <a:pt x="689" y="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39" name="Freeform 24"/>
            <p:cNvSpPr>
              <a:spLocks noChangeArrowheads="1"/>
            </p:cNvSpPr>
            <p:nvPr userDrawn="1"/>
          </p:nvSpPr>
          <p:spPr bwMode="auto">
            <a:xfrm>
              <a:off x="7734300" y="6132909"/>
              <a:ext cx="417513" cy="247051"/>
            </a:xfrm>
            <a:custGeom>
              <a:avLst/>
              <a:gdLst>
                <a:gd name="T0" fmla="*/ 795 w 921"/>
                <a:gd name="T1" fmla="*/ 444 h 444"/>
                <a:gd name="T2" fmla="*/ 812 w 921"/>
                <a:gd name="T3" fmla="*/ 386 h 444"/>
                <a:gd name="T4" fmla="*/ 824 w 921"/>
                <a:gd name="T5" fmla="*/ 333 h 444"/>
                <a:gd name="T6" fmla="*/ 829 w 921"/>
                <a:gd name="T7" fmla="*/ 299 h 444"/>
                <a:gd name="T8" fmla="*/ 832 w 921"/>
                <a:gd name="T9" fmla="*/ 268 h 444"/>
                <a:gd name="T10" fmla="*/ 833 w 921"/>
                <a:gd name="T11" fmla="*/ 240 h 444"/>
                <a:gd name="T12" fmla="*/ 831 w 921"/>
                <a:gd name="T13" fmla="*/ 214 h 444"/>
                <a:gd name="T14" fmla="*/ 824 w 921"/>
                <a:gd name="T15" fmla="*/ 188 h 444"/>
                <a:gd name="T16" fmla="*/ 814 w 921"/>
                <a:gd name="T17" fmla="*/ 169 h 444"/>
                <a:gd name="T18" fmla="*/ 798 w 921"/>
                <a:gd name="T19" fmla="*/ 162 h 444"/>
                <a:gd name="T20" fmla="*/ 779 w 921"/>
                <a:gd name="T21" fmla="*/ 158 h 444"/>
                <a:gd name="T22" fmla="*/ 757 w 921"/>
                <a:gd name="T23" fmla="*/ 158 h 444"/>
                <a:gd name="T24" fmla="*/ 733 w 921"/>
                <a:gd name="T25" fmla="*/ 163 h 444"/>
                <a:gd name="T26" fmla="*/ 706 w 921"/>
                <a:gd name="T27" fmla="*/ 169 h 444"/>
                <a:gd name="T28" fmla="*/ 676 w 921"/>
                <a:gd name="T29" fmla="*/ 179 h 444"/>
                <a:gd name="T30" fmla="*/ 609 w 921"/>
                <a:gd name="T31" fmla="*/ 208 h 444"/>
                <a:gd name="T32" fmla="*/ 533 w 921"/>
                <a:gd name="T33" fmla="*/ 250 h 444"/>
                <a:gd name="T34" fmla="*/ 449 w 921"/>
                <a:gd name="T35" fmla="*/ 304 h 444"/>
                <a:gd name="T36" fmla="*/ 360 w 921"/>
                <a:gd name="T37" fmla="*/ 369 h 444"/>
                <a:gd name="T38" fmla="*/ 263 w 921"/>
                <a:gd name="T39" fmla="*/ 444 h 444"/>
                <a:gd name="T40" fmla="*/ 38 w 921"/>
                <a:gd name="T41" fmla="*/ 411 h 444"/>
                <a:gd name="T42" fmla="*/ 112 w 921"/>
                <a:gd name="T43" fmla="*/ 348 h 444"/>
                <a:gd name="T44" fmla="*/ 186 w 921"/>
                <a:gd name="T45" fmla="*/ 290 h 444"/>
                <a:gd name="T46" fmla="*/ 258 w 921"/>
                <a:gd name="T47" fmla="*/ 237 h 444"/>
                <a:gd name="T48" fmla="*/ 328 w 921"/>
                <a:gd name="T49" fmla="*/ 189 h 444"/>
                <a:gd name="T50" fmla="*/ 396 w 921"/>
                <a:gd name="T51" fmla="*/ 146 h 444"/>
                <a:gd name="T52" fmla="*/ 461 w 921"/>
                <a:gd name="T53" fmla="*/ 109 h 444"/>
                <a:gd name="T54" fmla="*/ 524 w 921"/>
                <a:gd name="T55" fmla="*/ 76 h 444"/>
                <a:gd name="T56" fmla="*/ 584 w 921"/>
                <a:gd name="T57" fmla="*/ 50 h 444"/>
                <a:gd name="T58" fmla="*/ 642 w 921"/>
                <a:gd name="T59" fmla="*/ 29 h 444"/>
                <a:gd name="T60" fmla="*/ 695 w 921"/>
                <a:gd name="T61" fmla="*/ 13 h 444"/>
                <a:gd name="T62" fmla="*/ 746 w 921"/>
                <a:gd name="T63" fmla="*/ 4 h 444"/>
                <a:gd name="T64" fmla="*/ 792 w 921"/>
                <a:gd name="T65" fmla="*/ 0 h 444"/>
                <a:gd name="T66" fmla="*/ 834 w 921"/>
                <a:gd name="T67" fmla="*/ 2 h 444"/>
                <a:gd name="T68" fmla="*/ 873 w 921"/>
                <a:gd name="T69" fmla="*/ 11 h 444"/>
                <a:gd name="T70" fmla="*/ 907 w 921"/>
                <a:gd name="T71" fmla="*/ 25 h 444"/>
                <a:gd name="T72" fmla="*/ 921 w 921"/>
                <a:gd name="T73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21" h="444">
                  <a:moveTo>
                    <a:pt x="921" y="444"/>
                  </a:moveTo>
                  <a:lnTo>
                    <a:pt x="795" y="444"/>
                  </a:lnTo>
                  <a:lnTo>
                    <a:pt x="805" y="415"/>
                  </a:lnTo>
                  <a:lnTo>
                    <a:pt x="812" y="386"/>
                  </a:lnTo>
                  <a:lnTo>
                    <a:pt x="819" y="359"/>
                  </a:lnTo>
                  <a:lnTo>
                    <a:pt x="824" y="333"/>
                  </a:lnTo>
                  <a:lnTo>
                    <a:pt x="827" y="315"/>
                  </a:lnTo>
                  <a:lnTo>
                    <a:pt x="829" y="299"/>
                  </a:lnTo>
                  <a:lnTo>
                    <a:pt x="831" y="283"/>
                  </a:lnTo>
                  <a:lnTo>
                    <a:pt x="832" y="268"/>
                  </a:lnTo>
                  <a:lnTo>
                    <a:pt x="833" y="253"/>
                  </a:lnTo>
                  <a:lnTo>
                    <a:pt x="833" y="240"/>
                  </a:lnTo>
                  <a:lnTo>
                    <a:pt x="832" y="226"/>
                  </a:lnTo>
                  <a:lnTo>
                    <a:pt x="831" y="214"/>
                  </a:lnTo>
                  <a:lnTo>
                    <a:pt x="828" y="201"/>
                  </a:lnTo>
                  <a:lnTo>
                    <a:pt x="824" y="188"/>
                  </a:lnTo>
                  <a:lnTo>
                    <a:pt x="820" y="178"/>
                  </a:lnTo>
                  <a:lnTo>
                    <a:pt x="814" y="169"/>
                  </a:lnTo>
                  <a:lnTo>
                    <a:pt x="807" y="165"/>
                  </a:lnTo>
                  <a:lnTo>
                    <a:pt x="798" y="162"/>
                  </a:lnTo>
                  <a:lnTo>
                    <a:pt x="789" y="159"/>
                  </a:lnTo>
                  <a:lnTo>
                    <a:pt x="779" y="158"/>
                  </a:lnTo>
                  <a:lnTo>
                    <a:pt x="769" y="158"/>
                  </a:lnTo>
                  <a:lnTo>
                    <a:pt x="757" y="158"/>
                  </a:lnTo>
                  <a:lnTo>
                    <a:pt x="745" y="161"/>
                  </a:lnTo>
                  <a:lnTo>
                    <a:pt x="733" y="163"/>
                  </a:lnTo>
                  <a:lnTo>
                    <a:pt x="719" y="165"/>
                  </a:lnTo>
                  <a:lnTo>
                    <a:pt x="706" y="169"/>
                  </a:lnTo>
                  <a:lnTo>
                    <a:pt x="690" y="174"/>
                  </a:lnTo>
                  <a:lnTo>
                    <a:pt x="676" y="179"/>
                  </a:lnTo>
                  <a:lnTo>
                    <a:pt x="643" y="192"/>
                  </a:lnTo>
                  <a:lnTo>
                    <a:pt x="609" y="208"/>
                  </a:lnTo>
                  <a:lnTo>
                    <a:pt x="572" y="228"/>
                  </a:lnTo>
                  <a:lnTo>
                    <a:pt x="533" y="250"/>
                  </a:lnTo>
                  <a:lnTo>
                    <a:pt x="493" y="275"/>
                  </a:lnTo>
                  <a:lnTo>
                    <a:pt x="449" y="304"/>
                  </a:lnTo>
                  <a:lnTo>
                    <a:pt x="405" y="335"/>
                  </a:lnTo>
                  <a:lnTo>
                    <a:pt x="360" y="369"/>
                  </a:lnTo>
                  <a:lnTo>
                    <a:pt x="311" y="405"/>
                  </a:lnTo>
                  <a:lnTo>
                    <a:pt x="263" y="444"/>
                  </a:lnTo>
                  <a:lnTo>
                    <a:pt x="0" y="444"/>
                  </a:lnTo>
                  <a:lnTo>
                    <a:pt x="38" y="411"/>
                  </a:lnTo>
                  <a:lnTo>
                    <a:pt x="75" y="379"/>
                  </a:lnTo>
                  <a:lnTo>
                    <a:pt x="112" y="348"/>
                  </a:lnTo>
                  <a:lnTo>
                    <a:pt x="150" y="318"/>
                  </a:lnTo>
                  <a:lnTo>
                    <a:pt x="186" y="290"/>
                  </a:lnTo>
                  <a:lnTo>
                    <a:pt x="222" y="263"/>
                  </a:lnTo>
                  <a:lnTo>
                    <a:pt x="258" y="237"/>
                  </a:lnTo>
                  <a:lnTo>
                    <a:pt x="293" y="212"/>
                  </a:lnTo>
                  <a:lnTo>
                    <a:pt x="328" y="189"/>
                  </a:lnTo>
                  <a:lnTo>
                    <a:pt x="362" y="167"/>
                  </a:lnTo>
                  <a:lnTo>
                    <a:pt x="396" y="146"/>
                  </a:lnTo>
                  <a:lnTo>
                    <a:pt x="429" y="127"/>
                  </a:lnTo>
                  <a:lnTo>
                    <a:pt x="461" y="109"/>
                  </a:lnTo>
                  <a:lnTo>
                    <a:pt x="493" y="91"/>
                  </a:lnTo>
                  <a:lnTo>
                    <a:pt x="524" y="76"/>
                  </a:lnTo>
                  <a:lnTo>
                    <a:pt x="555" y="63"/>
                  </a:lnTo>
                  <a:lnTo>
                    <a:pt x="584" y="50"/>
                  </a:lnTo>
                  <a:lnTo>
                    <a:pt x="614" y="39"/>
                  </a:lnTo>
                  <a:lnTo>
                    <a:pt x="642" y="29"/>
                  </a:lnTo>
                  <a:lnTo>
                    <a:pt x="670" y="20"/>
                  </a:lnTo>
                  <a:lnTo>
                    <a:pt x="695" y="13"/>
                  </a:lnTo>
                  <a:lnTo>
                    <a:pt x="721" y="8"/>
                  </a:lnTo>
                  <a:lnTo>
                    <a:pt x="746" y="4"/>
                  </a:lnTo>
                  <a:lnTo>
                    <a:pt x="770" y="1"/>
                  </a:lnTo>
                  <a:lnTo>
                    <a:pt x="792" y="0"/>
                  </a:lnTo>
                  <a:lnTo>
                    <a:pt x="814" y="1"/>
                  </a:lnTo>
                  <a:lnTo>
                    <a:pt x="834" y="2"/>
                  </a:lnTo>
                  <a:lnTo>
                    <a:pt x="854" y="6"/>
                  </a:lnTo>
                  <a:lnTo>
                    <a:pt x="873" y="11"/>
                  </a:lnTo>
                  <a:lnTo>
                    <a:pt x="890" y="17"/>
                  </a:lnTo>
                  <a:lnTo>
                    <a:pt x="907" y="25"/>
                  </a:lnTo>
                  <a:lnTo>
                    <a:pt x="921" y="35"/>
                  </a:lnTo>
                  <a:lnTo>
                    <a:pt x="921" y="4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0" name="Freeform 25"/>
            <p:cNvSpPr>
              <a:spLocks noChangeArrowheads="1"/>
            </p:cNvSpPr>
            <p:nvPr userDrawn="1"/>
          </p:nvSpPr>
          <p:spPr bwMode="auto">
            <a:xfrm>
              <a:off x="7799388" y="6177664"/>
              <a:ext cx="352425" cy="202296"/>
            </a:xfrm>
            <a:custGeom>
              <a:avLst/>
              <a:gdLst>
                <a:gd name="T0" fmla="*/ 740 w 787"/>
                <a:gd name="T1" fmla="*/ 24 h 364"/>
                <a:gd name="T2" fmla="*/ 751 w 787"/>
                <a:gd name="T3" fmla="*/ 36 h 364"/>
                <a:gd name="T4" fmla="*/ 760 w 787"/>
                <a:gd name="T5" fmla="*/ 50 h 364"/>
                <a:gd name="T6" fmla="*/ 767 w 787"/>
                <a:gd name="T7" fmla="*/ 64 h 364"/>
                <a:gd name="T8" fmla="*/ 775 w 787"/>
                <a:gd name="T9" fmla="*/ 81 h 364"/>
                <a:gd name="T10" fmla="*/ 780 w 787"/>
                <a:gd name="T11" fmla="*/ 98 h 364"/>
                <a:gd name="T12" fmla="*/ 784 w 787"/>
                <a:gd name="T13" fmla="*/ 117 h 364"/>
                <a:gd name="T14" fmla="*/ 786 w 787"/>
                <a:gd name="T15" fmla="*/ 136 h 364"/>
                <a:gd name="T16" fmla="*/ 787 w 787"/>
                <a:gd name="T17" fmla="*/ 157 h 364"/>
                <a:gd name="T18" fmla="*/ 787 w 787"/>
                <a:gd name="T19" fmla="*/ 179 h 364"/>
                <a:gd name="T20" fmla="*/ 786 w 787"/>
                <a:gd name="T21" fmla="*/ 202 h 364"/>
                <a:gd name="T22" fmla="*/ 784 w 787"/>
                <a:gd name="T23" fmla="*/ 227 h 364"/>
                <a:gd name="T24" fmla="*/ 780 w 787"/>
                <a:gd name="T25" fmla="*/ 252 h 364"/>
                <a:gd name="T26" fmla="*/ 776 w 787"/>
                <a:gd name="T27" fmla="*/ 278 h 364"/>
                <a:gd name="T28" fmla="*/ 769 w 787"/>
                <a:gd name="T29" fmla="*/ 306 h 364"/>
                <a:gd name="T30" fmla="*/ 761 w 787"/>
                <a:gd name="T31" fmla="*/ 335 h 364"/>
                <a:gd name="T32" fmla="*/ 753 w 787"/>
                <a:gd name="T33" fmla="*/ 364 h 364"/>
                <a:gd name="T34" fmla="*/ 0 w 787"/>
                <a:gd name="T35" fmla="*/ 364 h 364"/>
                <a:gd name="T36" fmla="*/ 31 w 787"/>
                <a:gd name="T37" fmla="*/ 337 h 364"/>
                <a:gd name="T38" fmla="*/ 63 w 787"/>
                <a:gd name="T39" fmla="*/ 311 h 364"/>
                <a:gd name="T40" fmla="*/ 94 w 787"/>
                <a:gd name="T41" fmla="*/ 287 h 364"/>
                <a:gd name="T42" fmla="*/ 125 w 787"/>
                <a:gd name="T43" fmla="*/ 263 h 364"/>
                <a:gd name="T44" fmla="*/ 154 w 787"/>
                <a:gd name="T45" fmla="*/ 240 h 364"/>
                <a:gd name="T46" fmla="*/ 184 w 787"/>
                <a:gd name="T47" fmla="*/ 218 h 364"/>
                <a:gd name="T48" fmla="*/ 214 w 787"/>
                <a:gd name="T49" fmla="*/ 197 h 364"/>
                <a:gd name="T50" fmla="*/ 243 w 787"/>
                <a:gd name="T51" fmla="*/ 176 h 364"/>
                <a:gd name="T52" fmla="*/ 272 w 787"/>
                <a:gd name="T53" fmla="*/ 158 h 364"/>
                <a:gd name="T54" fmla="*/ 300 w 787"/>
                <a:gd name="T55" fmla="*/ 140 h 364"/>
                <a:gd name="T56" fmla="*/ 328 w 787"/>
                <a:gd name="T57" fmla="*/ 123 h 364"/>
                <a:gd name="T58" fmla="*/ 354 w 787"/>
                <a:gd name="T59" fmla="*/ 107 h 364"/>
                <a:gd name="T60" fmla="*/ 381 w 787"/>
                <a:gd name="T61" fmla="*/ 92 h 364"/>
                <a:gd name="T62" fmla="*/ 407 w 787"/>
                <a:gd name="T63" fmla="*/ 78 h 364"/>
                <a:gd name="T64" fmla="*/ 432 w 787"/>
                <a:gd name="T65" fmla="*/ 66 h 364"/>
                <a:gd name="T66" fmla="*/ 456 w 787"/>
                <a:gd name="T67" fmla="*/ 54 h 364"/>
                <a:gd name="T68" fmla="*/ 480 w 787"/>
                <a:gd name="T69" fmla="*/ 43 h 364"/>
                <a:gd name="T70" fmla="*/ 503 w 787"/>
                <a:gd name="T71" fmla="*/ 34 h 364"/>
                <a:gd name="T72" fmla="*/ 525 w 787"/>
                <a:gd name="T73" fmla="*/ 26 h 364"/>
                <a:gd name="T74" fmla="*/ 547 w 787"/>
                <a:gd name="T75" fmla="*/ 19 h 364"/>
                <a:gd name="T76" fmla="*/ 568 w 787"/>
                <a:gd name="T77" fmla="*/ 12 h 364"/>
                <a:gd name="T78" fmla="*/ 588 w 787"/>
                <a:gd name="T79" fmla="*/ 8 h 364"/>
                <a:gd name="T80" fmla="*/ 607 w 787"/>
                <a:gd name="T81" fmla="*/ 4 h 364"/>
                <a:gd name="T82" fmla="*/ 625 w 787"/>
                <a:gd name="T83" fmla="*/ 1 h 364"/>
                <a:gd name="T84" fmla="*/ 643 w 787"/>
                <a:gd name="T85" fmla="*/ 0 h 364"/>
                <a:gd name="T86" fmla="*/ 660 w 787"/>
                <a:gd name="T87" fmla="*/ 0 h 364"/>
                <a:gd name="T88" fmla="*/ 676 w 787"/>
                <a:gd name="T89" fmla="*/ 1 h 364"/>
                <a:gd name="T90" fmla="*/ 690 w 787"/>
                <a:gd name="T91" fmla="*/ 3 h 364"/>
                <a:gd name="T92" fmla="*/ 705 w 787"/>
                <a:gd name="T93" fmla="*/ 6 h 364"/>
                <a:gd name="T94" fmla="*/ 717 w 787"/>
                <a:gd name="T95" fmla="*/ 10 h 364"/>
                <a:gd name="T96" fmla="*/ 729 w 787"/>
                <a:gd name="T97" fmla="*/ 17 h 364"/>
                <a:gd name="T98" fmla="*/ 740 w 787"/>
                <a:gd name="T99" fmla="*/ 2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87" h="364">
                  <a:moveTo>
                    <a:pt x="740" y="24"/>
                  </a:moveTo>
                  <a:lnTo>
                    <a:pt x="751" y="36"/>
                  </a:lnTo>
                  <a:lnTo>
                    <a:pt x="760" y="50"/>
                  </a:lnTo>
                  <a:lnTo>
                    <a:pt x="767" y="64"/>
                  </a:lnTo>
                  <a:lnTo>
                    <a:pt x="775" y="81"/>
                  </a:lnTo>
                  <a:lnTo>
                    <a:pt x="780" y="98"/>
                  </a:lnTo>
                  <a:lnTo>
                    <a:pt x="784" y="117"/>
                  </a:lnTo>
                  <a:lnTo>
                    <a:pt x="786" y="136"/>
                  </a:lnTo>
                  <a:lnTo>
                    <a:pt x="787" y="157"/>
                  </a:lnTo>
                  <a:lnTo>
                    <a:pt x="787" y="179"/>
                  </a:lnTo>
                  <a:lnTo>
                    <a:pt x="786" y="202"/>
                  </a:lnTo>
                  <a:lnTo>
                    <a:pt x="784" y="227"/>
                  </a:lnTo>
                  <a:lnTo>
                    <a:pt x="780" y="252"/>
                  </a:lnTo>
                  <a:lnTo>
                    <a:pt x="776" y="278"/>
                  </a:lnTo>
                  <a:lnTo>
                    <a:pt x="769" y="306"/>
                  </a:lnTo>
                  <a:lnTo>
                    <a:pt x="761" y="335"/>
                  </a:lnTo>
                  <a:lnTo>
                    <a:pt x="753" y="364"/>
                  </a:lnTo>
                  <a:lnTo>
                    <a:pt x="0" y="364"/>
                  </a:lnTo>
                  <a:lnTo>
                    <a:pt x="31" y="337"/>
                  </a:lnTo>
                  <a:lnTo>
                    <a:pt x="63" y="311"/>
                  </a:lnTo>
                  <a:lnTo>
                    <a:pt x="94" y="287"/>
                  </a:lnTo>
                  <a:lnTo>
                    <a:pt x="125" y="263"/>
                  </a:lnTo>
                  <a:lnTo>
                    <a:pt x="154" y="240"/>
                  </a:lnTo>
                  <a:lnTo>
                    <a:pt x="184" y="218"/>
                  </a:lnTo>
                  <a:lnTo>
                    <a:pt x="214" y="197"/>
                  </a:lnTo>
                  <a:lnTo>
                    <a:pt x="243" y="176"/>
                  </a:lnTo>
                  <a:lnTo>
                    <a:pt x="272" y="158"/>
                  </a:lnTo>
                  <a:lnTo>
                    <a:pt x="300" y="140"/>
                  </a:lnTo>
                  <a:lnTo>
                    <a:pt x="328" y="123"/>
                  </a:lnTo>
                  <a:lnTo>
                    <a:pt x="354" y="107"/>
                  </a:lnTo>
                  <a:lnTo>
                    <a:pt x="381" y="92"/>
                  </a:lnTo>
                  <a:lnTo>
                    <a:pt x="407" y="78"/>
                  </a:lnTo>
                  <a:lnTo>
                    <a:pt x="432" y="66"/>
                  </a:lnTo>
                  <a:lnTo>
                    <a:pt x="456" y="54"/>
                  </a:lnTo>
                  <a:lnTo>
                    <a:pt x="480" y="43"/>
                  </a:lnTo>
                  <a:lnTo>
                    <a:pt x="503" y="34"/>
                  </a:lnTo>
                  <a:lnTo>
                    <a:pt x="525" y="26"/>
                  </a:lnTo>
                  <a:lnTo>
                    <a:pt x="547" y="19"/>
                  </a:lnTo>
                  <a:lnTo>
                    <a:pt x="568" y="12"/>
                  </a:lnTo>
                  <a:lnTo>
                    <a:pt x="588" y="8"/>
                  </a:lnTo>
                  <a:lnTo>
                    <a:pt x="607" y="4"/>
                  </a:lnTo>
                  <a:lnTo>
                    <a:pt x="625" y="1"/>
                  </a:lnTo>
                  <a:lnTo>
                    <a:pt x="643" y="0"/>
                  </a:lnTo>
                  <a:lnTo>
                    <a:pt x="660" y="0"/>
                  </a:lnTo>
                  <a:lnTo>
                    <a:pt x="676" y="1"/>
                  </a:lnTo>
                  <a:lnTo>
                    <a:pt x="690" y="3"/>
                  </a:lnTo>
                  <a:lnTo>
                    <a:pt x="705" y="6"/>
                  </a:lnTo>
                  <a:lnTo>
                    <a:pt x="717" y="10"/>
                  </a:lnTo>
                  <a:lnTo>
                    <a:pt x="729" y="17"/>
                  </a:lnTo>
                  <a:lnTo>
                    <a:pt x="740" y="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1" name="Freeform 26"/>
            <p:cNvSpPr>
              <a:spLocks noChangeArrowheads="1"/>
            </p:cNvSpPr>
            <p:nvPr userDrawn="1"/>
          </p:nvSpPr>
          <p:spPr bwMode="auto">
            <a:xfrm>
              <a:off x="7151688" y="4294349"/>
              <a:ext cx="790575" cy="1339088"/>
            </a:xfrm>
            <a:custGeom>
              <a:avLst/>
              <a:gdLst>
                <a:gd name="T0" fmla="*/ 123 w 1771"/>
                <a:gd name="T1" fmla="*/ 22 h 2417"/>
                <a:gd name="T2" fmla="*/ 194 w 1771"/>
                <a:gd name="T3" fmla="*/ 1 h 2417"/>
                <a:gd name="T4" fmla="*/ 275 w 1771"/>
                <a:gd name="T5" fmla="*/ 6 h 2417"/>
                <a:gd name="T6" fmla="*/ 430 w 1771"/>
                <a:gd name="T7" fmla="*/ 62 h 2417"/>
                <a:gd name="T8" fmla="*/ 630 w 1771"/>
                <a:gd name="T9" fmla="*/ 201 h 2417"/>
                <a:gd name="T10" fmla="*/ 833 w 1771"/>
                <a:gd name="T11" fmla="*/ 393 h 2417"/>
                <a:gd name="T12" fmla="*/ 1046 w 1771"/>
                <a:gd name="T13" fmla="*/ 639 h 2417"/>
                <a:gd name="T14" fmla="*/ 1197 w 1771"/>
                <a:gd name="T15" fmla="*/ 842 h 2417"/>
                <a:gd name="T16" fmla="*/ 1297 w 1771"/>
                <a:gd name="T17" fmla="*/ 987 h 2417"/>
                <a:gd name="T18" fmla="*/ 1422 w 1771"/>
                <a:gd name="T19" fmla="*/ 1178 h 2417"/>
                <a:gd name="T20" fmla="*/ 1529 w 1771"/>
                <a:gd name="T21" fmla="*/ 1365 h 2417"/>
                <a:gd name="T22" fmla="*/ 1631 w 1771"/>
                <a:gd name="T23" fmla="*/ 1578 h 2417"/>
                <a:gd name="T24" fmla="*/ 1715 w 1771"/>
                <a:gd name="T25" fmla="*/ 1807 h 2417"/>
                <a:gd name="T26" fmla="*/ 1761 w 1771"/>
                <a:gd name="T27" fmla="*/ 2012 h 2417"/>
                <a:gd name="T28" fmla="*/ 1770 w 1771"/>
                <a:gd name="T29" fmla="*/ 2184 h 2417"/>
                <a:gd name="T30" fmla="*/ 1737 w 1771"/>
                <a:gd name="T31" fmla="*/ 2315 h 2417"/>
                <a:gd name="T32" fmla="*/ 1672 w 1771"/>
                <a:gd name="T33" fmla="*/ 2392 h 2417"/>
                <a:gd name="T34" fmla="*/ 1662 w 1771"/>
                <a:gd name="T35" fmla="*/ 2398 h 2417"/>
                <a:gd name="T36" fmla="*/ 1561 w 1771"/>
                <a:gd name="T37" fmla="*/ 2417 h 2417"/>
                <a:gd name="T38" fmla="*/ 1491 w 1771"/>
                <a:gd name="T39" fmla="*/ 2405 h 2417"/>
                <a:gd name="T40" fmla="*/ 1381 w 1771"/>
                <a:gd name="T41" fmla="*/ 2361 h 2417"/>
                <a:gd name="T42" fmla="*/ 1242 w 1771"/>
                <a:gd name="T43" fmla="*/ 2270 h 2417"/>
                <a:gd name="T44" fmla="*/ 1088 w 1771"/>
                <a:gd name="T45" fmla="*/ 2137 h 2417"/>
                <a:gd name="T46" fmla="*/ 924 w 1771"/>
                <a:gd name="T47" fmla="*/ 1966 h 2417"/>
                <a:gd name="T48" fmla="*/ 757 w 1771"/>
                <a:gd name="T49" fmla="*/ 1758 h 2417"/>
                <a:gd name="T50" fmla="*/ 591 w 1771"/>
                <a:gd name="T51" fmla="*/ 1519 h 2417"/>
                <a:gd name="T52" fmla="*/ 347 w 1771"/>
                <a:gd name="T53" fmla="*/ 1142 h 2417"/>
                <a:gd name="T54" fmla="*/ 132 w 1771"/>
                <a:gd name="T55" fmla="*/ 730 h 2417"/>
                <a:gd name="T56" fmla="*/ 60 w 1771"/>
                <a:gd name="T57" fmla="*/ 545 h 2417"/>
                <a:gd name="T58" fmla="*/ 15 w 1771"/>
                <a:gd name="T59" fmla="*/ 382 h 2417"/>
                <a:gd name="T60" fmla="*/ 0 w 1771"/>
                <a:gd name="T61" fmla="*/ 246 h 2417"/>
                <a:gd name="T62" fmla="*/ 25 w 1771"/>
                <a:gd name="T63" fmla="*/ 118 h 2417"/>
                <a:gd name="T64" fmla="*/ 83 w 1771"/>
                <a:gd name="T65" fmla="*/ 47 h 2417"/>
                <a:gd name="T66" fmla="*/ 188 w 1771"/>
                <a:gd name="T67" fmla="*/ 183 h 2417"/>
                <a:gd name="T68" fmla="*/ 181 w 1771"/>
                <a:gd name="T69" fmla="*/ 186 h 2417"/>
                <a:gd name="T70" fmla="*/ 170 w 1771"/>
                <a:gd name="T71" fmla="*/ 212 h 2417"/>
                <a:gd name="T72" fmla="*/ 176 w 1771"/>
                <a:gd name="T73" fmla="*/ 313 h 2417"/>
                <a:gd name="T74" fmla="*/ 206 w 1771"/>
                <a:gd name="T75" fmla="*/ 442 h 2417"/>
                <a:gd name="T76" fmla="*/ 290 w 1771"/>
                <a:gd name="T77" fmla="*/ 663 h 2417"/>
                <a:gd name="T78" fmla="*/ 496 w 1771"/>
                <a:gd name="T79" fmla="*/ 1055 h 2417"/>
                <a:gd name="T80" fmla="*/ 683 w 1771"/>
                <a:gd name="T81" fmla="*/ 1340 h 2417"/>
                <a:gd name="T82" fmla="*/ 835 w 1771"/>
                <a:gd name="T83" fmla="*/ 1577 h 2417"/>
                <a:gd name="T84" fmla="*/ 991 w 1771"/>
                <a:gd name="T85" fmla="*/ 1782 h 2417"/>
                <a:gd name="T86" fmla="*/ 1143 w 1771"/>
                <a:gd name="T87" fmla="*/ 1954 h 2417"/>
                <a:gd name="T88" fmla="*/ 1289 w 1771"/>
                <a:gd name="T89" fmla="*/ 2090 h 2417"/>
                <a:gd name="T90" fmla="*/ 1422 w 1771"/>
                <a:gd name="T91" fmla="*/ 2187 h 2417"/>
                <a:gd name="T92" fmla="*/ 1533 w 1771"/>
                <a:gd name="T93" fmla="*/ 2239 h 2417"/>
                <a:gd name="T94" fmla="*/ 1583 w 1771"/>
                <a:gd name="T95" fmla="*/ 2245 h 2417"/>
                <a:gd name="T96" fmla="*/ 1611 w 1771"/>
                <a:gd name="T97" fmla="*/ 2182 h 2417"/>
                <a:gd name="T98" fmla="*/ 1611 w 1771"/>
                <a:gd name="T99" fmla="*/ 2079 h 2417"/>
                <a:gd name="T100" fmla="*/ 1569 w 1771"/>
                <a:gd name="T101" fmla="*/ 1892 h 2417"/>
                <a:gd name="T102" fmla="*/ 1422 w 1771"/>
                <a:gd name="T103" fmla="*/ 1531 h 2417"/>
                <a:gd name="T104" fmla="*/ 1329 w 1771"/>
                <a:gd name="T105" fmla="*/ 1356 h 2417"/>
                <a:gd name="T106" fmla="*/ 1219 w 1771"/>
                <a:gd name="T107" fmla="*/ 1176 h 2417"/>
                <a:gd name="T108" fmla="*/ 1113 w 1771"/>
                <a:gd name="T109" fmla="*/ 1021 h 2417"/>
                <a:gd name="T110" fmla="*/ 1000 w 1771"/>
                <a:gd name="T111" fmla="*/ 861 h 2417"/>
                <a:gd name="T112" fmla="*/ 812 w 1771"/>
                <a:gd name="T113" fmla="*/ 625 h 2417"/>
                <a:gd name="T114" fmla="*/ 616 w 1771"/>
                <a:gd name="T115" fmla="*/ 418 h 2417"/>
                <a:gd name="T116" fmla="*/ 442 w 1771"/>
                <a:gd name="T117" fmla="*/ 270 h 2417"/>
                <a:gd name="T118" fmla="*/ 316 w 1771"/>
                <a:gd name="T119" fmla="*/ 194 h 2417"/>
                <a:gd name="T120" fmla="*/ 226 w 1771"/>
                <a:gd name="T121" fmla="*/ 168 h 2417"/>
                <a:gd name="T122" fmla="*/ 1134 w 1771"/>
                <a:gd name="T123" fmla="*/ 1052 h 2417"/>
                <a:gd name="T124" fmla="*/ 181 w 1771"/>
                <a:gd name="T125" fmla="*/ 186 h 2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1" h="2417">
                  <a:moveTo>
                    <a:pt x="99" y="36"/>
                  </a:moveTo>
                  <a:lnTo>
                    <a:pt x="99" y="36"/>
                  </a:lnTo>
                  <a:lnTo>
                    <a:pt x="102" y="34"/>
                  </a:lnTo>
                  <a:lnTo>
                    <a:pt x="101" y="34"/>
                  </a:lnTo>
                  <a:lnTo>
                    <a:pt x="111" y="28"/>
                  </a:lnTo>
                  <a:lnTo>
                    <a:pt x="123" y="22"/>
                  </a:lnTo>
                  <a:lnTo>
                    <a:pt x="134" y="17"/>
                  </a:lnTo>
                  <a:lnTo>
                    <a:pt x="145" y="13"/>
                  </a:lnTo>
                  <a:lnTo>
                    <a:pt x="157" y="9"/>
                  </a:lnTo>
                  <a:lnTo>
                    <a:pt x="169" y="6"/>
                  </a:lnTo>
                  <a:lnTo>
                    <a:pt x="181" y="3"/>
                  </a:lnTo>
                  <a:lnTo>
                    <a:pt x="194" y="1"/>
                  </a:lnTo>
                  <a:lnTo>
                    <a:pt x="206" y="0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47" y="1"/>
                  </a:lnTo>
                  <a:lnTo>
                    <a:pt x="261" y="3"/>
                  </a:lnTo>
                  <a:lnTo>
                    <a:pt x="275" y="6"/>
                  </a:lnTo>
                  <a:lnTo>
                    <a:pt x="290" y="9"/>
                  </a:lnTo>
                  <a:lnTo>
                    <a:pt x="304" y="12"/>
                  </a:lnTo>
                  <a:lnTo>
                    <a:pt x="335" y="21"/>
                  </a:lnTo>
                  <a:lnTo>
                    <a:pt x="366" y="32"/>
                  </a:lnTo>
                  <a:lnTo>
                    <a:pt x="398" y="47"/>
                  </a:lnTo>
                  <a:lnTo>
                    <a:pt x="430" y="62"/>
                  </a:lnTo>
                  <a:lnTo>
                    <a:pt x="464" y="82"/>
                  </a:lnTo>
                  <a:lnTo>
                    <a:pt x="498" y="102"/>
                  </a:lnTo>
                  <a:lnTo>
                    <a:pt x="533" y="126"/>
                  </a:lnTo>
                  <a:lnTo>
                    <a:pt x="568" y="152"/>
                  </a:lnTo>
                  <a:lnTo>
                    <a:pt x="599" y="176"/>
                  </a:lnTo>
                  <a:lnTo>
                    <a:pt x="630" y="201"/>
                  </a:lnTo>
                  <a:lnTo>
                    <a:pt x="663" y="229"/>
                  </a:lnTo>
                  <a:lnTo>
                    <a:pt x="696" y="259"/>
                  </a:lnTo>
                  <a:lnTo>
                    <a:pt x="730" y="290"/>
                  </a:lnTo>
                  <a:lnTo>
                    <a:pt x="764" y="323"/>
                  </a:lnTo>
                  <a:lnTo>
                    <a:pt x="798" y="357"/>
                  </a:lnTo>
                  <a:lnTo>
                    <a:pt x="833" y="393"/>
                  </a:lnTo>
                  <a:lnTo>
                    <a:pt x="868" y="431"/>
                  </a:lnTo>
                  <a:lnTo>
                    <a:pt x="903" y="469"/>
                  </a:lnTo>
                  <a:lnTo>
                    <a:pt x="938" y="511"/>
                  </a:lnTo>
                  <a:lnTo>
                    <a:pt x="974" y="552"/>
                  </a:lnTo>
                  <a:lnTo>
                    <a:pt x="1011" y="595"/>
                  </a:lnTo>
                  <a:lnTo>
                    <a:pt x="1046" y="639"/>
                  </a:lnTo>
                  <a:lnTo>
                    <a:pt x="1082" y="686"/>
                  </a:lnTo>
                  <a:lnTo>
                    <a:pt x="1118" y="733"/>
                  </a:lnTo>
                  <a:lnTo>
                    <a:pt x="1138" y="760"/>
                  </a:lnTo>
                  <a:lnTo>
                    <a:pt x="1158" y="787"/>
                  </a:lnTo>
                  <a:lnTo>
                    <a:pt x="1177" y="815"/>
                  </a:lnTo>
                  <a:lnTo>
                    <a:pt x="1197" y="842"/>
                  </a:lnTo>
                  <a:lnTo>
                    <a:pt x="1217" y="869"/>
                  </a:lnTo>
                  <a:lnTo>
                    <a:pt x="1236" y="898"/>
                  </a:lnTo>
                  <a:lnTo>
                    <a:pt x="1256" y="926"/>
                  </a:lnTo>
                  <a:lnTo>
                    <a:pt x="1274" y="955"/>
                  </a:lnTo>
                  <a:lnTo>
                    <a:pt x="1297" y="987"/>
                  </a:lnTo>
                  <a:lnTo>
                    <a:pt x="1319" y="1019"/>
                  </a:lnTo>
                  <a:lnTo>
                    <a:pt x="1340" y="1051"/>
                  </a:lnTo>
                  <a:lnTo>
                    <a:pt x="1362" y="1083"/>
                  </a:lnTo>
                  <a:lnTo>
                    <a:pt x="1381" y="1114"/>
                  </a:lnTo>
                  <a:lnTo>
                    <a:pt x="1402" y="1146"/>
                  </a:lnTo>
                  <a:lnTo>
                    <a:pt x="1422" y="1178"/>
                  </a:lnTo>
                  <a:lnTo>
                    <a:pt x="1440" y="1209"/>
                  </a:lnTo>
                  <a:lnTo>
                    <a:pt x="1459" y="1240"/>
                  </a:lnTo>
                  <a:lnTo>
                    <a:pt x="1477" y="1271"/>
                  </a:lnTo>
                  <a:lnTo>
                    <a:pt x="1495" y="1303"/>
                  </a:lnTo>
                  <a:lnTo>
                    <a:pt x="1512" y="1334"/>
                  </a:lnTo>
                  <a:lnTo>
                    <a:pt x="1529" y="1365"/>
                  </a:lnTo>
                  <a:lnTo>
                    <a:pt x="1545" y="1395"/>
                  </a:lnTo>
                  <a:lnTo>
                    <a:pt x="1561" y="1426"/>
                  </a:lnTo>
                  <a:lnTo>
                    <a:pt x="1575" y="1456"/>
                  </a:lnTo>
                  <a:lnTo>
                    <a:pt x="1595" y="1497"/>
                  </a:lnTo>
                  <a:lnTo>
                    <a:pt x="1613" y="1537"/>
                  </a:lnTo>
                  <a:lnTo>
                    <a:pt x="1631" y="1578"/>
                  </a:lnTo>
                  <a:lnTo>
                    <a:pt x="1648" y="1617"/>
                  </a:lnTo>
                  <a:lnTo>
                    <a:pt x="1664" y="1656"/>
                  </a:lnTo>
                  <a:lnTo>
                    <a:pt x="1678" y="1695"/>
                  </a:lnTo>
                  <a:lnTo>
                    <a:pt x="1691" y="1733"/>
                  </a:lnTo>
                  <a:lnTo>
                    <a:pt x="1704" y="1770"/>
                  </a:lnTo>
                  <a:lnTo>
                    <a:pt x="1715" y="1807"/>
                  </a:lnTo>
                  <a:lnTo>
                    <a:pt x="1725" y="1844"/>
                  </a:lnTo>
                  <a:lnTo>
                    <a:pt x="1735" y="1879"/>
                  </a:lnTo>
                  <a:lnTo>
                    <a:pt x="1743" y="1913"/>
                  </a:lnTo>
                  <a:lnTo>
                    <a:pt x="1750" y="1947"/>
                  </a:lnTo>
                  <a:lnTo>
                    <a:pt x="1756" y="1980"/>
                  </a:lnTo>
                  <a:lnTo>
                    <a:pt x="1761" y="2012"/>
                  </a:lnTo>
                  <a:lnTo>
                    <a:pt x="1766" y="2042"/>
                  </a:lnTo>
                  <a:lnTo>
                    <a:pt x="1769" y="2072"/>
                  </a:lnTo>
                  <a:lnTo>
                    <a:pt x="1771" y="2102"/>
                  </a:lnTo>
                  <a:lnTo>
                    <a:pt x="1771" y="2130"/>
                  </a:lnTo>
                  <a:lnTo>
                    <a:pt x="1771" y="2158"/>
                  </a:lnTo>
                  <a:lnTo>
                    <a:pt x="1770" y="2184"/>
                  </a:lnTo>
                  <a:lnTo>
                    <a:pt x="1767" y="2208"/>
                  </a:lnTo>
                  <a:lnTo>
                    <a:pt x="1762" y="2232"/>
                  </a:lnTo>
                  <a:lnTo>
                    <a:pt x="1758" y="2255"/>
                  </a:lnTo>
                  <a:lnTo>
                    <a:pt x="1752" y="2276"/>
                  </a:lnTo>
                  <a:lnTo>
                    <a:pt x="1745" y="2296"/>
                  </a:lnTo>
                  <a:lnTo>
                    <a:pt x="1737" y="2315"/>
                  </a:lnTo>
                  <a:lnTo>
                    <a:pt x="1727" y="2332"/>
                  </a:lnTo>
                  <a:lnTo>
                    <a:pt x="1716" y="2349"/>
                  </a:lnTo>
                  <a:lnTo>
                    <a:pt x="1705" y="2363"/>
                  </a:lnTo>
                  <a:lnTo>
                    <a:pt x="1692" y="2376"/>
                  </a:lnTo>
                  <a:lnTo>
                    <a:pt x="1678" y="2388"/>
                  </a:lnTo>
                  <a:lnTo>
                    <a:pt x="1672" y="2392"/>
                  </a:lnTo>
                  <a:lnTo>
                    <a:pt x="1665" y="2396"/>
                  </a:lnTo>
                  <a:lnTo>
                    <a:pt x="1664" y="2397"/>
                  </a:lnTo>
                  <a:lnTo>
                    <a:pt x="1662" y="2398"/>
                  </a:lnTo>
                  <a:lnTo>
                    <a:pt x="1646" y="2404"/>
                  </a:lnTo>
                  <a:lnTo>
                    <a:pt x="1630" y="2409"/>
                  </a:lnTo>
                  <a:lnTo>
                    <a:pt x="1613" y="2414"/>
                  </a:lnTo>
                  <a:lnTo>
                    <a:pt x="1597" y="2416"/>
                  </a:lnTo>
                  <a:lnTo>
                    <a:pt x="1579" y="2417"/>
                  </a:lnTo>
                  <a:lnTo>
                    <a:pt x="1561" y="2417"/>
                  </a:lnTo>
                  <a:lnTo>
                    <a:pt x="1542" y="2416"/>
                  </a:lnTo>
                  <a:lnTo>
                    <a:pt x="1523" y="2413"/>
                  </a:lnTo>
                  <a:lnTo>
                    <a:pt x="1507" y="2409"/>
                  </a:lnTo>
                  <a:lnTo>
                    <a:pt x="1491" y="2405"/>
                  </a:lnTo>
                  <a:lnTo>
                    <a:pt x="1473" y="2400"/>
                  </a:lnTo>
                  <a:lnTo>
                    <a:pt x="1456" y="2394"/>
                  </a:lnTo>
                  <a:lnTo>
                    <a:pt x="1438" y="2387"/>
                  </a:lnTo>
                  <a:lnTo>
                    <a:pt x="1419" y="2380"/>
                  </a:lnTo>
                  <a:lnTo>
                    <a:pt x="1401" y="2370"/>
                  </a:lnTo>
                  <a:lnTo>
                    <a:pt x="1381" y="2361"/>
                  </a:lnTo>
                  <a:lnTo>
                    <a:pt x="1360" y="2349"/>
                  </a:lnTo>
                  <a:lnTo>
                    <a:pt x="1337" y="2335"/>
                  </a:lnTo>
                  <a:lnTo>
                    <a:pt x="1314" y="2321"/>
                  </a:lnTo>
                  <a:lnTo>
                    <a:pt x="1291" y="2305"/>
                  </a:lnTo>
                  <a:lnTo>
                    <a:pt x="1267" y="2289"/>
                  </a:lnTo>
                  <a:lnTo>
                    <a:pt x="1242" y="2270"/>
                  </a:lnTo>
                  <a:lnTo>
                    <a:pt x="1218" y="2251"/>
                  </a:lnTo>
                  <a:lnTo>
                    <a:pt x="1192" y="2230"/>
                  </a:lnTo>
                  <a:lnTo>
                    <a:pt x="1166" y="2208"/>
                  </a:lnTo>
                  <a:lnTo>
                    <a:pt x="1140" y="2186"/>
                  </a:lnTo>
                  <a:lnTo>
                    <a:pt x="1115" y="2162"/>
                  </a:lnTo>
                  <a:lnTo>
                    <a:pt x="1088" y="2137"/>
                  </a:lnTo>
                  <a:lnTo>
                    <a:pt x="1061" y="2112"/>
                  </a:lnTo>
                  <a:lnTo>
                    <a:pt x="1034" y="2085"/>
                  </a:lnTo>
                  <a:lnTo>
                    <a:pt x="1006" y="2056"/>
                  </a:lnTo>
                  <a:lnTo>
                    <a:pt x="980" y="2027"/>
                  </a:lnTo>
                  <a:lnTo>
                    <a:pt x="952" y="1997"/>
                  </a:lnTo>
                  <a:lnTo>
                    <a:pt x="924" y="1966"/>
                  </a:lnTo>
                  <a:lnTo>
                    <a:pt x="896" y="1933"/>
                  </a:lnTo>
                  <a:lnTo>
                    <a:pt x="868" y="1900"/>
                  </a:lnTo>
                  <a:lnTo>
                    <a:pt x="841" y="1866"/>
                  </a:lnTo>
                  <a:lnTo>
                    <a:pt x="813" y="1831"/>
                  </a:lnTo>
                  <a:lnTo>
                    <a:pt x="784" y="1795"/>
                  </a:lnTo>
                  <a:lnTo>
                    <a:pt x="757" y="1758"/>
                  </a:lnTo>
                  <a:lnTo>
                    <a:pt x="728" y="1721"/>
                  </a:lnTo>
                  <a:lnTo>
                    <a:pt x="702" y="1682"/>
                  </a:lnTo>
                  <a:lnTo>
                    <a:pt x="674" y="1642"/>
                  </a:lnTo>
                  <a:lnTo>
                    <a:pt x="646" y="1602"/>
                  </a:lnTo>
                  <a:lnTo>
                    <a:pt x="619" y="1561"/>
                  </a:lnTo>
                  <a:lnTo>
                    <a:pt x="591" y="1519"/>
                  </a:lnTo>
                  <a:lnTo>
                    <a:pt x="565" y="1475"/>
                  </a:lnTo>
                  <a:lnTo>
                    <a:pt x="539" y="1432"/>
                  </a:lnTo>
                  <a:lnTo>
                    <a:pt x="487" y="1359"/>
                  </a:lnTo>
                  <a:lnTo>
                    <a:pt x="439" y="1286"/>
                  </a:lnTo>
                  <a:lnTo>
                    <a:pt x="392" y="1214"/>
                  </a:lnTo>
                  <a:lnTo>
                    <a:pt x="347" y="1142"/>
                  </a:lnTo>
                  <a:lnTo>
                    <a:pt x="305" y="1070"/>
                  </a:lnTo>
                  <a:lnTo>
                    <a:pt x="266" y="1000"/>
                  </a:lnTo>
                  <a:lnTo>
                    <a:pt x="229" y="931"/>
                  </a:lnTo>
                  <a:lnTo>
                    <a:pt x="195" y="864"/>
                  </a:lnTo>
                  <a:lnTo>
                    <a:pt x="162" y="796"/>
                  </a:lnTo>
                  <a:lnTo>
                    <a:pt x="132" y="730"/>
                  </a:lnTo>
                  <a:lnTo>
                    <a:pt x="118" y="698"/>
                  </a:lnTo>
                  <a:lnTo>
                    <a:pt x="105" y="666"/>
                  </a:lnTo>
                  <a:lnTo>
                    <a:pt x="93" y="634"/>
                  </a:lnTo>
                  <a:lnTo>
                    <a:pt x="80" y="603"/>
                  </a:lnTo>
                  <a:lnTo>
                    <a:pt x="70" y="574"/>
                  </a:lnTo>
                  <a:lnTo>
                    <a:pt x="60" y="545"/>
                  </a:lnTo>
                  <a:lnTo>
                    <a:pt x="50" y="516"/>
                  </a:lnTo>
                  <a:lnTo>
                    <a:pt x="41" y="487"/>
                  </a:lnTo>
                  <a:lnTo>
                    <a:pt x="33" y="460"/>
                  </a:lnTo>
                  <a:lnTo>
                    <a:pt x="27" y="433"/>
                  </a:lnTo>
                  <a:lnTo>
                    <a:pt x="21" y="408"/>
                  </a:lnTo>
                  <a:lnTo>
                    <a:pt x="15" y="382"/>
                  </a:lnTo>
                  <a:lnTo>
                    <a:pt x="15" y="381"/>
                  </a:lnTo>
                  <a:lnTo>
                    <a:pt x="9" y="352"/>
                  </a:lnTo>
                  <a:lnTo>
                    <a:pt x="5" y="324"/>
                  </a:lnTo>
                  <a:lnTo>
                    <a:pt x="2" y="296"/>
                  </a:lnTo>
                  <a:lnTo>
                    <a:pt x="1" y="270"/>
                  </a:lnTo>
                  <a:lnTo>
                    <a:pt x="0" y="246"/>
                  </a:lnTo>
                  <a:lnTo>
                    <a:pt x="1" y="221"/>
                  </a:lnTo>
                  <a:lnTo>
                    <a:pt x="3" y="198"/>
                  </a:lnTo>
                  <a:lnTo>
                    <a:pt x="6" y="177"/>
                  </a:lnTo>
                  <a:lnTo>
                    <a:pt x="11" y="156"/>
                  </a:lnTo>
                  <a:lnTo>
                    <a:pt x="18" y="136"/>
                  </a:lnTo>
                  <a:lnTo>
                    <a:pt x="25" y="118"/>
                  </a:lnTo>
                  <a:lnTo>
                    <a:pt x="34" y="101"/>
                  </a:lnTo>
                  <a:lnTo>
                    <a:pt x="43" y="86"/>
                  </a:lnTo>
                  <a:lnTo>
                    <a:pt x="56" y="71"/>
                  </a:lnTo>
                  <a:lnTo>
                    <a:pt x="68" y="58"/>
                  </a:lnTo>
                  <a:lnTo>
                    <a:pt x="83" y="47"/>
                  </a:lnTo>
                  <a:lnTo>
                    <a:pt x="90" y="42"/>
                  </a:lnTo>
                  <a:lnTo>
                    <a:pt x="99" y="36"/>
                  </a:lnTo>
                  <a:close/>
                  <a:moveTo>
                    <a:pt x="196" y="177"/>
                  </a:moveTo>
                  <a:lnTo>
                    <a:pt x="193" y="179"/>
                  </a:lnTo>
                  <a:lnTo>
                    <a:pt x="188" y="183"/>
                  </a:lnTo>
                  <a:lnTo>
                    <a:pt x="182" y="186"/>
                  </a:lnTo>
                  <a:lnTo>
                    <a:pt x="181" y="186"/>
                  </a:lnTo>
                  <a:lnTo>
                    <a:pt x="178" y="189"/>
                  </a:lnTo>
                  <a:lnTo>
                    <a:pt x="175" y="193"/>
                  </a:lnTo>
                  <a:lnTo>
                    <a:pt x="173" y="198"/>
                  </a:lnTo>
                  <a:lnTo>
                    <a:pt x="171" y="204"/>
                  </a:lnTo>
                  <a:lnTo>
                    <a:pt x="170" y="212"/>
                  </a:lnTo>
                  <a:lnTo>
                    <a:pt x="169" y="219"/>
                  </a:lnTo>
                  <a:lnTo>
                    <a:pt x="168" y="228"/>
                  </a:lnTo>
                  <a:lnTo>
                    <a:pt x="168" y="237"/>
                  </a:lnTo>
                  <a:lnTo>
                    <a:pt x="169" y="259"/>
                  </a:lnTo>
                  <a:lnTo>
                    <a:pt x="171" y="285"/>
                  </a:lnTo>
                  <a:lnTo>
                    <a:pt x="176" y="313"/>
                  </a:lnTo>
                  <a:lnTo>
                    <a:pt x="181" y="345"/>
                  </a:lnTo>
                  <a:lnTo>
                    <a:pt x="182" y="348"/>
                  </a:lnTo>
                  <a:lnTo>
                    <a:pt x="187" y="370"/>
                  </a:lnTo>
                  <a:lnTo>
                    <a:pt x="193" y="393"/>
                  </a:lnTo>
                  <a:lnTo>
                    <a:pt x="199" y="417"/>
                  </a:lnTo>
                  <a:lnTo>
                    <a:pt x="206" y="442"/>
                  </a:lnTo>
                  <a:lnTo>
                    <a:pt x="213" y="467"/>
                  </a:lnTo>
                  <a:lnTo>
                    <a:pt x="223" y="493"/>
                  </a:lnTo>
                  <a:lnTo>
                    <a:pt x="232" y="520"/>
                  </a:lnTo>
                  <a:lnTo>
                    <a:pt x="242" y="547"/>
                  </a:lnTo>
                  <a:lnTo>
                    <a:pt x="264" y="604"/>
                  </a:lnTo>
                  <a:lnTo>
                    <a:pt x="290" y="663"/>
                  </a:lnTo>
                  <a:lnTo>
                    <a:pt x="317" y="724"/>
                  </a:lnTo>
                  <a:lnTo>
                    <a:pt x="348" y="788"/>
                  </a:lnTo>
                  <a:lnTo>
                    <a:pt x="381" y="853"/>
                  </a:lnTo>
                  <a:lnTo>
                    <a:pt x="417" y="919"/>
                  </a:lnTo>
                  <a:lnTo>
                    <a:pt x="455" y="987"/>
                  </a:lnTo>
                  <a:lnTo>
                    <a:pt x="496" y="1055"/>
                  </a:lnTo>
                  <a:lnTo>
                    <a:pt x="538" y="1125"/>
                  </a:lnTo>
                  <a:lnTo>
                    <a:pt x="583" y="1194"/>
                  </a:lnTo>
                  <a:lnTo>
                    <a:pt x="630" y="1265"/>
                  </a:lnTo>
                  <a:lnTo>
                    <a:pt x="679" y="1335"/>
                  </a:lnTo>
                  <a:lnTo>
                    <a:pt x="683" y="1340"/>
                  </a:lnTo>
                  <a:lnTo>
                    <a:pt x="708" y="1382"/>
                  </a:lnTo>
                  <a:lnTo>
                    <a:pt x="732" y="1423"/>
                  </a:lnTo>
                  <a:lnTo>
                    <a:pt x="758" y="1462"/>
                  </a:lnTo>
                  <a:lnTo>
                    <a:pt x="784" y="1501"/>
                  </a:lnTo>
                  <a:lnTo>
                    <a:pt x="810" y="1539"/>
                  </a:lnTo>
                  <a:lnTo>
                    <a:pt x="835" y="1577"/>
                  </a:lnTo>
                  <a:lnTo>
                    <a:pt x="861" y="1613"/>
                  </a:lnTo>
                  <a:lnTo>
                    <a:pt x="887" y="1649"/>
                  </a:lnTo>
                  <a:lnTo>
                    <a:pt x="913" y="1683"/>
                  </a:lnTo>
                  <a:lnTo>
                    <a:pt x="939" y="1717"/>
                  </a:lnTo>
                  <a:lnTo>
                    <a:pt x="965" y="1750"/>
                  </a:lnTo>
                  <a:lnTo>
                    <a:pt x="991" y="1782"/>
                  </a:lnTo>
                  <a:lnTo>
                    <a:pt x="1017" y="1813"/>
                  </a:lnTo>
                  <a:lnTo>
                    <a:pt x="1042" y="1842"/>
                  </a:lnTo>
                  <a:lnTo>
                    <a:pt x="1068" y="1872"/>
                  </a:lnTo>
                  <a:lnTo>
                    <a:pt x="1094" y="1900"/>
                  </a:lnTo>
                  <a:lnTo>
                    <a:pt x="1119" y="1928"/>
                  </a:lnTo>
                  <a:lnTo>
                    <a:pt x="1143" y="1954"/>
                  </a:lnTo>
                  <a:lnTo>
                    <a:pt x="1169" y="1980"/>
                  </a:lnTo>
                  <a:lnTo>
                    <a:pt x="1194" y="2003"/>
                  </a:lnTo>
                  <a:lnTo>
                    <a:pt x="1218" y="2027"/>
                  </a:lnTo>
                  <a:lnTo>
                    <a:pt x="1242" y="2049"/>
                  </a:lnTo>
                  <a:lnTo>
                    <a:pt x="1266" y="2069"/>
                  </a:lnTo>
                  <a:lnTo>
                    <a:pt x="1289" y="2090"/>
                  </a:lnTo>
                  <a:lnTo>
                    <a:pt x="1312" y="2108"/>
                  </a:lnTo>
                  <a:lnTo>
                    <a:pt x="1335" y="2127"/>
                  </a:lnTo>
                  <a:lnTo>
                    <a:pt x="1357" y="2143"/>
                  </a:lnTo>
                  <a:lnTo>
                    <a:pt x="1379" y="2159"/>
                  </a:lnTo>
                  <a:lnTo>
                    <a:pt x="1400" y="2173"/>
                  </a:lnTo>
                  <a:lnTo>
                    <a:pt x="1422" y="2187"/>
                  </a:lnTo>
                  <a:lnTo>
                    <a:pt x="1441" y="2198"/>
                  </a:lnTo>
                  <a:lnTo>
                    <a:pt x="1462" y="2209"/>
                  </a:lnTo>
                  <a:lnTo>
                    <a:pt x="1486" y="2222"/>
                  </a:lnTo>
                  <a:lnTo>
                    <a:pt x="1510" y="2232"/>
                  </a:lnTo>
                  <a:lnTo>
                    <a:pt x="1521" y="2235"/>
                  </a:lnTo>
                  <a:lnTo>
                    <a:pt x="1533" y="2239"/>
                  </a:lnTo>
                  <a:lnTo>
                    <a:pt x="1543" y="2241"/>
                  </a:lnTo>
                  <a:lnTo>
                    <a:pt x="1552" y="2243"/>
                  </a:lnTo>
                  <a:lnTo>
                    <a:pt x="1562" y="2246"/>
                  </a:lnTo>
                  <a:lnTo>
                    <a:pt x="1570" y="2246"/>
                  </a:lnTo>
                  <a:lnTo>
                    <a:pt x="1577" y="2246"/>
                  </a:lnTo>
                  <a:lnTo>
                    <a:pt x="1583" y="2245"/>
                  </a:lnTo>
                  <a:lnTo>
                    <a:pt x="1589" y="2237"/>
                  </a:lnTo>
                  <a:lnTo>
                    <a:pt x="1596" y="2228"/>
                  </a:lnTo>
                  <a:lnTo>
                    <a:pt x="1601" y="2219"/>
                  </a:lnTo>
                  <a:lnTo>
                    <a:pt x="1605" y="2207"/>
                  </a:lnTo>
                  <a:lnTo>
                    <a:pt x="1608" y="2195"/>
                  </a:lnTo>
                  <a:lnTo>
                    <a:pt x="1611" y="2182"/>
                  </a:lnTo>
                  <a:lnTo>
                    <a:pt x="1613" y="2167"/>
                  </a:lnTo>
                  <a:lnTo>
                    <a:pt x="1614" y="2151"/>
                  </a:lnTo>
                  <a:lnTo>
                    <a:pt x="1614" y="2134"/>
                  </a:lnTo>
                  <a:lnTo>
                    <a:pt x="1614" y="2117"/>
                  </a:lnTo>
                  <a:lnTo>
                    <a:pt x="1613" y="2098"/>
                  </a:lnTo>
                  <a:lnTo>
                    <a:pt x="1611" y="2079"/>
                  </a:lnTo>
                  <a:lnTo>
                    <a:pt x="1608" y="2059"/>
                  </a:lnTo>
                  <a:lnTo>
                    <a:pt x="1605" y="2037"/>
                  </a:lnTo>
                  <a:lnTo>
                    <a:pt x="1601" y="2015"/>
                  </a:lnTo>
                  <a:lnTo>
                    <a:pt x="1596" y="1992"/>
                  </a:lnTo>
                  <a:lnTo>
                    <a:pt x="1584" y="1943"/>
                  </a:lnTo>
                  <a:lnTo>
                    <a:pt x="1569" y="1892"/>
                  </a:lnTo>
                  <a:lnTo>
                    <a:pt x="1551" y="1838"/>
                  </a:lnTo>
                  <a:lnTo>
                    <a:pt x="1531" y="1781"/>
                  </a:lnTo>
                  <a:lnTo>
                    <a:pt x="1507" y="1722"/>
                  </a:lnTo>
                  <a:lnTo>
                    <a:pt x="1481" y="1660"/>
                  </a:lnTo>
                  <a:lnTo>
                    <a:pt x="1453" y="1597"/>
                  </a:lnTo>
                  <a:lnTo>
                    <a:pt x="1422" y="1531"/>
                  </a:lnTo>
                  <a:lnTo>
                    <a:pt x="1407" y="1502"/>
                  </a:lnTo>
                  <a:lnTo>
                    <a:pt x="1393" y="1473"/>
                  </a:lnTo>
                  <a:lnTo>
                    <a:pt x="1377" y="1445"/>
                  </a:lnTo>
                  <a:lnTo>
                    <a:pt x="1362" y="1415"/>
                  </a:lnTo>
                  <a:lnTo>
                    <a:pt x="1345" y="1386"/>
                  </a:lnTo>
                  <a:lnTo>
                    <a:pt x="1329" y="1356"/>
                  </a:lnTo>
                  <a:lnTo>
                    <a:pt x="1311" y="1326"/>
                  </a:lnTo>
                  <a:lnTo>
                    <a:pt x="1294" y="1296"/>
                  </a:lnTo>
                  <a:lnTo>
                    <a:pt x="1275" y="1266"/>
                  </a:lnTo>
                  <a:lnTo>
                    <a:pt x="1257" y="1236"/>
                  </a:lnTo>
                  <a:lnTo>
                    <a:pt x="1238" y="1206"/>
                  </a:lnTo>
                  <a:lnTo>
                    <a:pt x="1219" y="1176"/>
                  </a:lnTo>
                  <a:lnTo>
                    <a:pt x="1198" y="1146"/>
                  </a:lnTo>
                  <a:lnTo>
                    <a:pt x="1177" y="1115"/>
                  </a:lnTo>
                  <a:lnTo>
                    <a:pt x="1157" y="1085"/>
                  </a:lnTo>
                  <a:lnTo>
                    <a:pt x="1135" y="1054"/>
                  </a:lnTo>
                  <a:lnTo>
                    <a:pt x="1132" y="1049"/>
                  </a:lnTo>
                  <a:lnTo>
                    <a:pt x="1113" y="1021"/>
                  </a:lnTo>
                  <a:lnTo>
                    <a:pt x="1094" y="993"/>
                  </a:lnTo>
                  <a:lnTo>
                    <a:pt x="1075" y="965"/>
                  </a:lnTo>
                  <a:lnTo>
                    <a:pt x="1056" y="938"/>
                  </a:lnTo>
                  <a:lnTo>
                    <a:pt x="1037" y="913"/>
                  </a:lnTo>
                  <a:lnTo>
                    <a:pt x="1019" y="886"/>
                  </a:lnTo>
                  <a:lnTo>
                    <a:pt x="1000" y="861"/>
                  </a:lnTo>
                  <a:lnTo>
                    <a:pt x="982" y="835"/>
                  </a:lnTo>
                  <a:lnTo>
                    <a:pt x="948" y="791"/>
                  </a:lnTo>
                  <a:lnTo>
                    <a:pt x="914" y="748"/>
                  </a:lnTo>
                  <a:lnTo>
                    <a:pt x="880" y="705"/>
                  </a:lnTo>
                  <a:lnTo>
                    <a:pt x="846" y="664"/>
                  </a:lnTo>
                  <a:lnTo>
                    <a:pt x="812" y="625"/>
                  </a:lnTo>
                  <a:lnTo>
                    <a:pt x="779" y="587"/>
                  </a:lnTo>
                  <a:lnTo>
                    <a:pt x="746" y="550"/>
                  </a:lnTo>
                  <a:lnTo>
                    <a:pt x="713" y="515"/>
                  </a:lnTo>
                  <a:lnTo>
                    <a:pt x="680" y="481"/>
                  </a:lnTo>
                  <a:lnTo>
                    <a:pt x="648" y="449"/>
                  </a:lnTo>
                  <a:lnTo>
                    <a:pt x="616" y="418"/>
                  </a:lnTo>
                  <a:lnTo>
                    <a:pt x="585" y="389"/>
                  </a:lnTo>
                  <a:lnTo>
                    <a:pt x="554" y="361"/>
                  </a:lnTo>
                  <a:lnTo>
                    <a:pt x="524" y="335"/>
                  </a:lnTo>
                  <a:lnTo>
                    <a:pt x="495" y="311"/>
                  </a:lnTo>
                  <a:lnTo>
                    <a:pt x="466" y="288"/>
                  </a:lnTo>
                  <a:lnTo>
                    <a:pt x="442" y="270"/>
                  </a:lnTo>
                  <a:lnTo>
                    <a:pt x="418" y="255"/>
                  </a:lnTo>
                  <a:lnTo>
                    <a:pt x="397" y="240"/>
                  </a:lnTo>
                  <a:lnTo>
                    <a:pt x="375" y="226"/>
                  </a:lnTo>
                  <a:lnTo>
                    <a:pt x="354" y="214"/>
                  </a:lnTo>
                  <a:lnTo>
                    <a:pt x="335" y="203"/>
                  </a:lnTo>
                  <a:lnTo>
                    <a:pt x="316" y="194"/>
                  </a:lnTo>
                  <a:lnTo>
                    <a:pt x="299" y="186"/>
                  </a:lnTo>
                  <a:lnTo>
                    <a:pt x="282" y="180"/>
                  </a:lnTo>
                  <a:lnTo>
                    <a:pt x="266" y="175"/>
                  </a:lnTo>
                  <a:lnTo>
                    <a:pt x="251" y="170"/>
                  </a:lnTo>
                  <a:lnTo>
                    <a:pt x="238" y="168"/>
                  </a:lnTo>
                  <a:lnTo>
                    <a:pt x="226" y="168"/>
                  </a:lnTo>
                  <a:lnTo>
                    <a:pt x="215" y="169"/>
                  </a:lnTo>
                  <a:lnTo>
                    <a:pt x="205" y="173"/>
                  </a:lnTo>
                  <a:lnTo>
                    <a:pt x="197" y="177"/>
                  </a:lnTo>
                  <a:lnTo>
                    <a:pt x="196" y="177"/>
                  </a:lnTo>
                  <a:close/>
                  <a:moveTo>
                    <a:pt x="1135" y="1054"/>
                  </a:moveTo>
                  <a:lnTo>
                    <a:pt x="1134" y="1052"/>
                  </a:lnTo>
                  <a:lnTo>
                    <a:pt x="1135" y="1054"/>
                  </a:lnTo>
                  <a:close/>
                  <a:moveTo>
                    <a:pt x="1135" y="1054"/>
                  </a:moveTo>
                  <a:lnTo>
                    <a:pt x="1135" y="1054"/>
                  </a:lnTo>
                  <a:close/>
                  <a:moveTo>
                    <a:pt x="182" y="186"/>
                  </a:moveTo>
                  <a:lnTo>
                    <a:pt x="181" y="186"/>
                  </a:lnTo>
                  <a:lnTo>
                    <a:pt x="182" y="1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2" name="Freeform 27"/>
            <p:cNvSpPr>
              <a:spLocks noChangeArrowheads="1"/>
            </p:cNvSpPr>
            <p:nvPr userDrawn="1"/>
          </p:nvSpPr>
          <p:spPr bwMode="auto">
            <a:xfrm>
              <a:off x="7188200" y="4339105"/>
              <a:ext cx="719138" cy="1240625"/>
            </a:xfrm>
            <a:custGeom>
              <a:avLst/>
              <a:gdLst>
                <a:gd name="T0" fmla="*/ 92 w 1605"/>
                <a:gd name="T1" fmla="*/ 6 h 2247"/>
                <a:gd name="T2" fmla="*/ 157 w 1605"/>
                <a:gd name="T3" fmla="*/ 1 h 2247"/>
                <a:gd name="T4" fmla="*/ 235 w 1605"/>
                <a:gd name="T5" fmla="*/ 21 h 2247"/>
                <a:gd name="T6" fmla="*/ 324 w 1605"/>
                <a:gd name="T7" fmla="*/ 64 h 2247"/>
                <a:gd name="T8" fmla="*/ 422 w 1605"/>
                <a:gd name="T9" fmla="*/ 129 h 2247"/>
                <a:gd name="T10" fmla="*/ 528 w 1605"/>
                <a:gd name="T11" fmla="*/ 215 h 2247"/>
                <a:gd name="T12" fmla="*/ 640 w 1605"/>
                <a:gd name="T13" fmla="*/ 320 h 2247"/>
                <a:gd name="T14" fmla="*/ 757 w 1605"/>
                <a:gd name="T15" fmla="*/ 445 h 2247"/>
                <a:gd name="T16" fmla="*/ 876 w 1605"/>
                <a:gd name="T17" fmla="*/ 587 h 2247"/>
                <a:gd name="T18" fmla="*/ 997 w 1605"/>
                <a:gd name="T19" fmla="*/ 745 h 2247"/>
                <a:gd name="T20" fmla="*/ 1117 w 1605"/>
                <a:gd name="T21" fmla="*/ 917 h 2247"/>
                <a:gd name="T22" fmla="*/ 1229 w 1605"/>
                <a:gd name="T23" fmla="*/ 1084 h 2247"/>
                <a:gd name="T24" fmla="*/ 1328 w 1605"/>
                <a:gd name="T25" fmla="*/ 1249 h 2247"/>
                <a:gd name="T26" fmla="*/ 1413 w 1605"/>
                <a:gd name="T27" fmla="*/ 1409 h 2247"/>
                <a:gd name="T28" fmla="*/ 1482 w 1605"/>
                <a:gd name="T29" fmla="*/ 1562 h 2247"/>
                <a:gd name="T30" fmla="*/ 1536 w 1605"/>
                <a:gd name="T31" fmla="*/ 1706 h 2247"/>
                <a:gd name="T32" fmla="*/ 1576 w 1605"/>
                <a:gd name="T33" fmla="*/ 1838 h 2247"/>
                <a:gd name="T34" fmla="*/ 1599 w 1605"/>
                <a:gd name="T35" fmla="*/ 1956 h 2247"/>
                <a:gd name="T36" fmla="*/ 1605 w 1605"/>
                <a:gd name="T37" fmla="*/ 2058 h 2247"/>
                <a:gd name="T38" fmla="*/ 1596 w 1605"/>
                <a:gd name="T39" fmla="*/ 2143 h 2247"/>
                <a:gd name="T40" fmla="*/ 1568 w 1605"/>
                <a:gd name="T41" fmla="*/ 2206 h 2247"/>
                <a:gd name="T42" fmla="*/ 1524 w 1605"/>
                <a:gd name="T43" fmla="*/ 2241 h 2247"/>
                <a:gd name="T44" fmla="*/ 1464 w 1605"/>
                <a:gd name="T45" fmla="*/ 2245 h 2247"/>
                <a:gd name="T46" fmla="*/ 1391 w 1605"/>
                <a:gd name="T47" fmla="*/ 2225 h 2247"/>
                <a:gd name="T48" fmla="*/ 1307 w 1605"/>
                <a:gd name="T49" fmla="*/ 2184 h 2247"/>
                <a:gd name="T50" fmla="*/ 1213 w 1605"/>
                <a:gd name="T51" fmla="*/ 2121 h 2247"/>
                <a:gd name="T52" fmla="*/ 1112 w 1605"/>
                <a:gd name="T53" fmla="*/ 2038 h 2247"/>
                <a:gd name="T54" fmla="*/ 1005 w 1605"/>
                <a:gd name="T55" fmla="*/ 1936 h 2247"/>
                <a:gd name="T56" fmla="*/ 895 w 1605"/>
                <a:gd name="T57" fmla="*/ 1816 h 2247"/>
                <a:gd name="T58" fmla="*/ 782 w 1605"/>
                <a:gd name="T59" fmla="*/ 1679 h 2247"/>
                <a:gd name="T60" fmla="*/ 670 w 1605"/>
                <a:gd name="T61" fmla="*/ 1527 h 2247"/>
                <a:gd name="T62" fmla="*/ 560 w 1605"/>
                <a:gd name="T63" fmla="*/ 1359 h 2247"/>
                <a:gd name="T64" fmla="*/ 447 w 1605"/>
                <a:gd name="T65" fmla="*/ 1188 h 2247"/>
                <a:gd name="T66" fmla="*/ 341 w 1605"/>
                <a:gd name="T67" fmla="*/ 1022 h 2247"/>
                <a:gd name="T68" fmla="*/ 248 w 1605"/>
                <a:gd name="T69" fmla="*/ 862 h 2247"/>
                <a:gd name="T70" fmla="*/ 169 w 1605"/>
                <a:gd name="T71" fmla="*/ 707 h 2247"/>
                <a:gd name="T72" fmla="*/ 104 w 1605"/>
                <a:gd name="T73" fmla="*/ 562 h 2247"/>
                <a:gd name="T74" fmla="*/ 53 w 1605"/>
                <a:gd name="T75" fmla="*/ 428 h 2247"/>
                <a:gd name="T76" fmla="*/ 19 w 1605"/>
                <a:gd name="T77" fmla="*/ 308 h 2247"/>
                <a:gd name="T78" fmla="*/ 2 w 1605"/>
                <a:gd name="T79" fmla="*/ 206 h 2247"/>
                <a:gd name="T80" fmla="*/ 2 w 1605"/>
                <a:gd name="T81" fmla="*/ 123 h 2247"/>
                <a:gd name="T82" fmla="*/ 20 w 1605"/>
                <a:gd name="T83" fmla="*/ 62 h 2247"/>
                <a:gd name="T84" fmla="*/ 57 w 1605"/>
                <a:gd name="T85" fmla="*/ 25 h 2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05" h="2247">
                  <a:moveTo>
                    <a:pt x="57" y="25"/>
                  </a:moveTo>
                  <a:lnTo>
                    <a:pt x="74" y="14"/>
                  </a:lnTo>
                  <a:lnTo>
                    <a:pt x="92" y="6"/>
                  </a:lnTo>
                  <a:lnTo>
                    <a:pt x="113" y="2"/>
                  </a:lnTo>
                  <a:lnTo>
                    <a:pt x="135" y="0"/>
                  </a:lnTo>
                  <a:lnTo>
                    <a:pt x="157" y="1"/>
                  </a:lnTo>
                  <a:lnTo>
                    <a:pt x="182" y="5"/>
                  </a:lnTo>
                  <a:lnTo>
                    <a:pt x="208" y="11"/>
                  </a:lnTo>
                  <a:lnTo>
                    <a:pt x="235" y="21"/>
                  </a:lnTo>
                  <a:lnTo>
                    <a:pt x="263" y="33"/>
                  </a:lnTo>
                  <a:lnTo>
                    <a:pt x="293" y="46"/>
                  </a:lnTo>
                  <a:lnTo>
                    <a:pt x="324" y="64"/>
                  </a:lnTo>
                  <a:lnTo>
                    <a:pt x="356" y="82"/>
                  </a:lnTo>
                  <a:lnTo>
                    <a:pt x="388" y="105"/>
                  </a:lnTo>
                  <a:lnTo>
                    <a:pt x="422" y="129"/>
                  </a:lnTo>
                  <a:lnTo>
                    <a:pt x="457" y="156"/>
                  </a:lnTo>
                  <a:lnTo>
                    <a:pt x="492" y="183"/>
                  </a:lnTo>
                  <a:lnTo>
                    <a:pt x="528" y="215"/>
                  </a:lnTo>
                  <a:lnTo>
                    <a:pt x="565" y="248"/>
                  </a:lnTo>
                  <a:lnTo>
                    <a:pt x="602" y="283"/>
                  </a:lnTo>
                  <a:lnTo>
                    <a:pt x="640" y="320"/>
                  </a:lnTo>
                  <a:lnTo>
                    <a:pt x="678" y="361"/>
                  </a:lnTo>
                  <a:lnTo>
                    <a:pt x="718" y="402"/>
                  </a:lnTo>
                  <a:lnTo>
                    <a:pt x="757" y="445"/>
                  </a:lnTo>
                  <a:lnTo>
                    <a:pt x="797" y="491"/>
                  </a:lnTo>
                  <a:lnTo>
                    <a:pt x="836" y="538"/>
                  </a:lnTo>
                  <a:lnTo>
                    <a:pt x="876" y="587"/>
                  </a:lnTo>
                  <a:lnTo>
                    <a:pt x="916" y="638"/>
                  </a:lnTo>
                  <a:lnTo>
                    <a:pt x="956" y="691"/>
                  </a:lnTo>
                  <a:lnTo>
                    <a:pt x="997" y="745"/>
                  </a:lnTo>
                  <a:lnTo>
                    <a:pt x="1037" y="801"/>
                  </a:lnTo>
                  <a:lnTo>
                    <a:pt x="1077" y="858"/>
                  </a:lnTo>
                  <a:lnTo>
                    <a:pt x="1117" y="917"/>
                  </a:lnTo>
                  <a:lnTo>
                    <a:pt x="1156" y="973"/>
                  </a:lnTo>
                  <a:lnTo>
                    <a:pt x="1193" y="1029"/>
                  </a:lnTo>
                  <a:lnTo>
                    <a:pt x="1229" y="1084"/>
                  </a:lnTo>
                  <a:lnTo>
                    <a:pt x="1264" y="1139"/>
                  </a:lnTo>
                  <a:lnTo>
                    <a:pt x="1296" y="1195"/>
                  </a:lnTo>
                  <a:lnTo>
                    <a:pt x="1328" y="1249"/>
                  </a:lnTo>
                  <a:lnTo>
                    <a:pt x="1358" y="1303"/>
                  </a:lnTo>
                  <a:lnTo>
                    <a:pt x="1386" y="1356"/>
                  </a:lnTo>
                  <a:lnTo>
                    <a:pt x="1413" y="1409"/>
                  </a:lnTo>
                  <a:lnTo>
                    <a:pt x="1437" y="1461"/>
                  </a:lnTo>
                  <a:lnTo>
                    <a:pt x="1460" y="1512"/>
                  </a:lnTo>
                  <a:lnTo>
                    <a:pt x="1482" y="1562"/>
                  </a:lnTo>
                  <a:lnTo>
                    <a:pt x="1502" y="1611"/>
                  </a:lnTo>
                  <a:lnTo>
                    <a:pt x="1520" y="1660"/>
                  </a:lnTo>
                  <a:lnTo>
                    <a:pt x="1536" y="1706"/>
                  </a:lnTo>
                  <a:lnTo>
                    <a:pt x="1552" y="1751"/>
                  </a:lnTo>
                  <a:lnTo>
                    <a:pt x="1564" y="1796"/>
                  </a:lnTo>
                  <a:lnTo>
                    <a:pt x="1576" y="1838"/>
                  </a:lnTo>
                  <a:lnTo>
                    <a:pt x="1585" y="1879"/>
                  </a:lnTo>
                  <a:lnTo>
                    <a:pt x="1593" y="1918"/>
                  </a:lnTo>
                  <a:lnTo>
                    <a:pt x="1599" y="1956"/>
                  </a:lnTo>
                  <a:lnTo>
                    <a:pt x="1603" y="1993"/>
                  </a:lnTo>
                  <a:lnTo>
                    <a:pt x="1605" y="2027"/>
                  </a:lnTo>
                  <a:lnTo>
                    <a:pt x="1605" y="2058"/>
                  </a:lnTo>
                  <a:lnTo>
                    <a:pt x="1604" y="2089"/>
                  </a:lnTo>
                  <a:lnTo>
                    <a:pt x="1601" y="2117"/>
                  </a:lnTo>
                  <a:lnTo>
                    <a:pt x="1596" y="2143"/>
                  </a:lnTo>
                  <a:lnTo>
                    <a:pt x="1589" y="2166"/>
                  </a:lnTo>
                  <a:lnTo>
                    <a:pt x="1580" y="2187"/>
                  </a:lnTo>
                  <a:lnTo>
                    <a:pt x="1568" y="2206"/>
                  </a:lnTo>
                  <a:lnTo>
                    <a:pt x="1556" y="2221"/>
                  </a:lnTo>
                  <a:lnTo>
                    <a:pt x="1540" y="2235"/>
                  </a:lnTo>
                  <a:lnTo>
                    <a:pt x="1524" y="2241"/>
                  </a:lnTo>
                  <a:lnTo>
                    <a:pt x="1505" y="2245"/>
                  </a:lnTo>
                  <a:lnTo>
                    <a:pt x="1486" y="2247"/>
                  </a:lnTo>
                  <a:lnTo>
                    <a:pt x="1464" y="2245"/>
                  </a:lnTo>
                  <a:lnTo>
                    <a:pt x="1441" y="2241"/>
                  </a:lnTo>
                  <a:lnTo>
                    <a:pt x="1417" y="2235"/>
                  </a:lnTo>
                  <a:lnTo>
                    <a:pt x="1391" y="2225"/>
                  </a:lnTo>
                  <a:lnTo>
                    <a:pt x="1364" y="2214"/>
                  </a:lnTo>
                  <a:lnTo>
                    <a:pt x="1336" y="2201"/>
                  </a:lnTo>
                  <a:lnTo>
                    <a:pt x="1307" y="2184"/>
                  </a:lnTo>
                  <a:lnTo>
                    <a:pt x="1276" y="2166"/>
                  </a:lnTo>
                  <a:lnTo>
                    <a:pt x="1245" y="2144"/>
                  </a:lnTo>
                  <a:lnTo>
                    <a:pt x="1213" y="2121"/>
                  </a:lnTo>
                  <a:lnTo>
                    <a:pt x="1180" y="2096"/>
                  </a:lnTo>
                  <a:lnTo>
                    <a:pt x="1146" y="2068"/>
                  </a:lnTo>
                  <a:lnTo>
                    <a:pt x="1112" y="2038"/>
                  </a:lnTo>
                  <a:lnTo>
                    <a:pt x="1077" y="2006"/>
                  </a:lnTo>
                  <a:lnTo>
                    <a:pt x="1041" y="1972"/>
                  </a:lnTo>
                  <a:lnTo>
                    <a:pt x="1005" y="1936"/>
                  </a:lnTo>
                  <a:lnTo>
                    <a:pt x="969" y="1898"/>
                  </a:lnTo>
                  <a:lnTo>
                    <a:pt x="932" y="1858"/>
                  </a:lnTo>
                  <a:lnTo>
                    <a:pt x="895" y="1816"/>
                  </a:lnTo>
                  <a:lnTo>
                    <a:pt x="857" y="1773"/>
                  </a:lnTo>
                  <a:lnTo>
                    <a:pt x="819" y="1727"/>
                  </a:lnTo>
                  <a:lnTo>
                    <a:pt x="782" y="1679"/>
                  </a:lnTo>
                  <a:lnTo>
                    <a:pt x="744" y="1630"/>
                  </a:lnTo>
                  <a:lnTo>
                    <a:pt x="707" y="1579"/>
                  </a:lnTo>
                  <a:lnTo>
                    <a:pt x="670" y="1527"/>
                  </a:lnTo>
                  <a:lnTo>
                    <a:pt x="633" y="1472"/>
                  </a:lnTo>
                  <a:lnTo>
                    <a:pt x="596" y="1416"/>
                  </a:lnTo>
                  <a:lnTo>
                    <a:pt x="560" y="1359"/>
                  </a:lnTo>
                  <a:lnTo>
                    <a:pt x="524" y="1300"/>
                  </a:lnTo>
                  <a:lnTo>
                    <a:pt x="485" y="1244"/>
                  </a:lnTo>
                  <a:lnTo>
                    <a:pt x="447" y="1188"/>
                  </a:lnTo>
                  <a:lnTo>
                    <a:pt x="410" y="1133"/>
                  </a:lnTo>
                  <a:lnTo>
                    <a:pt x="375" y="1077"/>
                  </a:lnTo>
                  <a:lnTo>
                    <a:pt x="341" y="1022"/>
                  </a:lnTo>
                  <a:lnTo>
                    <a:pt x="309" y="969"/>
                  </a:lnTo>
                  <a:lnTo>
                    <a:pt x="278" y="914"/>
                  </a:lnTo>
                  <a:lnTo>
                    <a:pt x="248" y="862"/>
                  </a:lnTo>
                  <a:lnTo>
                    <a:pt x="220" y="809"/>
                  </a:lnTo>
                  <a:lnTo>
                    <a:pt x="193" y="758"/>
                  </a:lnTo>
                  <a:lnTo>
                    <a:pt x="169" y="707"/>
                  </a:lnTo>
                  <a:lnTo>
                    <a:pt x="145" y="658"/>
                  </a:lnTo>
                  <a:lnTo>
                    <a:pt x="123" y="609"/>
                  </a:lnTo>
                  <a:lnTo>
                    <a:pt x="104" y="562"/>
                  </a:lnTo>
                  <a:lnTo>
                    <a:pt x="85" y="515"/>
                  </a:lnTo>
                  <a:lnTo>
                    <a:pt x="68" y="471"/>
                  </a:lnTo>
                  <a:lnTo>
                    <a:pt x="53" y="428"/>
                  </a:lnTo>
                  <a:lnTo>
                    <a:pt x="40" y="386"/>
                  </a:lnTo>
                  <a:lnTo>
                    <a:pt x="28" y="346"/>
                  </a:lnTo>
                  <a:lnTo>
                    <a:pt x="19" y="308"/>
                  </a:lnTo>
                  <a:lnTo>
                    <a:pt x="11" y="272"/>
                  </a:lnTo>
                  <a:lnTo>
                    <a:pt x="5" y="238"/>
                  </a:lnTo>
                  <a:lnTo>
                    <a:pt x="2" y="206"/>
                  </a:lnTo>
                  <a:lnTo>
                    <a:pt x="0" y="176"/>
                  </a:lnTo>
                  <a:lnTo>
                    <a:pt x="0" y="148"/>
                  </a:lnTo>
                  <a:lnTo>
                    <a:pt x="2" y="123"/>
                  </a:lnTo>
                  <a:lnTo>
                    <a:pt x="6" y="100"/>
                  </a:lnTo>
                  <a:lnTo>
                    <a:pt x="12" y="79"/>
                  </a:lnTo>
                  <a:lnTo>
                    <a:pt x="20" y="62"/>
                  </a:lnTo>
                  <a:lnTo>
                    <a:pt x="31" y="46"/>
                  </a:lnTo>
                  <a:lnTo>
                    <a:pt x="43" y="34"/>
                  </a:lnTo>
                  <a:lnTo>
                    <a:pt x="57" y="2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3" name="Freeform 28"/>
            <p:cNvSpPr>
              <a:spLocks noChangeArrowheads="1"/>
            </p:cNvSpPr>
            <p:nvPr userDrawn="1"/>
          </p:nvSpPr>
          <p:spPr bwMode="auto">
            <a:xfrm>
              <a:off x="7396163" y="4136809"/>
              <a:ext cx="568325" cy="1516321"/>
            </a:xfrm>
            <a:custGeom>
              <a:avLst/>
              <a:gdLst>
                <a:gd name="T0" fmla="*/ 250 w 1263"/>
                <a:gd name="T1" fmla="*/ 3 h 2727"/>
                <a:gd name="T2" fmla="*/ 351 w 1263"/>
                <a:gd name="T3" fmla="*/ 40 h 2727"/>
                <a:gd name="T4" fmla="*/ 449 w 1263"/>
                <a:gd name="T5" fmla="*/ 112 h 2727"/>
                <a:gd name="T6" fmla="*/ 566 w 1263"/>
                <a:gd name="T7" fmla="*/ 237 h 2727"/>
                <a:gd name="T8" fmla="*/ 686 w 1263"/>
                <a:gd name="T9" fmla="*/ 406 h 2727"/>
                <a:gd name="T10" fmla="*/ 924 w 1263"/>
                <a:gd name="T11" fmla="*/ 850 h 2727"/>
                <a:gd name="T12" fmla="*/ 1073 w 1263"/>
                <a:gd name="T13" fmla="*/ 1210 h 2727"/>
                <a:gd name="T14" fmla="*/ 1119 w 1263"/>
                <a:gd name="T15" fmla="*/ 1363 h 2727"/>
                <a:gd name="T16" fmla="*/ 1172 w 1263"/>
                <a:gd name="T17" fmla="*/ 1572 h 2727"/>
                <a:gd name="T18" fmla="*/ 1215 w 1263"/>
                <a:gd name="T19" fmla="*/ 1776 h 2727"/>
                <a:gd name="T20" fmla="*/ 1246 w 1263"/>
                <a:gd name="T21" fmla="*/ 1993 h 2727"/>
                <a:gd name="T22" fmla="*/ 1263 w 1263"/>
                <a:gd name="T23" fmla="*/ 2227 h 2727"/>
                <a:gd name="T24" fmla="*/ 1253 w 1263"/>
                <a:gd name="T25" fmla="*/ 2426 h 2727"/>
                <a:gd name="T26" fmla="*/ 1218 w 1263"/>
                <a:gd name="T27" fmla="*/ 2581 h 2727"/>
                <a:gd name="T28" fmla="*/ 1156 w 1263"/>
                <a:gd name="T29" fmla="*/ 2684 h 2727"/>
                <a:gd name="T30" fmla="*/ 1094 w 1263"/>
                <a:gd name="T31" fmla="*/ 2723 h 2727"/>
                <a:gd name="T32" fmla="*/ 1030 w 1263"/>
                <a:gd name="T33" fmla="*/ 2726 h 2727"/>
                <a:gd name="T34" fmla="*/ 928 w 1263"/>
                <a:gd name="T35" fmla="*/ 2695 h 2727"/>
                <a:gd name="T36" fmla="*/ 830 w 1263"/>
                <a:gd name="T37" fmla="*/ 2629 h 2727"/>
                <a:gd name="T38" fmla="*/ 718 w 1263"/>
                <a:gd name="T39" fmla="*/ 2512 h 2727"/>
                <a:gd name="T40" fmla="*/ 599 w 1263"/>
                <a:gd name="T41" fmla="*/ 2351 h 2727"/>
                <a:gd name="T42" fmla="*/ 477 w 1263"/>
                <a:gd name="T43" fmla="*/ 2151 h 2727"/>
                <a:gd name="T44" fmla="*/ 301 w 1263"/>
                <a:gd name="T45" fmla="*/ 1792 h 2727"/>
                <a:gd name="T46" fmla="*/ 188 w 1263"/>
                <a:gd name="T47" fmla="*/ 1506 h 2727"/>
                <a:gd name="T48" fmla="*/ 127 w 1263"/>
                <a:gd name="T49" fmla="*/ 1282 h 2727"/>
                <a:gd name="T50" fmla="*/ 76 w 1263"/>
                <a:gd name="T51" fmla="*/ 1066 h 2727"/>
                <a:gd name="T52" fmla="*/ 34 w 1263"/>
                <a:gd name="T53" fmla="*/ 842 h 2727"/>
                <a:gd name="T54" fmla="*/ 5 w 1263"/>
                <a:gd name="T55" fmla="*/ 595 h 2727"/>
                <a:gd name="T56" fmla="*/ 2 w 1263"/>
                <a:gd name="T57" fmla="*/ 383 h 2727"/>
                <a:gd name="T58" fmla="*/ 25 w 1263"/>
                <a:gd name="T59" fmla="*/ 210 h 2727"/>
                <a:gd name="T60" fmla="*/ 73 w 1263"/>
                <a:gd name="T61" fmla="*/ 85 h 2727"/>
                <a:gd name="T62" fmla="*/ 148 w 1263"/>
                <a:gd name="T63" fmla="*/ 11 h 2727"/>
                <a:gd name="T64" fmla="*/ 241 w 1263"/>
                <a:gd name="T65" fmla="*/ 177 h 2727"/>
                <a:gd name="T66" fmla="*/ 196 w 1263"/>
                <a:gd name="T67" fmla="*/ 193 h 2727"/>
                <a:gd name="T68" fmla="*/ 171 w 1263"/>
                <a:gd name="T69" fmla="*/ 271 h 2727"/>
                <a:gd name="T70" fmla="*/ 162 w 1263"/>
                <a:gd name="T71" fmla="*/ 389 h 2727"/>
                <a:gd name="T72" fmla="*/ 185 w 1263"/>
                <a:gd name="T73" fmla="*/ 694 h 2727"/>
                <a:gd name="T74" fmla="*/ 236 w 1263"/>
                <a:gd name="T75" fmla="*/ 998 h 2727"/>
                <a:gd name="T76" fmla="*/ 282 w 1263"/>
                <a:gd name="T77" fmla="*/ 1203 h 2727"/>
                <a:gd name="T78" fmla="*/ 340 w 1263"/>
                <a:gd name="T79" fmla="*/ 1421 h 2727"/>
                <a:gd name="T80" fmla="*/ 492 w 1263"/>
                <a:gd name="T81" fmla="*/ 1801 h 2727"/>
                <a:gd name="T82" fmla="*/ 676 w 1263"/>
                <a:gd name="T83" fmla="*/ 2157 h 2727"/>
                <a:gd name="T84" fmla="*/ 787 w 1263"/>
                <a:gd name="T85" fmla="*/ 2325 h 2727"/>
                <a:gd name="T86" fmla="*/ 893 w 1263"/>
                <a:gd name="T87" fmla="*/ 2454 h 2727"/>
                <a:gd name="T88" fmla="*/ 972 w 1263"/>
                <a:gd name="T89" fmla="*/ 2522 h 2727"/>
                <a:gd name="T90" fmla="*/ 1032 w 1263"/>
                <a:gd name="T91" fmla="*/ 2552 h 2727"/>
                <a:gd name="T92" fmla="*/ 1072 w 1263"/>
                <a:gd name="T93" fmla="*/ 2522 h 2727"/>
                <a:gd name="T94" fmla="*/ 1095 w 1263"/>
                <a:gd name="T95" fmla="*/ 2433 h 2727"/>
                <a:gd name="T96" fmla="*/ 1098 w 1263"/>
                <a:gd name="T97" fmla="*/ 2199 h 2727"/>
                <a:gd name="T98" fmla="*/ 1047 w 1263"/>
                <a:gd name="T99" fmla="*/ 1809 h 2727"/>
                <a:gd name="T100" fmla="*/ 1028 w 1263"/>
                <a:gd name="T101" fmla="*/ 1711 h 2727"/>
                <a:gd name="T102" fmla="*/ 982 w 1263"/>
                <a:gd name="T103" fmla="*/ 1511 h 2727"/>
                <a:gd name="T104" fmla="*/ 924 w 1263"/>
                <a:gd name="T105" fmla="*/ 1305 h 2727"/>
                <a:gd name="T106" fmla="*/ 807 w 1263"/>
                <a:gd name="T107" fmla="*/ 1005 h 2727"/>
                <a:gd name="T108" fmla="*/ 587 w 1263"/>
                <a:gd name="T109" fmla="*/ 570 h 2727"/>
                <a:gd name="T110" fmla="*/ 423 w 1263"/>
                <a:gd name="T111" fmla="*/ 332 h 2727"/>
                <a:gd name="T112" fmla="*/ 313 w 1263"/>
                <a:gd name="T113" fmla="*/ 221 h 2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3" h="2727">
                  <a:moveTo>
                    <a:pt x="175" y="2"/>
                  </a:moveTo>
                  <a:lnTo>
                    <a:pt x="183" y="1"/>
                  </a:lnTo>
                  <a:lnTo>
                    <a:pt x="200" y="0"/>
                  </a:lnTo>
                  <a:lnTo>
                    <a:pt x="216" y="0"/>
                  </a:lnTo>
                  <a:lnTo>
                    <a:pt x="234" y="1"/>
                  </a:lnTo>
                  <a:lnTo>
                    <a:pt x="250" y="3"/>
                  </a:lnTo>
                  <a:lnTo>
                    <a:pt x="268" y="6"/>
                  </a:lnTo>
                  <a:lnTo>
                    <a:pt x="285" y="11"/>
                  </a:lnTo>
                  <a:lnTo>
                    <a:pt x="302" y="18"/>
                  </a:lnTo>
                  <a:lnTo>
                    <a:pt x="319" y="24"/>
                  </a:lnTo>
                  <a:lnTo>
                    <a:pt x="336" y="32"/>
                  </a:lnTo>
                  <a:lnTo>
                    <a:pt x="351" y="40"/>
                  </a:lnTo>
                  <a:lnTo>
                    <a:pt x="368" y="50"/>
                  </a:lnTo>
                  <a:lnTo>
                    <a:pt x="384" y="61"/>
                  </a:lnTo>
                  <a:lnTo>
                    <a:pt x="400" y="72"/>
                  </a:lnTo>
                  <a:lnTo>
                    <a:pt x="416" y="85"/>
                  </a:lnTo>
                  <a:lnTo>
                    <a:pt x="433" y="98"/>
                  </a:lnTo>
                  <a:lnTo>
                    <a:pt x="449" y="112"/>
                  </a:lnTo>
                  <a:lnTo>
                    <a:pt x="469" y="130"/>
                  </a:lnTo>
                  <a:lnTo>
                    <a:pt x="487" y="149"/>
                  </a:lnTo>
                  <a:lnTo>
                    <a:pt x="507" y="169"/>
                  </a:lnTo>
                  <a:lnTo>
                    <a:pt x="526" y="191"/>
                  </a:lnTo>
                  <a:lnTo>
                    <a:pt x="546" y="213"/>
                  </a:lnTo>
                  <a:lnTo>
                    <a:pt x="566" y="237"/>
                  </a:lnTo>
                  <a:lnTo>
                    <a:pt x="585" y="263"/>
                  </a:lnTo>
                  <a:lnTo>
                    <a:pt x="606" y="289"/>
                  </a:lnTo>
                  <a:lnTo>
                    <a:pt x="625" y="317"/>
                  </a:lnTo>
                  <a:lnTo>
                    <a:pt x="645" y="345"/>
                  </a:lnTo>
                  <a:lnTo>
                    <a:pt x="666" y="375"/>
                  </a:lnTo>
                  <a:lnTo>
                    <a:pt x="686" y="406"/>
                  </a:lnTo>
                  <a:lnTo>
                    <a:pt x="726" y="471"/>
                  </a:lnTo>
                  <a:lnTo>
                    <a:pt x="766" y="539"/>
                  </a:lnTo>
                  <a:lnTo>
                    <a:pt x="807" y="611"/>
                  </a:lnTo>
                  <a:lnTo>
                    <a:pt x="846" y="688"/>
                  </a:lnTo>
                  <a:lnTo>
                    <a:pt x="885" y="767"/>
                  </a:lnTo>
                  <a:lnTo>
                    <a:pt x="924" y="850"/>
                  </a:lnTo>
                  <a:lnTo>
                    <a:pt x="962" y="935"/>
                  </a:lnTo>
                  <a:lnTo>
                    <a:pt x="1000" y="1023"/>
                  </a:lnTo>
                  <a:lnTo>
                    <a:pt x="1036" y="1113"/>
                  </a:lnTo>
                  <a:lnTo>
                    <a:pt x="1072" y="1205"/>
                  </a:lnTo>
                  <a:lnTo>
                    <a:pt x="1073" y="1210"/>
                  </a:lnTo>
                  <a:lnTo>
                    <a:pt x="1076" y="1218"/>
                  </a:lnTo>
                  <a:lnTo>
                    <a:pt x="1076" y="1219"/>
                  </a:lnTo>
                  <a:lnTo>
                    <a:pt x="1087" y="1255"/>
                  </a:lnTo>
                  <a:lnTo>
                    <a:pt x="1098" y="1291"/>
                  </a:lnTo>
                  <a:lnTo>
                    <a:pt x="1108" y="1327"/>
                  </a:lnTo>
                  <a:lnTo>
                    <a:pt x="1119" y="1363"/>
                  </a:lnTo>
                  <a:lnTo>
                    <a:pt x="1128" y="1398"/>
                  </a:lnTo>
                  <a:lnTo>
                    <a:pt x="1137" y="1433"/>
                  </a:lnTo>
                  <a:lnTo>
                    <a:pt x="1147" y="1469"/>
                  </a:lnTo>
                  <a:lnTo>
                    <a:pt x="1156" y="1504"/>
                  </a:lnTo>
                  <a:lnTo>
                    <a:pt x="1164" y="1538"/>
                  </a:lnTo>
                  <a:lnTo>
                    <a:pt x="1172" y="1572"/>
                  </a:lnTo>
                  <a:lnTo>
                    <a:pt x="1179" y="1607"/>
                  </a:lnTo>
                  <a:lnTo>
                    <a:pt x="1188" y="1641"/>
                  </a:lnTo>
                  <a:lnTo>
                    <a:pt x="1194" y="1675"/>
                  </a:lnTo>
                  <a:lnTo>
                    <a:pt x="1201" y="1709"/>
                  </a:lnTo>
                  <a:lnTo>
                    <a:pt x="1208" y="1743"/>
                  </a:lnTo>
                  <a:lnTo>
                    <a:pt x="1215" y="1776"/>
                  </a:lnTo>
                  <a:lnTo>
                    <a:pt x="1222" y="1821"/>
                  </a:lnTo>
                  <a:lnTo>
                    <a:pt x="1229" y="1865"/>
                  </a:lnTo>
                  <a:lnTo>
                    <a:pt x="1236" y="1908"/>
                  </a:lnTo>
                  <a:lnTo>
                    <a:pt x="1241" y="1950"/>
                  </a:lnTo>
                  <a:lnTo>
                    <a:pt x="1246" y="1993"/>
                  </a:lnTo>
                  <a:lnTo>
                    <a:pt x="1251" y="2034"/>
                  </a:lnTo>
                  <a:lnTo>
                    <a:pt x="1255" y="2074"/>
                  </a:lnTo>
                  <a:lnTo>
                    <a:pt x="1258" y="2113"/>
                  </a:lnTo>
                  <a:lnTo>
                    <a:pt x="1260" y="2152"/>
                  </a:lnTo>
                  <a:lnTo>
                    <a:pt x="1262" y="2190"/>
                  </a:lnTo>
                  <a:lnTo>
                    <a:pt x="1263" y="2227"/>
                  </a:lnTo>
                  <a:lnTo>
                    <a:pt x="1263" y="2263"/>
                  </a:lnTo>
                  <a:lnTo>
                    <a:pt x="1262" y="2297"/>
                  </a:lnTo>
                  <a:lnTo>
                    <a:pt x="1261" y="2331"/>
                  </a:lnTo>
                  <a:lnTo>
                    <a:pt x="1259" y="2364"/>
                  </a:lnTo>
                  <a:lnTo>
                    <a:pt x="1257" y="2395"/>
                  </a:lnTo>
                  <a:lnTo>
                    <a:pt x="1253" y="2426"/>
                  </a:lnTo>
                  <a:lnTo>
                    <a:pt x="1250" y="2455"/>
                  </a:lnTo>
                  <a:lnTo>
                    <a:pt x="1244" y="2482"/>
                  </a:lnTo>
                  <a:lnTo>
                    <a:pt x="1239" y="2509"/>
                  </a:lnTo>
                  <a:lnTo>
                    <a:pt x="1232" y="2535"/>
                  </a:lnTo>
                  <a:lnTo>
                    <a:pt x="1226" y="2559"/>
                  </a:lnTo>
                  <a:lnTo>
                    <a:pt x="1218" y="2581"/>
                  </a:lnTo>
                  <a:lnTo>
                    <a:pt x="1209" y="2602"/>
                  </a:lnTo>
                  <a:lnTo>
                    <a:pt x="1200" y="2622"/>
                  </a:lnTo>
                  <a:lnTo>
                    <a:pt x="1190" y="2640"/>
                  </a:lnTo>
                  <a:lnTo>
                    <a:pt x="1179" y="2657"/>
                  </a:lnTo>
                  <a:lnTo>
                    <a:pt x="1168" y="2671"/>
                  </a:lnTo>
                  <a:lnTo>
                    <a:pt x="1156" y="2684"/>
                  </a:lnTo>
                  <a:lnTo>
                    <a:pt x="1143" y="2697"/>
                  </a:lnTo>
                  <a:lnTo>
                    <a:pt x="1129" y="2706"/>
                  </a:lnTo>
                  <a:lnTo>
                    <a:pt x="1115" y="2714"/>
                  </a:lnTo>
                  <a:lnTo>
                    <a:pt x="1104" y="2719"/>
                  </a:lnTo>
                  <a:lnTo>
                    <a:pt x="1094" y="2722"/>
                  </a:lnTo>
                  <a:lnTo>
                    <a:pt x="1094" y="2723"/>
                  </a:lnTo>
                  <a:lnTo>
                    <a:pt x="1091" y="2723"/>
                  </a:lnTo>
                  <a:lnTo>
                    <a:pt x="1086" y="2724"/>
                  </a:lnTo>
                  <a:lnTo>
                    <a:pt x="1082" y="2724"/>
                  </a:lnTo>
                  <a:lnTo>
                    <a:pt x="1064" y="2726"/>
                  </a:lnTo>
                  <a:lnTo>
                    <a:pt x="1048" y="2727"/>
                  </a:lnTo>
                  <a:lnTo>
                    <a:pt x="1030" y="2726"/>
                  </a:lnTo>
                  <a:lnTo>
                    <a:pt x="1014" y="2724"/>
                  </a:lnTo>
                  <a:lnTo>
                    <a:pt x="996" y="2719"/>
                  </a:lnTo>
                  <a:lnTo>
                    <a:pt x="979" y="2715"/>
                  </a:lnTo>
                  <a:lnTo>
                    <a:pt x="961" y="2709"/>
                  </a:lnTo>
                  <a:lnTo>
                    <a:pt x="944" y="2702"/>
                  </a:lnTo>
                  <a:lnTo>
                    <a:pt x="928" y="2695"/>
                  </a:lnTo>
                  <a:lnTo>
                    <a:pt x="913" y="2686"/>
                  </a:lnTo>
                  <a:lnTo>
                    <a:pt x="896" y="2676"/>
                  </a:lnTo>
                  <a:lnTo>
                    <a:pt x="880" y="2666"/>
                  </a:lnTo>
                  <a:lnTo>
                    <a:pt x="863" y="2655"/>
                  </a:lnTo>
                  <a:lnTo>
                    <a:pt x="847" y="2642"/>
                  </a:lnTo>
                  <a:lnTo>
                    <a:pt x="830" y="2629"/>
                  </a:lnTo>
                  <a:lnTo>
                    <a:pt x="814" y="2613"/>
                  </a:lnTo>
                  <a:lnTo>
                    <a:pt x="795" y="2596"/>
                  </a:lnTo>
                  <a:lnTo>
                    <a:pt x="776" y="2577"/>
                  </a:lnTo>
                  <a:lnTo>
                    <a:pt x="757" y="2557"/>
                  </a:lnTo>
                  <a:lnTo>
                    <a:pt x="738" y="2535"/>
                  </a:lnTo>
                  <a:lnTo>
                    <a:pt x="718" y="2512"/>
                  </a:lnTo>
                  <a:lnTo>
                    <a:pt x="697" y="2489"/>
                  </a:lnTo>
                  <a:lnTo>
                    <a:pt x="678" y="2464"/>
                  </a:lnTo>
                  <a:lnTo>
                    <a:pt x="658" y="2437"/>
                  </a:lnTo>
                  <a:lnTo>
                    <a:pt x="638" y="2409"/>
                  </a:lnTo>
                  <a:lnTo>
                    <a:pt x="618" y="2380"/>
                  </a:lnTo>
                  <a:lnTo>
                    <a:pt x="599" y="2351"/>
                  </a:lnTo>
                  <a:lnTo>
                    <a:pt x="578" y="2321"/>
                  </a:lnTo>
                  <a:lnTo>
                    <a:pt x="557" y="2289"/>
                  </a:lnTo>
                  <a:lnTo>
                    <a:pt x="538" y="2256"/>
                  </a:lnTo>
                  <a:lnTo>
                    <a:pt x="517" y="2222"/>
                  </a:lnTo>
                  <a:lnTo>
                    <a:pt x="498" y="2187"/>
                  </a:lnTo>
                  <a:lnTo>
                    <a:pt x="477" y="2151"/>
                  </a:lnTo>
                  <a:lnTo>
                    <a:pt x="457" y="2114"/>
                  </a:lnTo>
                  <a:lnTo>
                    <a:pt x="438" y="2077"/>
                  </a:lnTo>
                  <a:lnTo>
                    <a:pt x="417" y="2038"/>
                  </a:lnTo>
                  <a:lnTo>
                    <a:pt x="378" y="1959"/>
                  </a:lnTo>
                  <a:lnTo>
                    <a:pt x="340" y="1876"/>
                  </a:lnTo>
                  <a:lnTo>
                    <a:pt x="301" y="1792"/>
                  </a:lnTo>
                  <a:lnTo>
                    <a:pt x="264" y="1703"/>
                  </a:lnTo>
                  <a:lnTo>
                    <a:pt x="228" y="1613"/>
                  </a:lnTo>
                  <a:lnTo>
                    <a:pt x="192" y="1521"/>
                  </a:lnTo>
                  <a:lnTo>
                    <a:pt x="190" y="1514"/>
                  </a:lnTo>
                  <a:lnTo>
                    <a:pt x="190" y="1513"/>
                  </a:lnTo>
                  <a:lnTo>
                    <a:pt x="188" y="1506"/>
                  </a:lnTo>
                  <a:lnTo>
                    <a:pt x="176" y="1469"/>
                  </a:lnTo>
                  <a:lnTo>
                    <a:pt x="166" y="1432"/>
                  </a:lnTo>
                  <a:lnTo>
                    <a:pt x="156" y="1394"/>
                  </a:lnTo>
                  <a:lnTo>
                    <a:pt x="145" y="1357"/>
                  </a:lnTo>
                  <a:lnTo>
                    <a:pt x="136" y="1320"/>
                  </a:lnTo>
                  <a:lnTo>
                    <a:pt x="127" y="1282"/>
                  </a:lnTo>
                  <a:lnTo>
                    <a:pt x="117" y="1245"/>
                  </a:lnTo>
                  <a:lnTo>
                    <a:pt x="108" y="1208"/>
                  </a:lnTo>
                  <a:lnTo>
                    <a:pt x="99" y="1172"/>
                  </a:lnTo>
                  <a:lnTo>
                    <a:pt x="92" y="1136"/>
                  </a:lnTo>
                  <a:lnTo>
                    <a:pt x="84" y="1101"/>
                  </a:lnTo>
                  <a:lnTo>
                    <a:pt x="76" y="1066"/>
                  </a:lnTo>
                  <a:lnTo>
                    <a:pt x="69" y="1032"/>
                  </a:lnTo>
                  <a:lnTo>
                    <a:pt x="62" y="998"/>
                  </a:lnTo>
                  <a:lnTo>
                    <a:pt x="56" y="964"/>
                  </a:lnTo>
                  <a:lnTo>
                    <a:pt x="50" y="931"/>
                  </a:lnTo>
                  <a:lnTo>
                    <a:pt x="41" y="886"/>
                  </a:lnTo>
                  <a:lnTo>
                    <a:pt x="34" y="842"/>
                  </a:lnTo>
                  <a:lnTo>
                    <a:pt x="28" y="799"/>
                  </a:lnTo>
                  <a:lnTo>
                    <a:pt x="22" y="756"/>
                  </a:lnTo>
                  <a:lnTo>
                    <a:pt x="17" y="714"/>
                  </a:lnTo>
                  <a:lnTo>
                    <a:pt x="12" y="673"/>
                  </a:lnTo>
                  <a:lnTo>
                    <a:pt x="8" y="634"/>
                  </a:lnTo>
                  <a:lnTo>
                    <a:pt x="5" y="595"/>
                  </a:lnTo>
                  <a:lnTo>
                    <a:pt x="3" y="557"/>
                  </a:lnTo>
                  <a:lnTo>
                    <a:pt x="1" y="520"/>
                  </a:lnTo>
                  <a:lnTo>
                    <a:pt x="0" y="484"/>
                  </a:lnTo>
                  <a:lnTo>
                    <a:pt x="0" y="449"/>
                  </a:lnTo>
                  <a:lnTo>
                    <a:pt x="1" y="414"/>
                  </a:lnTo>
                  <a:lnTo>
                    <a:pt x="2" y="383"/>
                  </a:lnTo>
                  <a:lnTo>
                    <a:pt x="4" y="351"/>
                  </a:lnTo>
                  <a:lnTo>
                    <a:pt x="6" y="320"/>
                  </a:lnTo>
                  <a:lnTo>
                    <a:pt x="10" y="291"/>
                  </a:lnTo>
                  <a:lnTo>
                    <a:pt x="15" y="262"/>
                  </a:lnTo>
                  <a:lnTo>
                    <a:pt x="19" y="235"/>
                  </a:lnTo>
                  <a:lnTo>
                    <a:pt x="25" y="210"/>
                  </a:lnTo>
                  <a:lnTo>
                    <a:pt x="31" y="186"/>
                  </a:lnTo>
                  <a:lnTo>
                    <a:pt x="37" y="163"/>
                  </a:lnTo>
                  <a:lnTo>
                    <a:pt x="45" y="141"/>
                  </a:lnTo>
                  <a:lnTo>
                    <a:pt x="54" y="121"/>
                  </a:lnTo>
                  <a:lnTo>
                    <a:pt x="63" y="102"/>
                  </a:lnTo>
                  <a:lnTo>
                    <a:pt x="73" y="85"/>
                  </a:lnTo>
                  <a:lnTo>
                    <a:pt x="84" y="68"/>
                  </a:lnTo>
                  <a:lnTo>
                    <a:pt x="95" y="54"/>
                  </a:lnTo>
                  <a:lnTo>
                    <a:pt x="107" y="40"/>
                  </a:lnTo>
                  <a:lnTo>
                    <a:pt x="121" y="29"/>
                  </a:lnTo>
                  <a:lnTo>
                    <a:pt x="134" y="20"/>
                  </a:lnTo>
                  <a:lnTo>
                    <a:pt x="148" y="11"/>
                  </a:lnTo>
                  <a:lnTo>
                    <a:pt x="156" y="8"/>
                  </a:lnTo>
                  <a:lnTo>
                    <a:pt x="162" y="5"/>
                  </a:lnTo>
                  <a:lnTo>
                    <a:pt x="169" y="4"/>
                  </a:lnTo>
                  <a:lnTo>
                    <a:pt x="175" y="2"/>
                  </a:lnTo>
                  <a:close/>
                  <a:moveTo>
                    <a:pt x="251" y="180"/>
                  </a:moveTo>
                  <a:lnTo>
                    <a:pt x="241" y="177"/>
                  </a:lnTo>
                  <a:lnTo>
                    <a:pt x="232" y="174"/>
                  </a:lnTo>
                  <a:lnTo>
                    <a:pt x="224" y="172"/>
                  </a:lnTo>
                  <a:lnTo>
                    <a:pt x="215" y="171"/>
                  </a:lnTo>
                  <a:lnTo>
                    <a:pt x="208" y="177"/>
                  </a:lnTo>
                  <a:lnTo>
                    <a:pt x="202" y="185"/>
                  </a:lnTo>
                  <a:lnTo>
                    <a:pt x="196" y="193"/>
                  </a:lnTo>
                  <a:lnTo>
                    <a:pt x="191" y="203"/>
                  </a:lnTo>
                  <a:lnTo>
                    <a:pt x="186" y="215"/>
                  </a:lnTo>
                  <a:lnTo>
                    <a:pt x="181" y="227"/>
                  </a:lnTo>
                  <a:lnTo>
                    <a:pt x="177" y="240"/>
                  </a:lnTo>
                  <a:lnTo>
                    <a:pt x="174" y="255"/>
                  </a:lnTo>
                  <a:lnTo>
                    <a:pt x="171" y="271"/>
                  </a:lnTo>
                  <a:lnTo>
                    <a:pt x="168" y="288"/>
                  </a:lnTo>
                  <a:lnTo>
                    <a:pt x="166" y="306"/>
                  </a:lnTo>
                  <a:lnTo>
                    <a:pt x="165" y="325"/>
                  </a:lnTo>
                  <a:lnTo>
                    <a:pt x="163" y="345"/>
                  </a:lnTo>
                  <a:lnTo>
                    <a:pt x="162" y="366"/>
                  </a:lnTo>
                  <a:lnTo>
                    <a:pt x="162" y="389"/>
                  </a:lnTo>
                  <a:lnTo>
                    <a:pt x="162" y="411"/>
                  </a:lnTo>
                  <a:lnTo>
                    <a:pt x="163" y="461"/>
                  </a:lnTo>
                  <a:lnTo>
                    <a:pt x="166" y="514"/>
                  </a:lnTo>
                  <a:lnTo>
                    <a:pt x="170" y="570"/>
                  </a:lnTo>
                  <a:lnTo>
                    <a:pt x="176" y="631"/>
                  </a:lnTo>
                  <a:lnTo>
                    <a:pt x="185" y="694"/>
                  </a:lnTo>
                  <a:lnTo>
                    <a:pt x="194" y="760"/>
                  </a:lnTo>
                  <a:lnTo>
                    <a:pt x="205" y="829"/>
                  </a:lnTo>
                  <a:lnTo>
                    <a:pt x="217" y="900"/>
                  </a:lnTo>
                  <a:lnTo>
                    <a:pt x="223" y="933"/>
                  </a:lnTo>
                  <a:lnTo>
                    <a:pt x="230" y="965"/>
                  </a:lnTo>
                  <a:lnTo>
                    <a:pt x="236" y="998"/>
                  </a:lnTo>
                  <a:lnTo>
                    <a:pt x="243" y="1032"/>
                  </a:lnTo>
                  <a:lnTo>
                    <a:pt x="250" y="1065"/>
                  </a:lnTo>
                  <a:lnTo>
                    <a:pt x="258" y="1099"/>
                  </a:lnTo>
                  <a:lnTo>
                    <a:pt x="266" y="1134"/>
                  </a:lnTo>
                  <a:lnTo>
                    <a:pt x="274" y="1168"/>
                  </a:lnTo>
                  <a:lnTo>
                    <a:pt x="282" y="1203"/>
                  </a:lnTo>
                  <a:lnTo>
                    <a:pt x="291" y="1238"/>
                  </a:lnTo>
                  <a:lnTo>
                    <a:pt x="300" y="1274"/>
                  </a:lnTo>
                  <a:lnTo>
                    <a:pt x="310" y="1310"/>
                  </a:lnTo>
                  <a:lnTo>
                    <a:pt x="319" y="1346"/>
                  </a:lnTo>
                  <a:lnTo>
                    <a:pt x="330" y="1383"/>
                  </a:lnTo>
                  <a:lnTo>
                    <a:pt x="340" y="1421"/>
                  </a:lnTo>
                  <a:lnTo>
                    <a:pt x="351" y="1459"/>
                  </a:lnTo>
                  <a:lnTo>
                    <a:pt x="353" y="1465"/>
                  </a:lnTo>
                  <a:lnTo>
                    <a:pt x="386" y="1553"/>
                  </a:lnTo>
                  <a:lnTo>
                    <a:pt x="421" y="1638"/>
                  </a:lnTo>
                  <a:lnTo>
                    <a:pt x="456" y="1721"/>
                  </a:lnTo>
                  <a:lnTo>
                    <a:pt x="492" y="1801"/>
                  </a:lnTo>
                  <a:lnTo>
                    <a:pt x="529" y="1878"/>
                  </a:lnTo>
                  <a:lnTo>
                    <a:pt x="565" y="1953"/>
                  </a:lnTo>
                  <a:lnTo>
                    <a:pt x="602" y="2025"/>
                  </a:lnTo>
                  <a:lnTo>
                    <a:pt x="639" y="2092"/>
                  </a:lnTo>
                  <a:lnTo>
                    <a:pt x="657" y="2125"/>
                  </a:lnTo>
                  <a:lnTo>
                    <a:pt x="676" y="2157"/>
                  </a:lnTo>
                  <a:lnTo>
                    <a:pt x="694" y="2187"/>
                  </a:lnTo>
                  <a:lnTo>
                    <a:pt x="713" y="2216"/>
                  </a:lnTo>
                  <a:lnTo>
                    <a:pt x="731" y="2245"/>
                  </a:lnTo>
                  <a:lnTo>
                    <a:pt x="750" y="2273"/>
                  </a:lnTo>
                  <a:lnTo>
                    <a:pt x="769" y="2299"/>
                  </a:lnTo>
                  <a:lnTo>
                    <a:pt x="787" y="2325"/>
                  </a:lnTo>
                  <a:lnTo>
                    <a:pt x="805" y="2349"/>
                  </a:lnTo>
                  <a:lnTo>
                    <a:pt x="823" y="2372"/>
                  </a:lnTo>
                  <a:lnTo>
                    <a:pt x="841" y="2395"/>
                  </a:lnTo>
                  <a:lnTo>
                    <a:pt x="858" y="2415"/>
                  </a:lnTo>
                  <a:lnTo>
                    <a:pt x="876" y="2435"/>
                  </a:lnTo>
                  <a:lnTo>
                    <a:pt x="893" y="2454"/>
                  </a:lnTo>
                  <a:lnTo>
                    <a:pt x="911" y="2471"/>
                  </a:lnTo>
                  <a:lnTo>
                    <a:pt x="928" y="2486"/>
                  </a:lnTo>
                  <a:lnTo>
                    <a:pt x="939" y="2497"/>
                  </a:lnTo>
                  <a:lnTo>
                    <a:pt x="950" y="2505"/>
                  </a:lnTo>
                  <a:lnTo>
                    <a:pt x="961" y="2514"/>
                  </a:lnTo>
                  <a:lnTo>
                    <a:pt x="972" y="2522"/>
                  </a:lnTo>
                  <a:lnTo>
                    <a:pt x="983" y="2529"/>
                  </a:lnTo>
                  <a:lnTo>
                    <a:pt x="993" y="2535"/>
                  </a:lnTo>
                  <a:lnTo>
                    <a:pt x="1003" y="2540"/>
                  </a:lnTo>
                  <a:lnTo>
                    <a:pt x="1013" y="2545"/>
                  </a:lnTo>
                  <a:lnTo>
                    <a:pt x="1023" y="2549"/>
                  </a:lnTo>
                  <a:lnTo>
                    <a:pt x="1032" y="2552"/>
                  </a:lnTo>
                  <a:lnTo>
                    <a:pt x="1040" y="2553"/>
                  </a:lnTo>
                  <a:lnTo>
                    <a:pt x="1049" y="2555"/>
                  </a:lnTo>
                  <a:lnTo>
                    <a:pt x="1056" y="2548"/>
                  </a:lnTo>
                  <a:lnTo>
                    <a:pt x="1062" y="2541"/>
                  </a:lnTo>
                  <a:lnTo>
                    <a:pt x="1067" y="2532"/>
                  </a:lnTo>
                  <a:lnTo>
                    <a:pt x="1072" y="2522"/>
                  </a:lnTo>
                  <a:lnTo>
                    <a:pt x="1078" y="2509"/>
                  </a:lnTo>
                  <a:lnTo>
                    <a:pt x="1082" y="2497"/>
                  </a:lnTo>
                  <a:lnTo>
                    <a:pt x="1086" y="2482"/>
                  </a:lnTo>
                  <a:lnTo>
                    <a:pt x="1090" y="2467"/>
                  </a:lnTo>
                  <a:lnTo>
                    <a:pt x="1093" y="2450"/>
                  </a:lnTo>
                  <a:lnTo>
                    <a:pt x="1095" y="2433"/>
                  </a:lnTo>
                  <a:lnTo>
                    <a:pt x="1097" y="2413"/>
                  </a:lnTo>
                  <a:lnTo>
                    <a:pt x="1099" y="2394"/>
                  </a:lnTo>
                  <a:lnTo>
                    <a:pt x="1101" y="2350"/>
                  </a:lnTo>
                  <a:lnTo>
                    <a:pt x="1102" y="2304"/>
                  </a:lnTo>
                  <a:lnTo>
                    <a:pt x="1100" y="2252"/>
                  </a:lnTo>
                  <a:lnTo>
                    <a:pt x="1098" y="2199"/>
                  </a:lnTo>
                  <a:lnTo>
                    <a:pt x="1093" y="2141"/>
                  </a:lnTo>
                  <a:lnTo>
                    <a:pt x="1087" y="2080"/>
                  </a:lnTo>
                  <a:lnTo>
                    <a:pt x="1080" y="2016"/>
                  </a:lnTo>
                  <a:lnTo>
                    <a:pt x="1070" y="1949"/>
                  </a:lnTo>
                  <a:lnTo>
                    <a:pt x="1059" y="1880"/>
                  </a:lnTo>
                  <a:lnTo>
                    <a:pt x="1047" y="1809"/>
                  </a:lnTo>
                  <a:lnTo>
                    <a:pt x="1047" y="1807"/>
                  </a:lnTo>
                  <a:lnTo>
                    <a:pt x="1040" y="1775"/>
                  </a:lnTo>
                  <a:lnTo>
                    <a:pt x="1034" y="1744"/>
                  </a:lnTo>
                  <a:lnTo>
                    <a:pt x="1028" y="1711"/>
                  </a:lnTo>
                  <a:lnTo>
                    <a:pt x="1021" y="1679"/>
                  </a:lnTo>
                  <a:lnTo>
                    <a:pt x="1014" y="1646"/>
                  </a:lnTo>
                  <a:lnTo>
                    <a:pt x="1005" y="1612"/>
                  </a:lnTo>
                  <a:lnTo>
                    <a:pt x="998" y="1578"/>
                  </a:lnTo>
                  <a:lnTo>
                    <a:pt x="990" y="1544"/>
                  </a:lnTo>
                  <a:lnTo>
                    <a:pt x="982" y="1511"/>
                  </a:lnTo>
                  <a:lnTo>
                    <a:pt x="972" y="1477"/>
                  </a:lnTo>
                  <a:lnTo>
                    <a:pt x="963" y="1443"/>
                  </a:lnTo>
                  <a:lnTo>
                    <a:pt x="954" y="1409"/>
                  </a:lnTo>
                  <a:lnTo>
                    <a:pt x="945" y="1374"/>
                  </a:lnTo>
                  <a:lnTo>
                    <a:pt x="934" y="1340"/>
                  </a:lnTo>
                  <a:lnTo>
                    <a:pt x="924" y="1305"/>
                  </a:lnTo>
                  <a:lnTo>
                    <a:pt x="914" y="1271"/>
                  </a:lnTo>
                  <a:lnTo>
                    <a:pt x="913" y="1268"/>
                  </a:lnTo>
                  <a:lnTo>
                    <a:pt x="911" y="1261"/>
                  </a:lnTo>
                  <a:lnTo>
                    <a:pt x="877" y="1173"/>
                  </a:lnTo>
                  <a:lnTo>
                    <a:pt x="843" y="1088"/>
                  </a:lnTo>
                  <a:lnTo>
                    <a:pt x="807" y="1005"/>
                  </a:lnTo>
                  <a:lnTo>
                    <a:pt x="772" y="925"/>
                  </a:lnTo>
                  <a:lnTo>
                    <a:pt x="736" y="847"/>
                  </a:lnTo>
                  <a:lnTo>
                    <a:pt x="698" y="773"/>
                  </a:lnTo>
                  <a:lnTo>
                    <a:pt x="661" y="702"/>
                  </a:lnTo>
                  <a:lnTo>
                    <a:pt x="624" y="634"/>
                  </a:lnTo>
                  <a:lnTo>
                    <a:pt x="587" y="570"/>
                  </a:lnTo>
                  <a:lnTo>
                    <a:pt x="550" y="509"/>
                  </a:lnTo>
                  <a:lnTo>
                    <a:pt x="514" y="454"/>
                  </a:lnTo>
                  <a:lnTo>
                    <a:pt x="477" y="401"/>
                  </a:lnTo>
                  <a:lnTo>
                    <a:pt x="458" y="377"/>
                  </a:lnTo>
                  <a:lnTo>
                    <a:pt x="441" y="354"/>
                  </a:lnTo>
                  <a:lnTo>
                    <a:pt x="423" y="332"/>
                  </a:lnTo>
                  <a:lnTo>
                    <a:pt x="405" y="311"/>
                  </a:lnTo>
                  <a:lnTo>
                    <a:pt x="387" y="292"/>
                  </a:lnTo>
                  <a:lnTo>
                    <a:pt x="370" y="273"/>
                  </a:lnTo>
                  <a:lnTo>
                    <a:pt x="353" y="256"/>
                  </a:lnTo>
                  <a:lnTo>
                    <a:pt x="336" y="240"/>
                  </a:lnTo>
                  <a:lnTo>
                    <a:pt x="313" y="221"/>
                  </a:lnTo>
                  <a:lnTo>
                    <a:pt x="292" y="204"/>
                  </a:lnTo>
                  <a:lnTo>
                    <a:pt x="281" y="198"/>
                  </a:lnTo>
                  <a:lnTo>
                    <a:pt x="271" y="191"/>
                  </a:lnTo>
                  <a:lnTo>
                    <a:pt x="261" y="186"/>
                  </a:lnTo>
                  <a:lnTo>
                    <a:pt x="251" y="1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4" name="Freeform 29"/>
            <p:cNvSpPr>
              <a:spLocks noChangeArrowheads="1"/>
            </p:cNvSpPr>
            <p:nvPr userDrawn="1"/>
          </p:nvSpPr>
          <p:spPr bwMode="auto">
            <a:xfrm>
              <a:off x="7432675" y="4188726"/>
              <a:ext cx="495300" cy="1417858"/>
            </a:xfrm>
            <a:custGeom>
              <a:avLst/>
              <a:gdLst>
                <a:gd name="T0" fmla="*/ 145 w 1099"/>
                <a:gd name="T1" fmla="*/ 1 h 2555"/>
                <a:gd name="T2" fmla="*/ 212 w 1099"/>
                <a:gd name="T3" fmla="*/ 21 h 2555"/>
                <a:gd name="T4" fmla="*/ 284 w 1099"/>
                <a:gd name="T5" fmla="*/ 68 h 2555"/>
                <a:gd name="T6" fmla="*/ 359 w 1099"/>
                <a:gd name="T7" fmla="*/ 139 h 2555"/>
                <a:gd name="T8" fmla="*/ 437 w 1099"/>
                <a:gd name="T9" fmla="*/ 232 h 2555"/>
                <a:gd name="T10" fmla="*/ 518 w 1099"/>
                <a:gd name="T11" fmla="*/ 345 h 2555"/>
                <a:gd name="T12" fmla="*/ 598 w 1099"/>
                <a:gd name="T13" fmla="*/ 476 h 2555"/>
                <a:gd name="T14" fmla="*/ 679 w 1099"/>
                <a:gd name="T15" fmla="*/ 624 h 2555"/>
                <a:gd name="T16" fmla="*/ 759 w 1099"/>
                <a:gd name="T17" fmla="*/ 787 h 2555"/>
                <a:gd name="T18" fmla="*/ 836 w 1099"/>
                <a:gd name="T19" fmla="*/ 963 h 2555"/>
                <a:gd name="T20" fmla="*/ 909 w 1099"/>
                <a:gd name="T21" fmla="*/ 1149 h 2555"/>
                <a:gd name="T22" fmla="*/ 964 w 1099"/>
                <a:gd name="T23" fmla="*/ 1339 h 2555"/>
                <a:gd name="T24" fmla="*/ 1010 w 1099"/>
                <a:gd name="T25" fmla="*/ 1524 h 2555"/>
                <a:gd name="T26" fmla="*/ 1047 w 1099"/>
                <a:gd name="T27" fmla="*/ 1702 h 2555"/>
                <a:gd name="T28" fmla="*/ 1074 w 1099"/>
                <a:gd name="T29" fmla="*/ 1870 h 2555"/>
                <a:gd name="T30" fmla="*/ 1091 w 1099"/>
                <a:gd name="T31" fmla="*/ 2025 h 2555"/>
                <a:gd name="T32" fmla="*/ 1099 w 1099"/>
                <a:gd name="T33" fmla="*/ 2166 h 2555"/>
                <a:gd name="T34" fmla="*/ 1095 w 1099"/>
                <a:gd name="T35" fmla="*/ 2289 h 2555"/>
                <a:gd name="T36" fmla="*/ 1082 w 1099"/>
                <a:gd name="T37" fmla="*/ 2393 h 2555"/>
                <a:gd name="T38" fmla="*/ 1058 w 1099"/>
                <a:gd name="T39" fmla="*/ 2474 h 2555"/>
                <a:gd name="T40" fmla="*/ 1023 w 1099"/>
                <a:gd name="T41" fmla="*/ 2530 h 2555"/>
                <a:gd name="T42" fmla="*/ 974 w 1099"/>
                <a:gd name="T43" fmla="*/ 2555 h 2555"/>
                <a:gd name="T44" fmla="*/ 909 w 1099"/>
                <a:gd name="T45" fmla="*/ 2543 h 2555"/>
                <a:gd name="T46" fmla="*/ 839 w 1099"/>
                <a:gd name="T47" fmla="*/ 2505 h 2555"/>
                <a:gd name="T48" fmla="*/ 765 w 1099"/>
                <a:gd name="T49" fmla="*/ 2442 h 2555"/>
                <a:gd name="T50" fmla="*/ 687 w 1099"/>
                <a:gd name="T51" fmla="*/ 2356 h 2555"/>
                <a:gd name="T52" fmla="*/ 607 w 1099"/>
                <a:gd name="T53" fmla="*/ 2249 h 2555"/>
                <a:gd name="T54" fmla="*/ 526 w 1099"/>
                <a:gd name="T55" fmla="*/ 2124 h 2555"/>
                <a:gd name="T56" fmla="*/ 446 w 1099"/>
                <a:gd name="T57" fmla="*/ 1981 h 2555"/>
                <a:gd name="T58" fmla="*/ 365 w 1099"/>
                <a:gd name="T59" fmla="*/ 1822 h 2555"/>
                <a:gd name="T60" fmla="*/ 288 w 1099"/>
                <a:gd name="T61" fmla="*/ 1651 h 2555"/>
                <a:gd name="T62" fmla="*/ 213 w 1099"/>
                <a:gd name="T63" fmla="*/ 1468 h 2555"/>
                <a:gd name="T64" fmla="*/ 151 w 1099"/>
                <a:gd name="T65" fmla="*/ 1271 h 2555"/>
                <a:gd name="T66" fmla="*/ 102 w 1099"/>
                <a:gd name="T67" fmla="*/ 1077 h 2555"/>
                <a:gd name="T68" fmla="*/ 62 w 1099"/>
                <a:gd name="T69" fmla="*/ 892 h 2555"/>
                <a:gd name="T70" fmla="*/ 31 w 1099"/>
                <a:gd name="T71" fmla="*/ 720 h 2555"/>
                <a:gd name="T72" fmla="*/ 11 w 1099"/>
                <a:gd name="T73" fmla="*/ 561 h 2555"/>
                <a:gd name="T74" fmla="*/ 1 w 1099"/>
                <a:gd name="T75" fmla="*/ 418 h 2555"/>
                <a:gd name="T76" fmla="*/ 1 w 1099"/>
                <a:gd name="T77" fmla="*/ 292 h 2555"/>
                <a:gd name="T78" fmla="*/ 10 w 1099"/>
                <a:gd name="T79" fmla="*/ 186 h 2555"/>
                <a:gd name="T80" fmla="*/ 30 w 1099"/>
                <a:gd name="T81" fmla="*/ 101 h 2555"/>
                <a:gd name="T82" fmla="*/ 61 w 1099"/>
                <a:gd name="T83" fmla="*/ 39 h 2555"/>
                <a:gd name="T84" fmla="*/ 104 w 1099"/>
                <a:gd name="T85" fmla="*/ 2 h 2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99" h="2555">
                  <a:moveTo>
                    <a:pt x="104" y="2"/>
                  </a:moveTo>
                  <a:lnTo>
                    <a:pt x="124" y="0"/>
                  </a:lnTo>
                  <a:lnTo>
                    <a:pt x="145" y="1"/>
                  </a:lnTo>
                  <a:lnTo>
                    <a:pt x="166" y="5"/>
                  </a:lnTo>
                  <a:lnTo>
                    <a:pt x="189" y="11"/>
                  </a:lnTo>
                  <a:lnTo>
                    <a:pt x="212" y="21"/>
                  </a:lnTo>
                  <a:lnTo>
                    <a:pt x="235" y="34"/>
                  </a:lnTo>
                  <a:lnTo>
                    <a:pt x="259" y="49"/>
                  </a:lnTo>
                  <a:lnTo>
                    <a:pt x="284" y="68"/>
                  </a:lnTo>
                  <a:lnTo>
                    <a:pt x="309" y="88"/>
                  </a:lnTo>
                  <a:lnTo>
                    <a:pt x="333" y="112"/>
                  </a:lnTo>
                  <a:lnTo>
                    <a:pt x="359" y="139"/>
                  </a:lnTo>
                  <a:lnTo>
                    <a:pt x="385" y="167"/>
                  </a:lnTo>
                  <a:lnTo>
                    <a:pt x="411" y="199"/>
                  </a:lnTo>
                  <a:lnTo>
                    <a:pt x="437" y="232"/>
                  </a:lnTo>
                  <a:lnTo>
                    <a:pt x="464" y="267"/>
                  </a:lnTo>
                  <a:lnTo>
                    <a:pt x="491" y="305"/>
                  </a:lnTo>
                  <a:lnTo>
                    <a:pt x="518" y="345"/>
                  </a:lnTo>
                  <a:lnTo>
                    <a:pt x="544" y="386"/>
                  </a:lnTo>
                  <a:lnTo>
                    <a:pt x="571" y="431"/>
                  </a:lnTo>
                  <a:lnTo>
                    <a:pt x="598" y="476"/>
                  </a:lnTo>
                  <a:lnTo>
                    <a:pt x="626" y="524"/>
                  </a:lnTo>
                  <a:lnTo>
                    <a:pt x="653" y="574"/>
                  </a:lnTo>
                  <a:lnTo>
                    <a:pt x="679" y="624"/>
                  </a:lnTo>
                  <a:lnTo>
                    <a:pt x="706" y="677"/>
                  </a:lnTo>
                  <a:lnTo>
                    <a:pt x="732" y="732"/>
                  </a:lnTo>
                  <a:lnTo>
                    <a:pt x="759" y="787"/>
                  </a:lnTo>
                  <a:lnTo>
                    <a:pt x="784" y="845"/>
                  </a:lnTo>
                  <a:lnTo>
                    <a:pt x="810" y="904"/>
                  </a:lnTo>
                  <a:lnTo>
                    <a:pt x="836" y="963"/>
                  </a:lnTo>
                  <a:lnTo>
                    <a:pt x="861" y="1024"/>
                  </a:lnTo>
                  <a:lnTo>
                    <a:pt x="885" y="1086"/>
                  </a:lnTo>
                  <a:lnTo>
                    <a:pt x="909" y="1149"/>
                  </a:lnTo>
                  <a:lnTo>
                    <a:pt x="929" y="1213"/>
                  </a:lnTo>
                  <a:lnTo>
                    <a:pt x="947" y="1277"/>
                  </a:lnTo>
                  <a:lnTo>
                    <a:pt x="964" y="1339"/>
                  </a:lnTo>
                  <a:lnTo>
                    <a:pt x="980" y="1402"/>
                  </a:lnTo>
                  <a:lnTo>
                    <a:pt x="996" y="1463"/>
                  </a:lnTo>
                  <a:lnTo>
                    <a:pt x="1010" y="1524"/>
                  </a:lnTo>
                  <a:lnTo>
                    <a:pt x="1023" y="1584"/>
                  </a:lnTo>
                  <a:lnTo>
                    <a:pt x="1036" y="1644"/>
                  </a:lnTo>
                  <a:lnTo>
                    <a:pt x="1047" y="1702"/>
                  </a:lnTo>
                  <a:lnTo>
                    <a:pt x="1056" y="1759"/>
                  </a:lnTo>
                  <a:lnTo>
                    <a:pt x="1066" y="1815"/>
                  </a:lnTo>
                  <a:lnTo>
                    <a:pt x="1074" y="1870"/>
                  </a:lnTo>
                  <a:lnTo>
                    <a:pt x="1080" y="1923"/>
                  </a:lnTo>
                  <a:lnTo>
                    <a:pt x="1086" y="1975"/>
                  </a:lnTo>
                  <a:lnTo>
                    <a:pt x="1091" y="2025"/>
                  </a:lnTo>
                  <a:lnTo>
                    <a:pt x="1094" y="2074"/>
                  </a:lnTo>
                  <a:lnTo>
                    <a:pt x="1096" y="2121"/>
                  </a:lnTo>
                  <a:lnTo>
                    <a:pt x="1099" y="2166"/>
                  </a:lnTo>
                  <a:lnTo>
                    <a:pt x="1099" y="2210"/>
                  </a:lnTo>
                  <a:lnTo>
                    <a:pt x="1098" y="2250"/>
                  </a:lnTo>
                  <a:lnTo>
                    <a:pt x="1095" y="2289"/>
                  </a:lnTo>
                  <a:lnTo>
                    <a:pt x="1092" y="2326"/>
                  </a:lnTo>
                  <a:lnTo>
                    <a:pt x="1087" y="2360"/>
                  </a:lnTo>
                  <a:lnTo>
                    <a:pt x="1082" y="2393"/>
                  </a:lnTo>
                  <a:lnTo>
                    <a:pt x="1075" y="2422"/>
                  </a:lnTo>
                  <a:lnTo>
                    <a:pt x="1067" y="2450"/>
                  </a:lnTo>
                  <a:lnTo>
                    <a:pt x="1058" y="2474"/>
                  </a:lnTo>
                  <a:lnTo>
                    <a:pt x="1048" y="2495"/>
                  </a:lnTo>
                  <a:lnTo>
                    <a:pt x="1036" y="2514"/>
                  </a:lnTo>
                  <a:lnTo>
                    <a:pt x="1023" y="2530"/>
                  </a:lnTo>
                  <a:lnTo>
                    <a:pt x="1009" y="2543"/>
                  </a:lnTo>
                  <a:lnTo>
                    <a:pt x="993" y="2552"/>
                  </a:lnTo>
                  <a:lnTo>
                    <a:pt x="974" y="2555"/>
                  </a:lnTo>
                  <a:lnTo>
                    <a:pt x="952" y="2554"/>
                  </a:lnTo>
                  <a:lnTo>
                    <a:pt x="931" y="2550"/>
                  </a:lnTo>
                  <a:lnTo>
                    <a:pt x="909" y="2543"/>
                  </a:lnTo>
                  <a:lnTo>
                    <a:pt x="886" y="2533"/>
                  </a:lnTo>
                  <a:lnTo>
                    <a:pt x="863" y="2520"/>
                  </a:lnTo>
                  <a:lnTo>
                    <a:pt x="839" y="2505"/>
                  </a:lnTo>
                  <a:lnTo>
                    <a:pt x="814" y="2486"/>
                  </a:lnTo>
                  <a:lnTo>
                    <a:pt x="790" y="2465"/>
                  </a:lnTo>
                  <a:lnTo>
                    <a:pt x="765" y="2442"/>
                  </a:lnTo>
                  <a:lnTo>
                    <a:pt x="739" y="2416"/>
                  </a:lnTo>
                  <a:lnTo>
                    <a:pt x="713" y="2387"/>
                  </a:lnTo>
                  <a:lnTo>
                    <a:pt x="687" y="2356"/>
                  </a:lnTo>
                  <a:lnTo>
                    <a:pt x="661" y="2323"/>
                  </a:lnTo>
                  <a:lnTo>
                    <a:pt x="634" y="2287"/>
                  </a:lnTo>
                  <a:lnTo>
                    <a:pt x="607" y="2249"/>
                  </a:lnTo>
                  <a:lnTo>
                    <a:pt x="580" y="2210"/>
                  </a:lnTo>
                  <a:lnTo>
                    <a:pt x="553" y="2168"/>
                  </a:lnTo>
                  <a:lnTo>
                    <a:pt x="526" y="2124"/>
                  </a:lnTo>
                  <a:lnTo>
                    <a:pt x="499" y="2078"/>
                  </a:lnTo>
                  <a:lnTo>
                    <a:pt x="472" y="2030"/>
                  </a:lnTo>
                  <a:lnTo>
                    <a:pt x="446" y="1981"/>
                  </a:lnTo>
                  <a:lnTo>
                    <a:pt x="419" y="1929"/>
                  </a:lnTo>
                  <a:lnTo>
                    <a:pt x="392" y="1877"/>
                  </a:lnTo>
                  <a:lnTo>
                    <a:pt x="365" y="1822"/>
                  </a:lnTo>
                  <a:lnTo>
                    <a:pt x="339" y="1767"/>
                  </a:lnTo>
                  <a:lnTo>
                    <a:pt x="313" y="1710"/>
                  </a:lnTo>
                  <a:lnTo>
                    <a:pt x="288" y="1651"/>
                  </a:lnTo>
                  <a:lnTo>
                    <a:pt x="262" y="1591"/>
                  </a:lnTo>
                  <a:lnTo>
                    <a:pt x="237" y="1530"/>
                  </a:lnTo>
                  <a:lnTo>
                    <a:pt x="213" y="1468"/>
                  </a:lnTo>
                  <a:lnTo>
                    <a:pt x="189" y="1405"/>
                  </a:lnTo>
                  <a:lnTo>
                    <a:pt x="169" y="1337"/>
                  </a:lnTo>
                  <a:lnTo>
                    <a:pt x="151" y="1271"/>
                  </a:lnTo>
                  <a:lnTo>
                    <a:pt x="133" y="1205"/>
                  </a:lnTo>
                  <a:lnTo>
                    <a:pt x="117" y="1141"/>
                  </a:lnTo>
                  <a:lnTo>
                    <a:pt x="102" y="1077"/>
                  </a:lnTo>
                  <a:lnTo>
                    <a:pt x="87" y="1014"/>
                  </a:lnTo>
                  <a:lnTo>
                    <a:pt x="75" y="953"/>
                  </a:lnTo>
                  <a:lnTo>
                    <a:pt x="62" y="892"/>
                  </a:lnTo>
                  <a:lnTo>
                    <a:pt x="51" y="834"/>
                  </a:lnTo>
                  <a:lnTo>
                    <a:pt x="41" y="776"/>
                  </a:lnTo>
                  <a:lnTo>
                    <a:pt x="31" y="720"/>
                  </a:lnTo>
                  <a:lnTo>
                    <a:pt x="24" y="666"/>
                  </a:lnTo>
                  <a:lnTo>
                    <a:pt x="17" y="613"/>
                  </a:lnTo>
                  <a:lnTo>
                    <a:pt x="11" y="561"/>
                  </a:lnTo>
                  <a:lnTo>
                    <a:pt x="7" y="512"/>
                  </a:lnTo>
                  <a:lnTo>
                    <a:pt x="4" y="465"/>
                  </a:lnTo>
                  <a:lnTo>
                    <a:pt x="1" y="418"/>
                  </a:lnTo>
                  <a:lnTo>
                    <a:pt x="0" y="374"/>
                  </a:lnTo>
                  <a:lnTo>
                    <a:pt x="0" y="333"/>
                  </a:lnTo>
                  <a:lnTo>
                    <a:pt x="1" y="292"/>
                  </a:lnTo>
                  <a:lnTo>
                    <a:pt x="3" y="255"/>
                  </a:lnTo>
                  <a:lnTo>
                    <a:pt x="6" y="219"/>
                  </a:lnTo>
                  <a:lnTo>
                    <a:pt x="10" y="186"/>
                  </a:lnTo>
                  <a:lnTo>
                    <a:pt x="16" y="155"/>
                  </a:lnTo>
                  <a:lnTo>
                    <a:pt x="22" y="127"/>
                  </a:lnTo>
                  <a:lnTo>
                    <a:pt x="30" y="101"/>
                  </a:lnTo>
                  <a:lnTo>
                    <a:pt x="40" y="78"/>
                  </a:lnTo>
                  <a:lnTo>
                    <a:pt x="50" y="57"/>
                  </a:lnTo>
                  <a:lnTo>
                    <a:pt x="61" y="39"/>
                  </a:lnTo>
                  <a:lnTo>
                    <a:pt x="75" y="23"/>
                  </a:lnTo>
                  <a:lnTo>
                    <a:pt x="88" y="11"/>
                  </a:lnTo>
                  <a:lnTo>
                    <a:pt x="104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5" name="Freeform 30"/>
            <p:cNvSpPr>
              <a:spLocks noChangeArrowheads="1"/>
            </p:cNvSpPr>
            <p:nvPr userDrawn="1"/>
          </p:nvSpPr>
          <p:spPr bwMode="auto">
            <a:xfrm>
              <a:off x="7677150" y="3859325"/>
              <a:ext cx="474663" cy="1809916"/>
            </a:xfrm>
            <a:custGeom>
              <a:avLst/>
              <a:gdLst>
                <a:gd name="T0" fmla="*/ 761 w 1052"/>
                <a:gd name="T1" fmla="*/ 33 h 3275"/>
                <a:gd name="T2" fmla="*/ 852 w 1052"/>
                <a:gd name="T3" fmla="*/ 116 h 3275"/>
                <a:gd name="T4" fmla="*/ 924 w 1052"/>
                <a:gd name="T5" fmla="*/ 236 h 3275"/>
                <a:gd name="T6" fmla="*/ 985 w 1052"/>
                <a:gd name="T7" fmla="*/ 409 h 3275"/>
                <a:gd name="T8" fmla="*/ 1030 w 1052"/>
                <a:gd name="T9" fmla="*/ 624 h 3275"/>
                <a:gd name="T10" fmla="*/ 1050 w 1052"/>
                <a:gd name="T11" fmla="*/ 1607 h 3275"/>
                <a:gd name="T12" fmla="*/ 1040 w 1052"/>
                <a:gd name="T13" fmla="*/ 1717 h 3275"/>
                <a:gd name="T14" fmla="*/ 1005 w 1052"/>
                <a:gd name="T15" fmla="*/ 1980 h 3275"/>
                <a:gd name="T16" fmla="*/ 960 w 1052"/>
                <a:gd name="T17" fmla="*/ 2229 h 3275"/>
                <a:gd name="T18" fmla="*/ 896 w 1052"/>
                <a:gd name="T19" fmla="*/ 2496 h 3275"/>
                <a:gd name="T20" fmla="*/ 807 w 1052"/>
                <a:gd name="T21" fmla="*/ 2765 h 3275"/>
                <a:gd name="T22" fmla="*/ 705 w 1052"/>
                <a:gd name="T23" fmla="*/ 2985 h 3275"/>
                <a:gd name="T24" fmla="*/ 592 w 1052"/>
                <a:gd name="T25" fmla="*/ 3149 h 3275"/>
                <a:gd name="T26" fmla="*/ 471 w 1052"/>
                <a:gd name="T27" fmla="*/ 3248 h 3275"/>
                <a:gd name="T28" fmla="*/ 358 w 1052"/>
                <a:gd name="T29" fmla="*/ 3274 h 3275"/>
                <a:gd name="T30" fmla="*/ 320 w 1052"/>
                <a:gd name="T31" fmla="*/ 3265 h 3275"/>
                <a:gd name="T32" fmla="*/ 228 w 1052"/>
                <a:gd name="T33" fmla="*/ 3201 h 3275"/>
                <a:gd name="T34" fmla="*/ 159 w 1052"/>
                <a:gd name="T35" fmla="*/ 3099 h 3275"/>
                <a:gd name="T36" fmla="*/ 99 w 1052"/>
                <a:gd name="T37" fmla="*/ 2948 h 3275"/>
                <a:gd name="T38" fmla="*/ 50 w 1052"/>
                <a:gd name="T39" fmla="*/ 2737 h 3275"/>
                <a:gd name="T40" fmla="*/ 16 w 1052"/>
                <a:gd name="T41" fmla="*/ 2483 h 3275"/>
                <a:gd name="T42" fmla="*/ 0 w 1052"/>
                <a:gd name="T43" fmla="*/ 2195 h 3275"/>
                <a:gd name="T44" fmla="*/ 6 w 1052"/>
                <a:gd name="T45" fmla="*/ 1881 h 3275"/>
                <a:gd name="T46" fmla="*/ 28 w 1052"/>
                <a:gd name="T47" fmla="*/ 1601 h 3275"/>
                <a:gd name="T48" fmla="*/ 60 w 1052"/>
                <a:gd name="T49" fmla="*/ 1337 h 3275"/>
                <a:gd name="T50" fmla="*/ 102 w 1052"/>
                <a:gd name="T51" fmla="*/ 1087 h 3275"/>
                <a:gd name="T52" fmla="*/ 160 w 1052"/>
                <a:gd name="T53" fmla="*/ 829 h 3275"/>
                <a:gd name="T54" fmla="*/ 244 w 1052"/>
                <a:gd name="T55" fmla="*/ 552 h 3275"/>
                <a:gd name="T56" fmla="*/ 340 w 1052"/>
                <a:gd name="T57" fmla="*/ 323 h 3275"/>
                <a:gd name="T58" fmla="*/ 444 w 1052"/>
                <a:gd name="T59" fmla="*/ 149 h 3275"/>
                <a:gd name="T60" fmla="*/ 552 w 1052"/>
                <a:gd name="T61" fmla="*/ 39 h 3275"/>
                <a:gd name="T62" fmla="*/ 663 w 1052"/>
                <a:gd name="T63" fmla="*/ 0 h 3275"/>
                <a:gd name="T64" fmla="*/ 668 w 1052"/>
                <a:gd name="T65" fmla="*/ 176 h 3275"/>
                <a:gd name="T66" fmla="*/ 604 w 1052"/>
                <a:gd name="T67" fmla="*/ 200 h 3275"/>
                <a:gd name="T68" fmla="*/ 536 w 1052"/>
                <a:gd name="T69" fmla="*/ 286 h 3275"/>
                <a:gd name="T70" fmla="*/ 456 w 1052"/>
                <a:gd name="T71" fmla="*/ 456 h 3275"/>
                <a:gd name="T72" fmla="*/ 323 w 1052"/>
                <a:gd name="T73" fmla="*/ 883 h 3275"/>
                <a:gd name="T74" fmla="*/ 263 w 1052"/>
                <a:gd name="T75" fmla="*/ 1160 h 3275"/>
                <a:gd name="T76" fmla="*/ 223 w 1052"/>
                <a:gd name="T77" fmla="*/ 1405 h 3275"/>
                <a:gd name="T78" fmla="*/ 197 w 1052"/>
                <a:gd name="T79" fmla="*/ 1624 h 3275"/>
                <a:gd name="T80" fmla="*/ 177 w 1052"/>
                <a:gd name="T81" fmla="*/ 1885 h 3275"/>
                <a:gd name="T82" fmla="*/ 171 w 1052"/>
                <a:gd name="T83" fmla="*/ 2183 h 3275"/>
                <a:gd name="T84" fmla="*/ 184 w 1052"/>
                <a:gd name="T85" fmla="*/ 2455 h 3275"/>
                <a:gd name="T86" fmla="*/ 215 w 1052"/>
                <a:gd name="T87" fmla="*/ 2693 h 3275"/>
                <a:gd name="T88" fmla="*/ 260 w 1052"/>
                <a:gd name="T89" fmla="*/ 2890 h 3275"/>
                <a:gd name="T90" fmla="*/ 309 w 1052"/>
                <a:gd name="T91" fmla="*/ 3017 h 3275"/>
                <a:gd name="T92" fmla="*/ 355 w 1052"/>
                <a:gd name="T93" fmla="*/ 3085 h 3275"/>
                <a:gd name="T94" fmla="*/ 414 w 1052"/>
                <a:gd name="T95" fmla="*/ 3090 h 3275"/>
                <a:gd name="T96" fmla="*/ 492 w 1052"/>
                <a:gd name="T97" fmla="*/ 3021 h 3275"/>
                <a:gd name="T98" fmla="*/ 570 w 1052"/>
                <a:gd name="T99" fmla="*/ 2898 h 3275"/>
                <a:gd name="T100" fmla="*/ 656 w 1052"/>
                <a:gd name="T101" fmla="*/ 2692 h 3275"/>
                <a:gd name="T102" fmla="*/ 777 w 1052"/>
                <a:gd name="T103" fmla="*/ 2269 h 3275"/>
                <a:gd name="T104" fmla="*/ 822 w 1052"/>
                <a:gd name="T105" fmla="*/ 2035 h 3275"/>
                <a:gd name="T106" fmla="*/ 859 w 1052"/>
                <a:gd name="T107" fmla="*/ 1784 h 3275"/>
                <a:gd name="T108" fmla="*/ 880 w 1052"/>
                <a:gd name="T109" fmla="*/ 1598 h 3275"/>
                <a:gd name="T110" fmla="*/ 899 w 1052"/>
                <a:gd name="T111" fmla="*/ 1288 h 3275"/>
                <a:gd name="T112" fmla="*/ 896 w 1052"/>
                <a:gd name="T113" fmla="*/ 1000 h 3275"/>
                <a:gd name="T114" fmla="*/ 876 w 1052"/>
                <a:gd name="T115" fmla="*/ 738 h 3275"/>
                <a:gd name="T116" fmla="*/ 837 w 1052"/>
                <a:gd name="T117" fmla="*/ 513 h 3275"/>
                <a:gd name="T118" fmla="*/ 780 w 1052"/>
                <a:gd name="T119" fmla="*/ 333 h 3275"/>
                <a:gd name="T120" fmla="*/ 711 w 1052"/>
                <a:gd name="T121" fmla="*/ 213 h 3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2" h="3275">
                  <a:moveTo>
                    <a:pt x="685" y="3"/>
                  </a:moveTo>
                  <a:lnTo>
                    <a:pt x="687" y="3"/>
                  </a:lnTo>
                  <a:lnTo>
                    <a:pt x="707" y="8"/>
                  </a:lnTo>
                  <a:lnTo>
                    <a:pt x="724" y="14"/>
                  </a:lnTo>
                  <a:lnTo>
                    <a:pt x="743" y="23"/>
                  </a:lnTo>
                  <a:lnTo>
                    <a:pt x="761" y="33"/>
                  </a:lnTo>
                  <a:lnTo>
                    <a:pt x="777" y="43"/>
                  </a:lnTo>
                  <a:lnTo>
                    <a:pt x="795" y="56"/>
                  </a:lnTo>
                  <a:lnTo>
                    <a:pt x="810" y="70"/>
                  </a:lnTo>
                  <a:lnTo>
                    <a:pt x="825" y="84"/>
                  </a:lnTo>
                  <a:lnTo>
                    <a:pt x="840" y="100"/>
                  </a:lnTo>
                  <a:lnTo>
                    <a:pt x="852" y="116"/>
                  </a:lnTo>
                  <a:lnTo>
                    <a:pt x="866" y="134"/>
                  </a:lnTo>
                  <a:lnTo>
                    <a:pt x="878" y="152"/>
                  </a:lnTo>
                  <a:lnTo>
                    <a:pt x="890" y="172"/>
                  </a:lnTo>
                  <a:lnTo>
                    <a:pt x="902" y="192"/>
                  </a:lnTo>
                  <a:lnTo>
                    <a:pt x="913" y="213"/>
                  </a:lnTo>
                  <a:lnTo>
                    <a:pt x="924" y="236"/>
                  </a:lnTo>
                  <a:lnTo>
                    <a:pt x="936" y="262"/>
                  </a:lnTo>
                  <a:lnTo>
                    <a:pt x="946" y="289"/>
                  </a:lnTo>
                  <a:lnTo>
                    <a:pt x="956" y="317"/>
                  </a:lnTo>
                  <a:lnTo>
                    <a:pt x="967" y="346"/>
                  </a:lnTo>
                  <a:lnTo>
                    <a:pt x="976" y="377"/>
                  </a:lnTo>
                  <a:lnTo>
                    <a:pt x="985" y="409"/>
                  </a:lnTo>
                  <a:lnTo>
                    <a:pt x="994" y="442"/>
                  </a:lnTo>
                  <a:lnTo>
                    <a:pt x="1003" y="476"/>
                  </a:lnTo>
                  <a:lnTo>
                    <a:pt x="1010" y="511"/>
                  </a:lnTo>
                  <a:lnTo>
                    <a:pt x="1017" y="547"/>
                  </a:lnTo>
                  <a:lnTo>
                    <a:pt x="1024" y="585"/>
                  </a:lnTo>
                  <a:lnTo>
                    <a:pt x="1030" y="624"/>
                  </a:lnTo>
                  <a:lnTo>
                    <a:pt x="1037" y="663"/>
                  </a:lnTo>
                  <a:lnTo>
                    <a:pt x="1043" y="703"/>
                  </a:lnTo>
                  <a:lnTo>
                    <a:pt x="1048" y="744"/>
                  </a:lnTo>
                  <a:lnTo>
                    <a:pt x="1052" y="785"/>
                  </a:lnTo>
                  <a:lnTo>
                    <a:pt x="1052" y="1587"/>
                  </a:lnTo>
                  <a:lnTo>
                    <a:pt x="1050" y="1607"/>
                  </a:lnTo>
                  <a:lnTo>
                    <a:pt x="1048" y="1628"/>
                  </a:lnTo>
                  <a:lnTo>
                    <a:pt x="1047" y="1647"/>
                  </a:lnTo>
                  <a:lnTo>
                    <a:pt x="1045" y="1667"/>
                  </a:lnTo>
                  <a:lnTo>
                    <a:pt x="1045" y="1668"/>
                  </a:lnTo>
                  <a:lnTo>
                    <a:pt x="1044" y="1672"/>
                  </a:lnTo>
                  <a:lnTo>
                    <a:pt x="1040" y="1717"/>
                  </a:lnTo>
                  <a:lnTo>
                    <a:pt x="1034" y="1762"/>
                  </a:lnTo>
                  <a:lnTo>
                    <a:pt x="1029" y="1807"/>
                  </a:lnTo>
                  <a:lnTo>
                    <a:pt x="1023" y="1850"/>
                  </a:lnTo>
                  <a:lnTo>
                    <a:pt x="1017" y="1895"/>
                  </a:lnTo>
                  <a:lnTo>
                    <a:pt x="1011" y="1938"/>
                  </a:lnTo>
                  <a:lnTo>
                    <a:pt x="1005" y="1980"/>
                  </a:lnTo>
                  <a:lnTo>
                    <a:pt x="998" y="2022"/>
                  </a:lnTo>
                  <a:lnTo>
                    <a:pt x="991" y="2065"/>
                  </a:lnTo>
                  <a:lnTo>
                    <a:pt x="984" y="2107"/>
                  </a:lnTo>
                  <a:lnTo>
                    <a:pt x="976" y="2148"/>
                  </a:lnTo>
                  <a:lnTo>
                    <a:pt x="969" y="2188"/>
                  </a:lnTo>
                  <a:lnTo>
                    <a:pt x="960" y="2229"/>
                  </a:lnTo>
                  <a:lnTo>
                    <a:pt x="952" y="2268"/>
                  </a:lnTo>
                  <a:lnTo>
                    <a:pt x="943" y="2307"/>
                  </a:lnTo>
                  <a:lnTo>
                    <a:pt x="935" y="2344"/>
                  </a:lnTo>
                  <a:lnTo>
                    <a:pt x="922" y="2396"/>
                  </a:lnTo>
                  <a:lnTo>
                    <a:pt x="910" y="2446"/>
                  </a:lnTo>
                  <a:lnTo>
                    <a:pt x="896" y="2496"/>
                  </a:lnTo>
                  <a:lnTo>
                    <a:pt x="882" y="2543"/>
                  </a:lnTo>
                  <a:lnTo>
                    <a:pt x="868" y="2590"/>
                  </a:lnTo>
                  <a:lnTo>
                    <a:pt x="853" y="2636"/>
                  </a:lnTo>
                  <a:lnTo>
                    <a:pt x="839" y="2680"/>
                  </a:lnTo>
                  <a:lnTo>
                    <a:pt x="823" y="2722"/>
                  </a:lnTo>
                  <a:lnTo>
                    <a:pt x="807" y="2765"/>
                  </a:lnTo>
                  <a:lnTo>
                    <a:pt x="791" y="2805"/>
                  </a:lnTo>
                  <a:lnTo>
                    <a:pt x="775" y="2844"/>
                  </a:lnTo>
                  <a:lnTo>
                    <a:pt x="757" y="2881"/>
                  </a:lnTo>
                  <a:lnTo>
                    <a:pt x="740" y="2918"/>
                  </a:lnTo>
                  <a:lnTo>
                    <a:pt x="722" y="2952"/>
                  </a:lnTo>
                  <a:lnTo>
                    <a:pt x="705" y="2985"/>
                  </a:lnTo>
                  <a:lnTo>
                    <a:pt x="686" y="3016"/>
                  </a:lnTo>
                  <a:lnTo>
                    <a:pt x="668" y="3047"/>
                  </a:lnTo>
                  <a:lnTo>
                    <a:pt x="649" y="3075"/>
                  </a:lnTo>
                  <a:lnTo>
                    <a:pt x="631" y="3102"/>
                  </a:lnTo>
                  <a:lnTo>
                    <a:pt x="611" y="3126"/>
                  </a:lnTo>
                  <a:lnTo>
                    <a:pt x="592" y="3149"/>
                  </a:lnTo>
                  <a:lnTo>
                    <a:pt x="572" y="3170"/>
                  </a:lnTo>
                  <a:lnTo>
                    <a:pt x="552" y="3189"/>
                  </a:lnTo>
                  <a:lnTo>
                    <a:pt x="532" y="3207"/>
                  </a:lnTo>
                  <a:lnTo>
                    <a:pt x="512" y="3222"/>
                  </a:lnTo>
                  <a:lnTo>
                    <a:pt x="492" y="3236"/>
                  </a:lnTo>
                  <a:lnTo>
                    <a:pt x="471" y="3248"/>
                  </a:lnTo>
                  <a:lnTo>
                    <a:pt x="450" y="3257"/>
                  </a:lnTo>
                  <a:lnTo>
                    <a:pt x="429" y="3265"/>
                  </a:lnTo>
                  <a:lnTo>
                    <a:pt x="408" y="3270"/>
                  </a:lnTo>
                  <a:lnTo>
                    <a:pt x="387" y="3274"/>
                  </a:lnTo>
                  <a:lnTo>
                    <a:pt x="366" y="3275"/>
                  </a:lnTo>
                  <a:lnTo>
                    <a:pt x="358" y="3274"/>
                  </a:lnTo>
                  <a:lnTo>
                    <a:pt x="350" y="3273"/>
                  </a:lnTo>
                  <a:lnTo>
                    <a:pt x="347" y="3273"/>
                  </a:lnTo>
                  <a:lnTo>
                    <a:pt x="342" y="3271"/>
                  </a:lnTo>
                  <a:lnTo>
                    <a:pt x="337" y="3270"/>
                  </a:lnTo>
                  <a:lnTo>
                    <a:pt x="320" y="3265"/>
                  </a:lnTo>
                  <a:lnTo>
                    <a:pt x="303" y="3257"/>
                  </a:lnTo>
                  <a:lnTo>
                    <a:pt x="288" y="3249"/>
                  </a:lnTo>
                  <a:lnTo>
                    <a:pt x="272" y="3239"/>
                  </a:lnTo>
                  <a:lnTo>
                    <a:pt x="257" y="3227"/>
                  </a:lnTo>
                  <a:lnTo>
                    <a:pt x="242" y="3215"/>
                  </a:lnTo>
                  <a:lnTo>
                    <a:pt x="228" y="3201"/>
                  </a:lnTo>
                  <a:lnTo>
                    <a:pt x="215" y="3184"/>
                  </a:lnTo>
                  <a:lnTo>
                    <a:pt x="203" y="3170"/>
                  </a:lnTo>
                  <a:lnTo>
                    <a:pt x="191" y="3153"/>
                  </a:lnTo>
                  <a:lnTo>
                    <a:pt x="181" y="3136"/>
                  </a:lnTo>
                  <a:lnTo>
                    <a:pt x="169" y="3118"/>
                  </a:lnTo>
                  <a:lnTo>
                    <a:pt x="159" y="3099"/>
                  </a:lnTo>
                  <a:lnTo>
                    <a:pt x="149" y="3078"/>
                  </a:lnTo>
                  <a:lnTo>
                    <a:pt x="139" y="3057"/>
                  </a:lnTo>
                  <a:lnTo>
                    <a:pt x="130" y="3035"/>
                  </a:lnTo>
                  <a:lnTo>
                    <a:pt x="120" y="3007"/>
                  </a:lnTo>
                  <a:lnTo>
                    <a:pt x="110" y="2978"/>
                  </a:lnTo>
                  <a:lnTo>
                    <a:pt x="99" y="2948"/>
                  </a:lnTo>
                  <a:lnTo>
                    <a:pt x="90" y="2916"/>
                  </a:lnTo>
                  <a:lnTo>
                    <a:pt x="81" y="2883"/>
                  </a:lnTo>
                  <a:lnTo>
                    <a:pt x="72" y="2848"/>
                  </a:lnTo>
                  <a:lnTo>
                    <a:pt x="64" y="2813"/>
                  </a:lnTo>
                  <a:lnTo>
                    <a:pt x="57" y="2775"/>
                  </a:lnTo>
                  <a:lnTo>
                    <a:pt x="50" y="2737"/>
                  </a:lnTo>
                  <a:lnTo>
                    <a:pt x="43" y="2698"/>
                  </a:lnTo>
                  <a:lnTo>
                    <a:pt x="36" y="2656"/>
                  </a:lnTo>
                  <a:lnTo>
                    <a:pt x="30" y="2615"/>
                  </a:lnTo>
                  <a:lnTo>
                    <a:pt x="25" y="2572"/>
                  </a:lnTo>
                  <a:lnTo>
                    <a:pt x="20" y="2528"/>
                  </a:lnTo>
                  <a:lnTo>
                    <a:pt x="16" y="2483"/>
                  </a:lnTo>
                  <a:lnTo>
                    <a:pt x="12" y="2437"/>
                  </a:lnTo>
                  <a:lnTo>
                    <a:pt x="9" y="2390"/>
                  </a:lnTo>
                  <a:lnTo>
                    <a:pt x="6" y="2342"/>
                  </a:lnTo>
                  <a:lnTo>
                    <a:pt x="3" y="2294"/>
                  </a:lnTo>
                  <a:lnTo>
                    <a:pt x="2" y="2245"/>
                  </a:lnTo>
                  <a:lnTo>
                    <a:pt x="0" y="2195"/>
                  </a:lnTo>
                  <a:lnTo>
                    <a:pt x="0" y="2144"/>
                  </a:lnTo>
                  <a:lnTo>
                    <a:pt x="0" y="2092"/>
                  </a:lnTo>
                  <a:lnTo>
                    <a:pt x="0" y="2040"/>
                  </a:lnTo>
                  <a:lnTo>
                    <a:pt x="1" y="1988"/>
                  </a:lnTo>
                  <a:lnTo>
                    <a:pt x="3" y="1935"/>
                  </a:lnTo>
                  <a:lnTo>
                    <a:pt x="6" y="1881"/>
                  </a:lnTo>
                  <a:lnTo>
                    <a:pt x="9" y="1828"/>
                  </a:lnTo>
                  <a:lnTo>
                    <a:pt x="13" y="1773"/>
                  </a:lnTo>
                  <a:lnTo>
                    <a:pt x="17" y="1718"/>
                  </a:lnTo>
                  <a:lnTo>
                    <a:pt x="22" y="1663"/>
                  </a:lnTo>
                  <a:lnTo>
                    <a:pt x="27" y="1607"/>
                  </a:lnTo>
                  <a:lnTo>
                    <a:pt x="28" y="1601"/>
                  </a:lnTo>
                  <a:lnTo>
                    <a:pt x="32" y="1556"/>
                  </a:lnTo>
                  <a:lnTo>
                    <a:pt x="37" y="1511"/>
                  </a:lnTo>
                  <a:lnTo>
                    <a:pt x="43" y="1467"/>
                  </a:lnTo>
                  <a:lnTo>
                    <a:pt x="49" y="1423"/>
                  </a:lnTo>
                  <a:lnTo>
                    <a:pt x="54" y="1380"/>
                  </a:lnTo>
                  <a:lnTo>
                    <a:pt x="60" y="1337"/>
                  </a:lnTo>
                  <a:lnTo>
                    <a:pt x="66" y="1295"/>
                  </a:lnTo>
                  <a:lnTo>
                    <a:pt x="74" y="1252"/>
                  </a:lnTo>
                  <a:lnTo>
                    <a:pt x="81" y="1210"/>
                  </a:lnTo>
                  <a:lnTo>
                    <a:pt x="88" y="1169"/>
                  </a:lnTo>
                  <a:lnTo>
                    <a:pt x="95" y="1128"/>
                  </a:lnTo>
                  <a:lnTo>
                    <a:pt x="102" y="1087"/>
                  </a:lnTo>
                  <a:lnTo>
                    <a:pt x="111" y="1047"/>
                  </a:lnTo>
                  <a:lnTo>
                    <a:pt x="119" y="1007"/>
                  </a:lnTo>
                  <a:lnTo>
                    <a:pt x="127" y="969"/>
                  </a:lnTo>
                  <a:lnTo>
                    <a:pt x="136" y="931"/>
                  </a:lnTo>
                  <a:lnTo>
                    <a:pt x="148" y="879"/>
                  </a:lnTo>
                  <a:lnTo>
                    <a:pt x="160" y="829"/>
                  </a:lnTo>
                  <a:lnTo>
                    <a:pt x="173" y="780"/>
                  </a:lnTo>
                  <a:lnTo>
                    <a:pt x="187" y="732"/>
                  </a:lnTo>
                  <a:lnTo>
                    <a:pt x="200" y="685"/>
                  </a:lnTo>
                  <a:lnTo>
                    <a:pt x="215" y="640"/>
                  </a:lnTo>
                  <a:lnTo>
                    <a:pt x="229" y="596"/>
                  </a:lnTo>
                  <a:lnTo>
                    <a:pt x="244" y="552"/>
                  </a:lnTo>
                  <a:lnTo>
                    <a:pt x="259" y="510"/>
                  </a:lnTo>
                  <a:lnTo>
                    <a:pt x="274" y="470"/>
                  </a:lnTo>
                  <a:lnTo>
                    <a:pt x="291" y="431"/>
                  </a:lnTo>
                  <a:lnTo>
                    <a:pt x="307" y="394"/>
                  </a:lnTo>
                  <a:lnTo>
                    <a:pt x="323" y="358"/>
                  </a:lnTo>
                  <a:lnTo>
                    <a:pt x="340" y="323"/>
                  </a:lnTo>
                  <a:lnTo>
                    <a:pt x="357" y="290"/>
                  </a:lnTo>
                  <a:lnTo>
                    <a:pt x="374" y="258"/>
                  </a:lnTo>
                  <a:lnTo>
                    <a:pt x="391" y="229"/>
                  </a:lnTo>
                  <a:lnTo>
                    <a:pt x="408" y="200"/>
                  </a:lnTo>
                  <a:lnTo>
                    <a:pt x="426" y="174"/>
                  </a:lnTo>
                  <a:lnTo>
                    <a:pt x="444" y="149"/>
                  </a:lnTo>
                  <a:lnTo>
                    <a:pt x="462" y="126"/>
                  </a:lnTo>
                  <a:lnTo>
                    <a:pt x="480" y="105"/>
                  </a:lnTo>
                  <a:lnTo>
                    <a:pt x="498" y="85"/>
                  </a:lnTo>
                  <a:lnTo>
                    <a:pt x="516" y="68"/>
                  </a:lnTo>
                  <a:lnTo>
                    <a:pt x="535" y="52"/>
                  </a:lnTo>
                  <a:lnTo>
                    <a:pt x="552" y="39"/>
                  </a:lnTo>
                  <a:lnTo>
                    <a:pt x="571" y="27"/>
                  </a:lnTo>
                  <a:lnTo>
                    <a:pt x="590" y="17"/>
                  </a:lnTo>
                  <a:lnTo>
                    <a:pt x="608" y="10"/>
                  </a:lnTo>
                  <a:lnTo>
                    <a:pt x="627" y="4"/>
                  </a:lnTo>
                  <a:lnTo>
                    <a:pt x="644" y="1"/>
                  </a:lnTo>
                  <a:lnTo>
                    <a:pt x="663" y="0"/>
                  </a:lnTo>
                  <a:lnTo>
                    <a:pt x="674" y="1"/>
                  </a:lnTo>
                  <a:lnTo>
                    <a:pt x="685" y="3"/>
                  </a:lnTo>
                  <a:close/>
                  <a:moveTo>
                    <a:pt x="703" y="204"/>
                  </a:moveTo>
                  <a:lnTo>
                    <a:pt x="692" y="193"/>
                  </a:lnTo>
                  <a:lnTo>
                    <a:pt x="679" y="183"/>
                  </a:lnTo>
                  <a:lnTo>
                    <a:pt x="668" y="176"/>
                  </a:lnTo>
                  <a:lnTo>
                    <a:pt x="656" y="172"/>
                  </a:lnTo>
                  <a:lnTo>
                    <a:pt x="646" y="174"/>
                  </a:lnTo>
                  <a:lnTo>
                    <a:pt x="636" y="177"/>
                  </a:lnTo>
                  <a:lnTo>
                    <a:pt x="626" y="183"/>
                  </a:lnTo>
                  <a:lnTo>
                    <a:pt x="614" y="191"/>
                  </a:lnTo>
                  <a:lnTo>
                    <a:pt x="604" y="200"/>
                  </a:lnTo>
                  <a:lnTo>
                    <a:pt x="593" y="210"/>
                  </a:lnTo>
                  <a:lnTo>
                    <a:pt x="581" y="223"/>
                  </a:lnTo>
                  <a:lnTo>
                    <a:pt x="570" y="236"/>
                  </a:lnTo>
                  <a:lnTo>
                    <a:pt x="559" y="251"/>
                  </a:lnTo>
                  <a:lnTo>
                    <a:pt x="547" y="268"/>
                  </a:lnTo>
                  <a:lnTo>
                    <a:pt x="536" y="286"/>
                  </a:lnTo>
                  <a:lnTo>
                    <a:pt x="525" y="306"/>
                  </a:lnTo>
                  <a:lnTo>
                    <a:pt x="513" y="328"/>
                  </a:lnTo>
                  <a:lnTo>
                    <a:pt x="502" y="350"/>
                  </a:lnTo>
                  <a:lnTo>
                    <a:pt x="490" y="375"/>
                  </a:lnTo>
                  <a:lnTo>
                    <a:pt x="478" y="400"/>
                  </a:lnTo>
                  <a:lnTo>
                    <a:pt x="456" y="456"/>
                  </a:lnTo>
                  <a:lnTo>
                    <a:pt x="432" y="515"/>
                  </a:lnTo>
                  <a:lnTo>
                    <a:pt x="409" y="580"/>
                  </a:lnTo>
                  <a:lnTo>
                    <a:pt x="388" y="649"/>
                  </a:lnTo>
                  <a:lnTo>
                    <a:pt x="365" y="724"/>
                  </a:lnTo>
                  <a:lnTo>
                    <a:pt x="343" y="802"/>
                  </a:lnTo>
                  <a:lnTo>
                    <a:pt x="323" y="883"/>
                  </a:lnTo>
                  <a:lnTo>
                    <a:pt x="302" y="969"/>
                  </a:lnTo>
                  <a:lnTo>
                    <a:pt x="294" y="1006"/>
                  </a:lnTo>
                  <a:lnTo>
                    <a:pt x="286" y="1044"/>
                  </a:lnTo>
                  <a:lnTo>
                    <a:pt x="277" y="1082"/>
                  </a:lnTo>
                  <a:lnTo>
                    <a:pt x="270" y="1120"/>
                  </a:lnTo>
                  <a:lnTo>
                    <a:pt x="263" y="1160"/>
                  </a:lnTo>
                  <a:lnTo>
                    <a:pt x="256" y="1200"/>
                  </a:lnTo>
                  <a:lnTo>
                    <a:pt x="249" y="1240"/>
                  </a:lnTo>
                  <a:lnTo>
                    <a:pt x="242" y="1280"/>
                  </a:lnTo>
                  <a:lnTo>
                    <a:pt x="235" y="1321"/>
                  </a:lnTo>
                  <a:lnTo>
                    <a:pt x="229" y="1363"/>
                  </a:lnTo>
                  <a:lnTo>
                    <a:pt x="223" y="1405"/>
                  </a:lnTo>
                  <a:lnTo>
                    <a:pt x="218" y="1447"/>
                  </a:lnTo>
                  <a:lnTo>
                    <a:pt x="212" y="1490"/>
                  </a:lnTo>
                  <a:lnTo>
                    <a:pt x="206" y="1533"/>
                  </a:lnTo>
                  <a:lnTo>
                    <a:pt x="201" y="1576"/>
                  </a:lnTo>
                  <a:lnTo>
                    <a:pt x="197" y="1619"/>
                  </a:lnTo>
                  <a:lnTo>
                    <a:pt x="197" y="1624"/>
                  </a:lnTo>
                  <a:lnTo>
                    <a:pt x="192" y="1678"/>
                  </a:lnTo>
                  <a:lnTo>
                    <a:pt x="187" y="1731"/>
                  </a:lnTo>
                  <a:lnTo>
                    <a:pt x="183" y="1782"/>
                  </a:lnTo>
                  <a:lnTo>
                    <a:pt x="180" y="1834"/>
                  </a:lnTo>
                  <a:lnTo>
                    <a:pt x="177" y="1885"/>
                  </a:lnTo>
                  <a:lnTo>
                    <a:pt x="174" y="1937"/>
                  </a:lnTo>
                  <a:lnTo>
                    <a:pt x="172" y="1987"/>
                  </a:lnTo>
                  <a:lnTo>
                    <a:pt x="171" y="2037"/>
                  </a:lnTo>
                  <a:lnTo>
                    <a:pt x="170" y="2086"/>
                  </a:lnTo>
                  <a:lnTo>
                    <a:pt x="170" y="2135"/>
                  </a:lnTo>
                  <a:lnTo>
                    <a:pt x="171" y="2183"/>
                  </a:lnTo>
                  <a:lnTo>
                    <a:pt x="171" y="2230"/>
                  </a:lnTo>
                  <a:lnTo>
                    <a:pt x="173" y="2277"/>
                  </a:lnTo>
                  <a:lnTo>
                    <a:pt x="175" y="2322"/>
                  </a:lnTo>
                  <a:lnTo>
                    <a:pt x="178" y="2368"/>
                  </a:lnTo>
                  <a:lnTo>
                    <a:pt x="181" y="2411"/>
                  </a:lnTo>
                  <a:lnTo>
                    <a:pt x="184" y="2455"/>
                  </a:lnTo>
                  <a:lnTo>
                    <a:pt x="188" y="2498"/>
                  </a:lnTo>
                  <a:lnTo>
                    <a:pt x="193" y="2539"/>
                  </a:lnTo>
                  <a:lnTo>
                    <a:pt x="197" y="2579"/>
                  </a:lnTo>
                  <a:lnTo>
                    <a:pt x="202" y="2618"/>
                  </a:lnTo>
                  <a:lnTo>
                    <a:pt x="208" y="2656"/>
                  </a:lnTo>
                  <a:lnTo>
                    <a:pt x="215" y="2693"/>
                  </a:lnTo>
                  <a:lnTo>
                    <a:pt x="221" y="2730"/>
                  </a:lnTo>
                  <a:lnTo>
                    <a:pt x="228" y="2765"/>
                  </a:lnTo>
                  <a:lnTo>
                    <a:pt x="235" y="2798"/>
                  </a:lnTo>
                  <a:lnTo>
                    <a:pt x="243" y="2830"/>
                  </a:lnTo>
                  <a:lnTo>
                    <a:pt x="252" y="2860"/>
                  </a:lnTo>
                  <a:lnTo>
                    <a:pt x="260" y="2890"/>
                  </a:lnTo>
                  <a:lnTo>
                    <a:pt x="269" y="2918"/>
                  </a:lnTo>
                  <a:lnTo>
                    <a:pt x="278" y="2945"/>
                  </a:lnTo>
                  <a:lnTo>
                    <a:pt x="289" y="2970"/>
                  </a:lnTo>
                  <a:lnTo>
                    <a:pt x="295" y="2987"/>
                  </a:lnTo>
                  <a:lnTo>
                    <a:pt x="302" y="3003"/>
                  </a:lnTo>
                  <a:lnTo>
                    <a:pt x="309" y="3017"/>
                  </a:lnTo>
                  <a:lnTo>
                    <a:pt x="317" y="3031"/>
                  </a:lnTo>
                  <a:lnTo>
                    <a:pt x="324" y="3044"/>
                  </a:lnTo>
                  <a:lnTo>
                    <a:pt x="331" y="3055"/>
                  </a:lnTo>
                  <a:lnTo>
                    <a:pt x="339" y="3067"/>
                  </a:lnTo>
                  <a:lnTo>
                    <a:pt x="346" y="3076"/>
                  </a:lnTo>
                  <a:lnTo>
                    <a:pt x="355" y="3085"/>
                  </a:lnTo>
                  <a:lnTo>
                    <a:pt x="362" y="3092"/>
                  </a:lnTo>
                  <a:lnTo>
                    <a:pt x="369" y="3099"/>
                  </a:lnTo>
                  <a:lnTo>
                    <a:pt x="375" y="3103"/>
                  </a:lnTo>
                  <a:lnTo>
                    <a:pt x="388" y="3100"/>
                  </a:lnTo>
                  <a:lnTo>
                    <a:pt x="401" y="3097"/>
                  </a:lnTo>
                  <a:lnTo>
                    <a:pt x="414" y="3090"/>
                  </a:lnTo>
                  <a:lnTo>
                    <a:pt x="427" y="3083"/>
                  </a:lnTo>
                  <a:lnTo>
                    <a:pt x="440" y="3074"/>
                  </a:lnTo>
                  <a:lnTo>
                    <a:pt x="453" y="3064"/>
                  </a:lnTo>
                  <a:lnTo>
                    <a:pt x="466" y="3051"/>
                  </a:lnTo>
                  <a:lnTo>
                    <a:pt x="479" y="3037"/>
                  </a:lnTo>
                  <a:lnTo>
                    <a:pt x="492" y="3021"/>
                  </a:lnTo>
                  <a:lnTo>
                    <a:pt x="505" y="3005"/>
                  </a:lnTo>
                  <a:lnTo>
                    <a:pt x="517" y="2986"/>
                  </a:lnTo>
                  <a:lnTo>
                    <a:pt x="531" y="2966"/>
                  </a:lnTo>
                  <a:lnTo>
                    <a:pt x="544" y="2945"/>
                  </a:lnTo>
                  <a:lnTo>
                    <a:pt x="557" y="2922"/>
                  </a:lnTo>
                  <a:lnTo>
                    <a:pt x="570" y="2898"/>
                  </a:lnTo>
                  <a:lnTo>
                    <a:pt x="582" y="2872"/>
                  </a:lnTo>
                  <a:lnTo>
                    <a:pt x="595" y="2845"/>
                  </a:lnTo>
                  <a:lnTo>
                    <a:pt x="607" y="2817"/>
                  </a:lnTo>
                  <a:lnTo>
                    <a:pt x="619" y="2788"/>
                  </a:lnTo>
                  <a:lnTo>
                    <a:pt x="632" y="2757"/>
                  </a:lnTo>
                  <a:lnTo>
                    <a:pt x="656" y="2692"/>
                  </a:lnTo>
                  <a:lnTo>
                    <a:pt x="680" y="2623"/>
                  </a:lnTo>
                  <a:lnTo>
                    <a:pt x="703" y="2550"/>
                  </a:lnTo>
                  <a:lnTo>
                    <a:pt x="725" y="2472"/>
                  </a:lnTo>
                  <a:lnTo>
                    <a:pt x="747" y="2390"/>
                  </a:lnTo>
                  <a:lnTo>
                    <a:pt x="768" y="2306"/>
                  </a:lnTo>
                  <a:lnTo>
                    <a:pt x="777" y="2269"/>
                  </a:lnTo>
                  <a:lnTo>
                    <a:pt x="785" y="2231"/>
                  </a:lnTo>
                  <a:lnTo>
                    <a:pt x="792" y="2192"/>
                  </a:lnTo>
                  <a:lnTo>
                    <a:pt x="801" y="2153"/>
                  </a:lnTo>
                  <a:lnTo>
                    <a:pt x="808" y="2114"/>
                  </a:lnTo>
                  <a:lnTo>
                    <a:pt x="816" y="2075"/>
                  </a:lnTo>
                  <a:lnTo>
                    <a:pt x="822" y="2035"/>
                  </a:lnTo>
                  <a:lnTo>
                    <a:pt x="830" y="1995"/>
                  </a:lnTo>
                  <a:lnTo>
                    <a:pt x="836" y="1953"/>
                  </a:lnTo>
                  <a:lnTo>
                    <a:pt x="842" y="1911"/>
                  </a:lnTo>
                  <a:lnTo>
                    <a:pt x="848" y="1870"/>
                  </a:lnTo>
                  <a:lnTo>
                    <a:pt x="854" y="1828"/>
                  </a:lnTo>
                  <a:lnTo>
                    <a:pt x="859" y="1784"/>
                  </a:lnTo>
                  <a:lnTo>
                    <a:pt x="865" y="1741"/>
                  </a:lnTo>
                  <a:lnTo>
                    <a:pt x="870" y="1699"/>
                  </a:lnTo>
                  <a:lnTo>
                    <a:pt x="874" y="1654"/>
                  </a:lnTo>
                  <a:lnTo>
                    <a:pt x="875" y="1653"/>
                  </a:lnTo>
                  <a:lnTo>
                    <a:pt x="875" y="1650"/>
                  </a:lnTo>
                  <a:lnTo>
                    <a:pt x="880" y="1598"/>
                  </a:lnTo>
                  <a:lnTo>
                    <a:pt x="884" y="1545"/>
                  </a:lnTo>
                  <a:lnTo>
                    <a:pt x="888" y="1493"/>
                  </a:lnTo>
                  <a:lnTo>
                    <a:pt x="892" y="1441"/>
                  </a:lnTo>
                  <a:lnTo>
                    <a:pt x="894" y="1389"/>
                  </a:lnTo>
                  <a:lnTo>
                    <a:pt x="898" y="1339"/>
                  </a:lnTo>
                  <a:lnTo>
                    <a:pt x="899" y="1288"/>
                  </a:lnTo>
                  <a:lnTo>
                    <a:pt x="900" y="1239"/>
                  </a:lnTo>
                  <a:lnTo>
                    <a:pt x="901" y="1189"/>
                  </a:lnTo>
                  <a:lnTo>
                    <a:pt x="901" y="1141"/>
                  </a:lnTo>
                  <a:lnTo>
                    <a:pt x="900" y="1094"/>
                  </a:lnTo>
                  <a:lnTo>
                    <a:pt x="899" y="1046"/>
                  </a:lnTo>
                  <a:lnTo>
                    <a:pt x="896" y="1000"/>
                  </a:lnTo>
                  <a:lnTo>
                    <a:pt x="894" y="953"/>
                  </a:lnTo>
                  <a:lnTo>
                    <a:pt x="892" y="909"/>
                  </a:lnTo>
                  <a:lnTo>
                    <a:pt x="889" y="865"/>
                  </a:lnTo>
                  <a:lnTo>
                    <a:pt x="885" y="821"/>
                  </a:lnTo>
                  <a:lnTo>
                    <a:pt x="881" y="779"/>
                  </a:lnTo>
                  <a:lnTo>
                    <a:pt x="876" y="738"/>
                  </a:lnTo>
                  <a:lnTo>
                    <a:pt x="871" y="698"/>
                  </a:lnTo>
                  <a:lnTo>
                    <a:pt x="865" y="659"/>
                  </a:lnTo>
                  <a:lnTo>
                    <a:pt x="858" y="620"/>
                  </a:lnTo>
                  <a:lnTo>
                    <a:pt x="851" y="583"/>
                  </a:lnTo>
                  <a:lnTo>
                    <a:pt x="844" y="548"/>
                  </a:lnTo>
                  <a:lnTo>
                    <a:pt x="837" y="513"/>
                  </a:lnTo>
                  <a:lnTo>
                    <a:pt x="828" y="480"/>
                  </a:lnTo>
                  <a:lnTo>
                    <a:pt x="819" y="448"/>
                  </a:lnTo>
                  <a:lnTo>
                    <a:pt x="810" y="417"/>
                  </a:lnTo>
                  <a:lnTo>
                    <a:pt x="801" y="387"/>
                  </a:lnTo>
                  <a:lnTo>
                    <a:pt x="790" y="360"/>
                  </a:lnTo>
                  <a:lnTo>
                    <a:pt x="780" y="333"/>
                  </a:lnTo>
                  <a:lnTo>
                    <a:pt x="769" y="308"/>
                  </a:lnTo>
                  <a:lnTo>
                    <a:pt x="753" y="276"/>
                  </a:lnTo>
                  <a:lnTo>
                    <a:pt x="737" y="248"/>
                  </a:lnTo>
                  <a:lnTo>
                    <a:pt x="729" y="236"/>
                  </a:lnTo>
                  <a:lnTo>
                    <a:pt x="720" y="224"/>
                  </a:lnTo>
                  <a:lnTo>
                    <a:pt x="711" y="213"/>
                  </a:lnTo>
                  <a:lnTo>
                    <a:pt x="703" y="2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6" name="Freeform 31"/>
            <p:cNvSpPr>
              <a:spLocks noChangeArrowheads="1"/>
            </p:cNvSpPr>
            <p:nvPr userDrawn="1"/>
          </p:nvSpPr>
          <p:spPr bwMode="auto">
            <a:xfrm>
              <a:off x="7720013" y="3904080"/>
              <a:ext cx="403225" cy="1720406"/>
            </a:xfrm>
            <a:custGeom>
              <a:avLst/>
              <a:gdLst>
                <a:gd name="T0" fmla="*/ 624 w 900"/>
                <a:gd name="T1" fmla="*/ 17 h 3103"/>
                <a:gd name="T2" fmla="*/ 687 w 900"/>
                <a:gd name="T3" fmla="*/ 68 h 3103"/>
                <a:gd name="T4" fmla="*/ 743 w 900"/>
                <a:gd name="T5" fmla="*/ 151 h 3103"/>
                <a:gd name="T6" fmla="*/ 791 w 900"/>
                <a:gd name="T7" fmla="*/ 261 h 3103"/>
                <a:gd name="T8" fmla="*/ 831 w 900"/>
                <a:gd name="T9" fmla="*/ 397 h 3103"/>
                <a:gd name="T10" fmla="*/ 863 w 900"/>
                <a:gd name="T11" fmla="*/ 555 h 3103"/>
                <a:gd name="T12" fmla="*/ 885 w 900"/>
                <a:gd name="T13" fmla="*/ 732 h 3103"/>
                <a:gd name="T14" fmla="*/ 898 w 900"/>
                <a:gd name="T15" fmla="*/ 926 h 3103"/>
                <a:gd name="T16" fmla="*/ 900 w 900"/>
                <a:gd name="T17" fmla="*/ 1132 h 3103"/>
                <a:gd name="T18" fmla="*/ 893 w 900"/>
                <a:gd name="T19" fmla="*/ 1349 h 3103"/>
                <a:gd name="T20" fmla="*/ 874 w 900"/>
                <a:gd name="T21" fmla="*/ 1574 h 3103"/>
                <a:gd name="T22" fmla="*/ 846 w 900"/>
                <a:gd name="T23" fmla="*/ 1808 h 3103"/>
                <a:gd name="T24" fmla="*/ 810 w 900"/>
                <a:gd name="T25" fmla="*/ 2030 h 3103"/>
                <a:gd name="T26" fmla="*/ 766 w 900"/>
                <a:gd name="T27" fmla="*/ 2239 h 3103"/>
                <a:gd name="T28" fmla="*/ 717 w 900"/>
                <a:gd name="T29" fmla="*/ 2431 h 3103"/>
                <a:gd name="T30" fmla="*/ 661 w 900"/>
                <a:gd name="T31" fmla="*/ 2604 h 3103"/>
                <a:gd name="T32" fmla="*/ 600 w 900"/>
                <a:gd name="T33" fmla="*/ 2756 h 3103"/>
                <a:gd name="T34" fmla="*/ 536 w 900"/>
                <a:gd name="T35" fmla="*/ 2884 h 3103"/>
                <a:gd name="T36" fmla="*/ 470 w 900"/>
                <a:gd name="T37" fmla="*/ 2985 h 3103"/>
                <a:gd name="T38" fmla="*/ 399 w 900"/>
                <a:gd name="T39" fmla="*/ 3056 h 3103"/>
                <a:gd name="T40" fmla="*/ 328 w 900"/>
                <a:gd name="T41" fmla="*/ 3096 h 3103"/>
                <a:gd name="T42" fmla="*/ 261 w 900"/>
                <a:gd name="T43" fmla="*/ 3098 h 3103"/>
                <a:gd name="T44" fmla="*/ 206 w 900"/>
                <a:gd name="T45" fmla="*/ 3057 h 3103"/>
                <a:gd name="T46" fmla="*/ 155 w 900"/>
                <a:gd name="T47" fmla="*/ 2985 h 3103"/>
                <a:gd name="T48" fmla="*/ 111 w 900"/>
                <a:gd name="T49" fmla="*/ 2883 h 3103"/>
                <a:gd name="T50" fmla="*/ 73 w 900"/>
                <a:gd name="T51" fmla="*/ 2755 h 3103"/>
                <a:gd name="T52" fmla="*/ 43 w 900"/>
                <a:gd name="T53" fmla="*/ 2604 h 3103"/>
                <a:gd name="T54" fmla="*/ 19 w 900"/>
                <a:gd name="T55" fmla="*/ 2433 h 3103"/>
                <a:gd name="T56" fmla="*/ 5 w 900"/>
                <a:gd name="T57" fmla="*/ 2246 h 3103"/>
                <a:gd name="T58" fmla="*/ 0 w 900"/>
                <a:gd name="T59" fmla="*/ 2043 h 3103"/>
                <a:gd name="T60" fmla="*/ 5 w 900"/>
                <a:gd name="T61" fmla="*/ 1829 h 3103"/>
                <a:gd name="T62" fmla="*/ 19 w 900"/>
                <a:gd name="T63" fmla="*/ 1607 h 3103"/>
                <a:gd name="T64" fmla="*/ 45 w 900"/>
                <a:gd name="T65" fmla="*/ 1374 h 3103"/>
                <a:gd name="T66" fmla="*/ 78 w 900"/>
                <a:gd name="T67" fmla="*/ 1147 h 3103"/>
                <a:gd name="T68" fmla="*/ 119 w 900"/>
                <a:gd name="T69" fmla="*/ 933 h 3103"/>
                <a:gd name="T70" fmla="*/ 166 w 900"/>
                <a:gd name="T71" fmla="*/ 735 h 3103"/>
                <a:gd name="T72" fmla="*/ 217 w 900"/>
                <a:gd name="T73" fmla="*/ 556 h 3103"/>
                <a:gd name="T74" fmla="*/ 274 w 900"/>
                <a:gd name="T75" fmla="*/ 396 h 3103"/>
                <a:gd name="T76" fmla="*/ 333 w 900"/>
                <a:gd name="T77" fmla="*/ 261 h 3103"/>
                <a:gd name="T78" fmla="*/ 393 w 900"/>
                <a:gd name="T79" fmla="*/ 151 h 3103"/>
                <a:gd name="T80" fmla="*/ 455 w 900"/>
                <a:gd name="T81" fmla="*/ 70 h 3103"/>
                <a:gd name="T82" fmla="*/ 517 w 900"/>
                <a:gd name="T83" fmla="*/ 18 h 3103"/>
                <a:gd name="T84" fmla="*/ 578 w 900"/>
                <a:gd name="T85" fmla="*/ 0 h 3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0" h="3103">
                  <a:moveTo>
                    <a:pt x="578" y="0"/>
                  </a:moveTo>
                  <a:lnTo>
                    <a:pt x="601" y="7"/>
                  </a:lnTo>
                  <a:lnTo>
                    <a:pt x="624" y="17"/>
                  </a:lnTo>
                  <a:lnTo>
                    <a:pt x="646" y="30"/>
                  </a:lnTo>
                  <a:lnTo>
                    <a:pt x="667" y="48"/>
                  </a:lnTo>
                  <a:lnTo>
                    <a:pt x="687" y="68"/>
                  </a:lnTo>
                  <a:lnTo>
                    <a:pt x="706" y="92"/>
                  </a:lnTo>
                  <a:lnTo>
                    <a:pt x="725" y="120"/>
                  </a:lnTo>
                  <a:lnTo>
                    <a:pt x="743" y="151"/>
                  </a:lnTo>
                  <a:lnTo>
                    <a:pt x="760" y="185"/>
                  </a:lnTo>
                  <a:lnTo>
                    <a:pt x="776" y="222"/>
                  </a:lnTo>
                  <a:lnTo>
                    <a:pt x="791" y="261"/>
                  </a:lnTo>
                  <a:lnTo>
                    <a:pt x="805" y="305"/>
                  </a:lnTo>
                  <a:lnTo>
                    <a:pt x="819" y="350"/>
                  </a:lnTo>
                  <a:lnTo>
                    <a:pt x="831" y="397"/>
                  </a:lnTo>
                  <a:lnTo>
                    <a:pt x="842" y="448"/>
                  </a:lnTo>
                  <a:lnTo>
                    <a:pt x="854" y="500"/>
                  </a:lnTo>
                  <a:lnTo>
                    <a:pt x="863" y="555"/>
                  </a:lnTo>
                  <a:lnTo>
                    <a:pt x="871" y="613"/>
                  </a:lnTo>
                  <a:lnTo>
                    <a:pt x="878" y="672"/>
                  </a:lnTo>
                  <a:lnTo>
                    <a:pt x="885" y="732"/>
                  </a:lnTo>
                  <a:lnTo>
                    <a:pt x="890" y="795"/>
                  </a:lnTo>
                  <a:lnTo>
                    <a:pt x="894" y="859"/>
                  </a:lnTo>
                  <a:lnTo>
                    <a:pt x="898" y="926"/>
                  </a:lnTo>
                  <a:lnTo>
                    <a:pt x="900" y="993"/>
                  </a:lnTo>
                  <a:lnTo>
                    <a:pt x="900" y="1062"/>
                  </a:lnTo>
                  <a:lnTo>
                    <a:pt x="900" y="1132"/>
                  </a:lnTo>
                  <a:lnTo>
                    <a:pt x="899" y="1203"/>
                  </a:lnTo>
                  <a:lnTo>
                    <a:pt x="897" y="1276"/>
                  </a:lnTo>
                  <a:lnTo>
                    <a:pt x="893" y="1349"/>
                  </a:lnTo>
                  <a:lnTo>
                    <a:pt x="888" y="1423"/>
                  </a:lnTo>
                  <a:lnTo>
                    <a:pt x="882" y="1498"/>
                  </a:lnTo>
                  <a:lnTo>
                    <a:pt x="874" y="1574"/>
                  </a:lnTo>
                  <a:lnTo>
                    <a:pt x="866" y="1653"/>
                  </a:lnTo>
                  <a:lnTo>
                    <a:pt x="857" y="1731"/>
                  </a:lnTo>
                  <a:lnTo>
                    <a:pt x="846" y="1808"/>
                  </a:lnTo>
                  <a:lnTo>
                    <a:pt x="835" y="1884"/>
                  </a:lnTo>
                  <a:lnTo>
                    <a:pt x="823" y="1958"/>
                  </a:lnTo>
                  <a:lnTo>
                    <a:pt x="810" y="2030"/>
                  </a:lnTo>
                  <a:lnTo>
                    <a:pt x="796" y="2102"/>
                  </a:lnTo>
                  <a:lnTo>
                    <a:pt x="782" y="2171"/>
                  </a:lnTo>
                  <a:lnTo>
                    <a:pt x="766" y="2239"/>
                  </a:lnTo>
                  <a:lnTo>
                    <a:pt x="751" y="2305"/>
                  </a:lnTo>
                  <a:lnTo>
                    <a:pt x="733" y="2369"/>
                  </a:lnTo>
                  <a:lnTo>
                    <a:pt x="717" y="2431"/>
                  </a:lnTo>
                  <a:lnTo>
                    <a:pt x="698" y="2491"/>
                  </a:lnTo>
                  <a:lnTo>
                    <a:pt x="680" y="2549"/>
                  </a:lnTo>
                  <a:lnTo>
                    <a:pt x="661" y="2604"/>
                  </a:lnTo>
                  <a:lnTo>
                    <a:pt x="642" y="2658"/>
                  </a:lnTo>
                  <a:lnTo>
                    <a:pt x="621" y="2708"/>
                  </a:lnTo>
                  <a:lnTo>
                    <a:pt x="600" y="2756"/>
                  </a:lnTo>
                  <a:lnTo>
                    <a:pt x="580" y="2801"/>
                  </a:lnTo>
                  <a:lnTo>
                    <a:pt x="558" y="2844"/>
                  </a:lnTo>
                  <a:lnTo>
                    <a:pt x="536" y="2884"/>
                  </a:lnTo>
                  <a:lnTo>
                    <a:pt x="514" y="2920"/>
                  </a:lnTo>
                  <a:lnTo>
                    <a:pt x="492" y="2954"/>
                  </a:lnTo>
                  <a:lnTo>
                    <a:pt x="470" y="2985"/>
                  </a:lnTo>
                  <a:lnTo>
                    <a:pt x="446" y="3012"/>
                  </a:lnTo>
                  <a:lnTo>
                    <a:pt x="423" y="3035"/>
                  </a:lnTo>
                  <a:lnTo>
                    <a:pt x="399" y="3056"/>
                  </a:lnTo>
                  <a:lnTo>
                    <a:pt x="376" y="3073"/>
                  </a:lnTo>
                  <a:lnTo>
                    <a:pt x="352" y="3087"/>
                  </a:lnTo>
                  <a:lnTo>
                    <a:pt x="328" y="3096"/>
                  </a:lnTo>
                  <a:lnTo>
                    <a:pt x="305" y="3102"/>
                  </a:lnTo>
                  <a:lnTo>
                    <a:pt x="281" y="3103"/>
                  </a:lnTo>
                  <a:lnTo>
                    <a:pt x="261" y="3098"/>
                  </a:lnTo>
                  <a:lnTo>
                    <a:pt x="242" y="3088"/>
                  </a:lnTo>
                  <a:lnTo>
                    <a:pt x="223" y="3074"/>
                  </a:lnTo>
                  <a:lnTo>
                    <a:pt x="206" y="3057"/>
                  </a:lnTo>
                  <a:lnTo>
                    <a:pt x="188" y="3036"/>
                  </a:lnTo>
                  <a:lnTo>
                    <a:pt x="172" y="3013"/>
                  </a:lnTo>
                  <a:lnTo>
                    <a:pt x="155" y="2985"/>
                  </a:lnTo>
                  <a:lnTo>
                    <a:pt x="140" y="2954"/>
                  </a:lnTo>
                  <a:lnTo>
                    <a:pt x="125" y="2920"/>
                  </a:lnTo>
                  <a:lnTo>
                    <a:pt x="111" y="2883"/>
                  </a:lnTo>
                  <a:lnTo>
                    <a:pt x="98" y="2844"/>
                  </a:lnTo>
                  <a:lnTo>
                    <a:pt x="85" y="2800"/>
                  </a:lnTo>
                  <a:lnTo>
                    <a:pt x="73" y="2755"/>
                  </a:lnTo>
                  <a:lnTo>
                    <a:pt x="63" y="2707"/>
                  </a:lnTo>
                  <a:lnTo>
                    <a:pt x="52" y="2657"/>
                  </a:lnTo>
                  <a:lnTo>
                    <a:pt x="43" y="2604"/>
                  </a:lnTo>
                  <a:lnTo>
                    <a:pt x="34" y="2550"/>
                  </a:lnTo>
                  <a:lnTo>
                    <a:pt x="27" y="2492"/>
                  </a:lnTo>
                  <a:lnTo>
                    <a:pt x="19" y="2433"/>
                  </a:lnTo>
                  <a:lnTo>
                    <a:pt x="14" y="2372"/>
                  </a:lnTo>
                  <a:lnTo>
                    <a:pt x="9" y="2310"/>
                  </a:lnTo>
                  <a:lnTo>
                    <a:pt x="5" y="2246"/>
                  </a:lnTo>
                  <a:lnTo>
                    <a:pt x="3" y="2180"/>
                  </a:lnTo>
                  <a:lnTo>
                    <a:pt x="1" y="2112"/>
                  </a:lnTo>
                  <a:lnTo>
                    <a:pt x="0" y="2043"/>
                  </a:lnTo>
                  <a:lnTo>
                    <a:pt x="1" y="1972"/>
                  </a:lnTo>
                  <a:lnTo>
                    <a:pt x="2" y="1901"/>
                  </a:lnTo>
                  <a:lnTo>
                    <a:pt x="5" y="1829"/>
                  </a:lnTo>
                  <a:lnTo>
                    <a:pt x="8" y="1756"/>
                  </a:lnTo>
                  <a:lnTo>
                    <a:pt x="13" y="1682"/>
                  </a:lnTo>
                  <a:lnTo>
                    <a:pt x="19" y="1607"/>
                  </a:lnTo>
                  <a:lnTo>
                    <a:pt x="27" y="1531"/>
                  </a:lnTo>
                  <a:lnTo>
                    <a:pt x="35" y="1452"/>
                  </a:lnTo>
                  <a:lnTo>
                    <a:pt x="45" y="1374"/>
                  </a:lnTo>
                  <a:lnTo>
                    <a:pt x="54" y="1297"/>
                  </a:lnTo>
                  <a:lnTo>
                    <a:pt x="66" y="1221"/>
                  </a:lnTo>
                  <a:lnTo>
                    <a:pt x="78" y="1147"/>
                  </a:lnTo>
                  <a:lnTo>
                    <a:pt x="90" y="1075"/>
                  </a:lnTo>
                  <a:lnTo>
                    <a:pt x="105" y="1003"/>
                  </a:lnTo>
                  <a:lnTo>
                    <a:pt x="119" y="933"/>
                  </a:lnTo>
                  <a:lnTo>
                    <a:pt x="134" y="865"/>
                  </a:lnTo>
                  <a:lnTo>
                    <a:pt x="149" y="799"/>
                  </a:lnTo>
                  <a:lnTo>
                    <a:pt x="166" y="735"/>
                  </a:lnTo>
                  <a:lnTo>
                    <a:pt x="182" y="674"/>
                  </a:lnTo>
                  <a:lnTo>
                    <a:pt x="200" y="614"/>
                  </a:lnTo>
                  <a:lnTo>
                    <a:pt x="217" y="556"/>
                  </a:lnTo>
                  <a:lnTo>
                    <a:pt x="236" y="500"/>
                  </a:lnTo>
                  <a:lnTo>
                    <a:pt x="254" y="447"/>
                  </a:lnTo>
                  <a:lnTo>
                    <a:pt x="274" y="396"/>
                  </a:lnTo>
                  <a:lnTo>
                    <a:pt x="293" y="349"/>
                  </a:lnTo>
                  <a:lnTo>
                    <a:pt x="313" y="304"/>
                  </a:lnTo>
                  <a:lnTo>
                    <a:pt x="333" y="261"/>
                  </a:lnTo>
                  <a:lnTo>
                    <a:pt x="353" y="221"/>
                  </a:lnTo>
                  <a:lnTo>
                    <a:pt x="373" y="185"/>
                  </a:lnTo>
                  <a:lnTo>
                    <a:pt x="393" y="151"/>
                  </a:lnTo>
                  <a:lnTo>
                    <a:pt x="414" y="120"/>
                  </a:lnTo>
                  <a:lnTo>
                    <a:pt x="434" y="93"/>
                  </a:lnTo>
                  <a:lnTo>
                    <a:pt x="455" y="70"/>
                  </a:lnTo>
                  <a:lnTo>
                    <a:pt x="476" y="49"/>
                  </a:lnTo>
                  <a:lnTo>
                    <a:pt x="496" y="31"/>
                  </a:lnTo>
                  <a:lnTo>
                    <a:pt x="517" y="18"/>
                  </a:lnTo>
                  <a:lnTo>
                    <a:pt x="537" y="9"/>
                  </a:lnTo>
                  <a:lnTo>
                    <a:pt x="558" y="3"/>
                  </a:lnTo>
                  <a:lnTo>
                    <a:pt x="57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7" name="Freeform 32"/>
            <p:cNvSpPr>
              <a:spLocks noChangeArrowheads="1"/>
            </p:cNvSpPr>
            <p:nvPr userDrawn="1"/>
          </p:nvSpPr>
          <p:spPr bwMode="auto">
            <a:xfrm>
              <a:off x="7742238" y="4242433"/>
              <a:ext cx="409575" cy="1437550"/>
            </a:xfrm>
            <a:custGeom>
              <a:avLst/>
              <a:gdLst>
                <a:gd name="T0" fmla="*/ 747 w 916"/>
                <a:gd name="T1" fmla="*/ 2250 h 2598"/>
                <a:gd name="T2" fmla="*/ 604 w 916"/>
                <a:gd name="T3" fmla="*/ 2409 h 2598"/>
                <a:gd name="T4" fmla="*/ 470 w 916"/>
                <a:gd name="T5" fmla="*/ 2519 h 2598"/>
                <a:gd name="T6" fmla="*/ 348 w 916"/>
                <a:gd name="T7" fmla="*/ 2582 h 2598"/>
                <a:gd name="T8" fmla="*/ 285 w 916"/>
                <a:gd name="T9" fmla="*/ 2596 h 2598"/>
                <a:gd name="T10" fmla="*/ 224 w 916"/>
                <a:gd name="T11" fmla="*/ 2596 h 2598"/>
                <a:gd name="T12" fmla="*/ 168 w 916"/>
                <a:gd name="T13" fmla="*/ 2580 h 2598"/>
                <a:gd name="T14" fmla="*/ 141 w 916"/>
                <a:gd name="T15" fmla="*/ 2567 h 2598"/>
                <a:gd name="T16" fmla="*/ 89 w 916"/>
                <a:gd name="T17" fmla="*/ 2527 h 2598"/>
                <a:gd name="T18" fmla="*/ 48 w 916"/>
                <a:gd name="T19" fmla="*/ 2469 h 2598"/>
                <a:gd name="T20" fmla="*/ 20 w 916"/>
                <a:gd name="T21" fmla="*/ 2392 h 2598"/>
                <a:gd name="T22" fmla="*/ 4 w 916"/>
                <a:gd name="T23" fmla="*/ 2300 h 2598"/>
                <a:gd name="T24" fmla="*/ 8 w 916"/>
                <a:gd name="T25" fmla="*/ 2073 h 2598"/>
                <a:gd name="T26" fmla="*/ 50 w 916"/>
                <a:gd name="T27" fmla="*/ 1817 h 2598"/>
                <a:gd name="T28" fmla="*/ 124 w 916"/>
                <a:gd name="T29" fmla="*/ 1531 h 2598"/>
                <a:gd name="T30" fmla="*/ 229 w 916"/>
                <a:gd name="T31" fmla="*/ 1219 h 2598"/>
                <a:gd name="T32" fmla="*/ 309 w 916"/>
                <a:gd name="T33" fmla="*/ 1015 h 2598"/>
                <a:gd name="T34" fmla="*/ 364 w 916"/>
                <a:gd name="T35" fmla="*/ 887 h 2598"/>
                <a:gd name="T36" fmla="*/ 451 w 916"/>
                <a:gd name="T37" fmla="*/ 717 h 2598"/>
                <a:gd name="T38" fmla="*/ 538 w 916"/>
                <a:gd name="T39" fmla="*/ 561 h 2598"/>
                <a:gd name="T40" fmla="*/ 643 w 916"/>
                <a:gd name="T41" fmla="*/ 387 h 2598"/>
                <a:gd name="T42" fmla="*/ 758 w 916"/>
                <a:gd name="T43" fmla="*/ 211 h 2598"/>
                <a:gd name="T44" fmla="*/ 890 w 916"/>
                <a:gd name="T45" fmla="*/ 33 h 2598"/>
                <a:gd name="T46" fmla="*/ 916 w 916"/>
                <a:gd name="T47" fmla="*/ 1782 h 2598"/>
                <a:gd name="T48" fmla="*/ 866 w 916"/>
                <a:gd name="T49" fmla="*/ 357 h 2598"/>
                <a:gd name="T50" fmla="*/ 767 w 916"/>
                <a:gd name="T51" fmla="*/ 511 h 2598"/>
                <a:gd name="T52" fmla="*/ 682 w 916"/>
                <a:gd name="T53" fmla="*/ 653 h 2598"/>
                <a:gd name="T54" fmla="*/ 579 w 916"/>
                <a:gd name="T55" fmla="*/ 842 h 2598"/>
                <a:gd name="T56" fmla="*/ 519 w 916"/>
                <a:gd name="T57" fmla="*/ 957 h 2598"/>
                <a:gd name="T58" fmla="*/ 467 w 916"/>
                <a:gd name="T59" fmla="*/ 1080 h 2598"/>
                <a:gd name="T60" fmla="*/ 389 w 916"/>
                <a:gd name="T61" fmla="*/ 1278 h 2598"/>
                <a:gd name="T62" fmla="*/ 288 w 916"/>
                <a:gd name="T63" fmla="*/ 1577 h 2598"/>
                <a:gd name="T64" fmla="*/ 217 w 916"/>
                <a:gd name="T65" fmla="*/ 1850 h 2598"/>
                <a:gd name="T66" fmla="*/ 177 w 916"/>
                <a:gd name="T67" fmla="*/ 2081 h 2598"/>
                <a:gd name="T68" fmla="*/ 167 w 916"/>
                <a:gd name="T69" fmla="*/ 2243 h 2598"/>
                <a:gd name="T70" fmla="*/ 180 w 916"/>
                <a:gd name="T71" fmla="*/ 2356 h 2598"/>
                <a:gd name="T72" fmla="*/ 198 w 916"/>
                <a:gd name="T73" fmla="*/ 2397 h 2598"/>
                <a:gd name="T74" fmla="*/ 217 w 916"/>
                <a:gd name="T75" fmla="*/ 2414 h 2598"/>
                <a:gd name="T76" fmla="*/ 903 w 916"/>
                <a:gd name="T77" fmla="*/ 1714 h 2598"/>
                <a:gd name="T78" fmla="*/ 514 w 916"/>
                <a:gd name="T79" fmla="*/ 2255 h 2598"/>
                <a:gd name="T80" fmla="*/ 636 w 916"/>
                <a:gd name="T81" fmla="*/ 2115 h 2598"/>
                <a:gd name="T82" fmla="*/ 762 w 916"/>
                <a:gd name="T83" fmla="*/ 1942 h 2598"/>
                <a:gd name="T84" fmla="*/ 468 w 916"/>
                <a:gd name="T85" fmla="*/ 2302 h 2598"/>
                <a:gd name="T86" fmla="*/ 277 w 916"/>
                <a:gd name="T87" fmla="*/ 2427 h 2598"/>
                <a:gd name="T88" fmla="*/ 346 w 916"/>
                <a:gd name="T89" fmla="*/ 2398 h 2598"/>
                <a:gd name="T90" fmla="*/ 431 w 916"/>
                <a:gd name="T91" fmla="*/ 2336 h 2598"/>
                <a:gd name="T92" fmla="*/ 160 w 916"/>
                <a:gd name="T93" fmla="*/ 2577 h 2598"/>
                <a:gd name="T94" fmla="*/ 236 w 916"/>
                <a:gd name="T95" fmla="*/ 2423 h 2598"/>
                <a:gd name="T96" fmla="*/ 151 w 916"/>
                <a:gd name="T97" fmla="*/ 2572 h 2598"/>
                <a:gd name="T98" fmla="*/ 123 w 916"/>
                <a:gd name="T99" fmla="*/ 2553 h 2598"/>
                <a:gd name="T100" fmla="*/ 103 w 916"/>
                <a:gd name="T101" fmla="*/ 2521 h 2598"/>
                <a:gd name="T102" fmla="*/ 99 w 916"/>
                <a:gd name="T103" fmla="*/ 2484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6" h="2598">
                  <a:moveTo>
                    <a:pt x="916" y="2018"/>
                  </a:moveTo>
                  <a:lnTo>
                    <a:pt x="874" y="2081"/>
                  </a:lnTo>
                  <a:lnTo>
                    <a:pt x="832" y="2141"/>
                  </a:lnTo>
                  <a:lnTo>
                    <a:pt x="789" y="2196"/>
                  </a:lnTo>
                  <a:lnTo>
                    <a:pt x="747" y="2250"/>
                  </a:lnTo>
                  <a:lnTo>
                    <a:pt x="706" y="2299"/>
                  </a:lnTo>
                  <a:lnTo>
                    <a:pt x="665" y="2346"/>
                  </a:lnTo>
                  <a:lnTo>
                    <a:pt x="644" y="2367"/>
                  </a:lnTo>
                  <a:lnTo>
                    <a:pt x="625" y="2388"/>
                  </a:lnTo>
                  <a:lnTo>
                    <a:pt x="604" y="2409"/>
                  </a:lnTo>
                  <a:lnTo>
                    <a:pt x="584" y="2427"/>
                  </a:lnTo>
                  <a:lnTo>
                    <a:pt x="556" y="2453"/>
                  </a:lnTo>
                  <a:lnTo>
                    <a:pt x="527" y="2478"/>
                  </a:lnTo>
                  <a:lnTo>
                    <a:pt x="499" y="2499"/>
                  </a:lnTo>
                  <a:lnTo>
                    <a:pt x="470" y="2519"/>
                  </a:lnTo>
                  <a:lnTo>
                    <a:pt x="442" y="2538"/>
                  </a:lnTo>
                  <a:lnTo>
                    <a:pt x="415" y="2553"/>
                  </a:lnTo>
                  <a:lnTo>
                    <a:pt x="389" y="2566"/>
                  </a:lnTo>
                  <a:lnTo>
                    <a:pt x="362" y="2577"/>
                  </a:lnTo>
                  <a:lnTo>
                    <a:pt x="348" y="2582"/>
                  </a:lnTo>
                  <a:lnTo>
                    <a:pt x="335" y="2586"/>
                  </a:lnTo>
                  <a:lnTo>
                    <a:pt x="323" y="2590"/>
                  </a:lnTo>
                  <a:lnTo>
                    <a:pt x="310" y="2592"/>
                  </a:lnTo>
                  <a:lnTo>
                    <a:pt x="297" y="2595"/>
                  </a:lnTo>
                  <a:lnTo>
                    <a:pt x="285" y="2596"/>
                  </a:lnTo>
                  <a:lnTo>
                    <a:pt x="272" y="2598"/>
                  </a:lnTo>
                  <a:lnTo>
                    <a:pt x="260" y="2598"/>
                  </a:lnTo>
                  <a:lnTo>
                    <a:pt x="248" y="2598"/>
                  </a:lnTo>
                  <a:lnTo>
                    <a:pt x="236" y="2597"/>
                  </a:lnTo>
                  <a:lnTo>
                    <a:pt x="224" y="2596"/>
                  </a:lnTo>
                  <a:lnTo>
                    <a:pt x="213" y="2594"/>
                  </a:lnTo>
                  <a:lnTo>
                    <a:pt x="201" y="2592"/>
                  </a:lnTo>
                  <a:lnTo>
                    <a:pt x="190" y="2589"/>
                  </a:lnTo>
                  <a:lnTo>
                    <a:pt x="179" y="2585"/>
                  </a:lnTo>
                  <a:lnTo>
                    <a:pt x="168" y="2580"/>
                  </a:lnTo>
                  <a:lnTo>
                    <a:pt x="167" y="2580"/>
                  </a:lnTo>
                  <a:lnTo>
                    <a:pt x="165" y="2579"/>
                  </a:lnTo>
                  <a:lnTo>
                    <a:pt x="151" y="2572"/>
                  </a:lnTo>
                  <a:lnTo>
                    <a:pt x="141" y="2567"/>
                  </a:lnTo>
                  <a:lnTo>
                    <a:pt x="130" y="2561"/>
                  </a:lnTo>
                  <a:lnTo>
                    <a:pt x="119" y="2554"/>
                  </a:lnTo>
                  <a:lnTo>
                    <a:pt x="108" y="2546"/>
                  </a:lnTo>
                  <a:lnTo>
                    <a:pt x="98" y="2538"/>
                  </a:lnTo>
                  <a:lnTo>
                    <a:pt x="89" y="2527"/>
                  </a:lnTo>
                  <a:lnTo>
                    <a:pt x="80" y="2517"/>
                  </a:lnTo>
                  <a:lnTo>
                    <a:pt x="70" y="2507"/>
                  </a:lnTo>
                  <a:lnTo>
                    <a:pt x="63" y="2494"/>
                  </a:lnTo>
                  <a:lnTo>
                    <a:pt x="55" y="2482"/>
                  </a:lnTo>
                  <a:lnTo>
                    <a:pt x="48" y="2469"/>
                  </a:lnTo>
                  <a:lnTo>
                    <a:pt x="42" y="2455"/>
                  </a:lnTo>
                  <a:lnTo>
                    <a:pt x="35" y="2441"/>
                  </a:lnTo>
                  <a:lnTo>
                    <a:pt x="30" y="2425"/>
                  </a:lnTo>
                  <a:lnTo>
                    <a:pt x="25" y="2409"/>
                  </a:lnTo>
                  <a:lnTo>
                    <a:pt x="20" y="2392"/>
                  </a:lnTo>
                  <a:lnTo>
                    <a:pt x="16" y="2376"/>
                  </a:lnTo>
                  <a:lnTo>
                    <a:pt x="13" y="2357"/>
                  </a:lnTo>
                  <a:lnTo>
                    <a:pt x="9" y="2339"/>
                  </a:lnTo>
                  <a:lnTo>
                    <a:pt x="7" y="2320"/>
                  </a:lnTo>
                  <a:lnTo>
                    <a:pt x="4" y="2300"/>
                  </a:lnTo>
                  <a:lnTo>
                    <a:pt x="1" y="2259"/>
                  </a:lnTo>
                  <a:lnTo>
                    <a:pt x="0" y="2216"/>
                  </a:lnTo>
                  <a:lnTo>
                    <a:pt x="0" y="2170"/>
                  </a:lnTo>
                  <a:lnTo>
                    <a:pt x="3" y="2122"/>
                  </a:lnTo>
                  <a:lnTo>
                    <a:pt x="8" y="2073"/>
                  </a:lnTo>
                  <a:lnTo>
                    <a:pt x="14" y="2021"/>
                  </a:lnTo>
                  <a:lnTo>
                    <a:pt x="21" y="1973"/>
                  </a:lnTo>
                  <a:lnTo>
                    <a:pt x="29" y="1922"/>
                  </a:lnTo>
                  <a:lnTo>
                    <a:pt x="38" y="1871"/>
                  </a:lnTo>
                  <a:lnTo>
                    <a:pt x="50" y="1817"/>
                  </a:lnTo>
                  <a:lnTo>
                    <a:pt x="62" y="1762"/>
                  </a:lnTo>
                  <a:lnTo>
                    <a:pt x="76" y="1707"/>
                  </a:lnTo>
                  <a:lnTo>
                    <a:pt x="90" y="1649"/>
                  </a:lnTo>
                  <a:lnTo>
                    <a:pt x="106" y="1590"/>
                  </a:lnTo>
                  <a:lnTo>
                    <a:pt x="124" y="1531"/>
                  </a:lnTo>
                  <a:lnTo>
                    <a:pt x="142" y="1471"/>
                  </a:lnTo>
                  <a:lnTo>
                    <a:pt x="162" y="1409"/>
                  </a:lnTo>
                  <a:lnTo>
                    <a:pt x="184" y="1347"/>
                  </a:lnTo>
                  <a:lnTo>
                    <a:pt x="205" y="1283"/>
                  </a:lnTo>
                  <a:lnTo>
                    <a:pt x="229" y="1219"/>
                  </a:lnTo>
                  <a:lnTo>
                    <a:pt x="253" y="1155"/>
                  </a:lnTo>
                  <a:lnTo>
                    <a:pt x="278" y="1090"/>
                  </a:lnTo>
                  <a:lnTo>
                    <a:pt x="289" y="1065"/>
                  </a:lnTo>
                  <a:lnTo>
                    <a:pt x="299" y="1040"/>
                  </a:lnTo>
                  <a:lnTo>
                    <a:pt x="309" y="1015"/>
                  </a:lnTo>
                  <a:lnTo>
                    <a:pt x="320" y="989"/>
                  </a:lnTo>
                  <a:lnTo>
                    <a:pt x="331" y="963"/>
                  </a:lnTo>
                  <a:lnTo>
                    <a:pt x="341" y="938"/>
                  </a:lnTo>
                  <a:lnTo>
                    <a:pt x="353" y="913"/>
                  </a:lnTo>
                  <a:lnTo>
                    <a:pt x="364" y="887"/>
                  </a:lnTo>
                  <a:lnTo>
                    <a:pt x="369" y="878"/>
                  </a:lnTo>
                  <a:lnTo>
                    <a:pt x="390" y="837"/>
                  </a:lnTo>
                  <a:lnTo>
                    <a:pt x="410" y="796"/>
                  </a:lnTo>
                  <a:lnTo>
                    <a:pt x="431" y="756"/>
                  </a:lnTo>
                  <a:lnTo>
                    <a:pt x="451" y="717"/>
                  </a:lnTo>
                  <a:lnTo>
                    <a:pt x="472" y="679"/>
                  </a:lnTo>
                  <a:lnTo>
                    <a:pt x="493" y="641"/>
                  </a:lnTo>
                  <a:lnTo>
                    <a:pt x="513" y="604"/>
                  </a:lnTo>
                  <a:lnTo>
                    <a:pt x="534" y="568"/>
                  </a:lnTo>
                  <a:lnTo>
                    <a:pt x="538" y="561"/>
                  </a:lnTo>
                  <a:lnTo>
                    <a:pt x="559" y="525"/>
                  </a:lnTo>
                  <a:lnTo>
                    <a:pt x="579" y="490"/>
                  </a:lnTo>
                  <a:lnTo>
                    <a:pt x="601" y="455"/>
                  </a:lnTo>
                  <a:lnTo>
                    <a:pt x="621" y="421"/>
                  </a:lnTo>
                  <a:lnTo>
                    <a:pt x="643" y="387"/>
                  </a:lnTo>
                  <a:lnTo>
                    <a:pt x="664" y="354"/>
                  </a:lnTo>
                  <a:lnTo>
                    <a:pt x="684" y="321"/>
                  </a:lnTo>
                  <a:lnTo>
                    <a:pt x="706" y="288"/>
                  </a:lnTo>
                  <a:lnTo>
                    <a:pt x="732" y="249"/>
                  </a:lnTo>
                  <a:lnTo>
                    <a:pt x="758" y="211"/>
                  </a:lnTo>
                  <a:lnTo>
                    <a:pt x="785" y="173"/>
                  </a:lnTo>
                  <a:lnTo>
                    <a:pt x="811" y="137"/>
                  </a:lnTo>
                  <a:lnTo>
                    <a:pt x="838" y="101"/>
                  </a:lnTo>
                  <a:lnTo>
                    <a:pt x="863" y="67"/>
                  </a:lnTo>
                  <a:lnTo>
                    <a:pt x="890" y="33"/>
                  </a:lnTo>
                  <a:lnTo>
                    <a:pt x="916" y="0"/>
                  </a:lnTo>
                  <a:lnTo>
                    <a:pt x="916" y="282"/>
                  </a:lnTo>
                  <a:lnTo>
                    <a:pt x="916" y="1067"/>
                  </a:lnTo>
                  <a:lnTo>
                    <a:pt x="916" y="1691"/>
                  </a:lnTo>
                  <a:lnTo>
                    <a:pt x="916" y="1782"/>
                  </a:lnTo>
                  <a:lnTo>
                    <a:pt x="916" y="2018"/>
                  </a:lnTo>
                  <a:close/>
                  <a:moveTo>
                    <a:pt x="916" y="282"/>
                  </a:moveTo>
                  <a:lnTo>
                    <a:pt x="900" y="307"/>
                  </a:lnTo>
                  <a:lnTo>
                    <a:pt x="882" y="332"/>
                  </a:lnTo>
                  <a:lnTo>
                    <a:pt x="866" y="357"/>
                  </a:lnTo>
                  <a:lnTo>
                    <a:pt x="848" y="382"/>
                  </a:lnTo>
                  <a:lnTo>
                    <a:pt x="827" y="414"/>
                  </a:lnTo>
                  <a:lnTo>
                    <a:pt x="808" y="446"/>
                  </a:lnTo>
                  <a:lnTo>
                    <a:pt x="787" y="478"/>
                  </a:lnTo>
                  <a:lnTo>
                    <a:pt x="767" y="511"/>
                  </a:lnTo>
                  <a:lnTo>
                    <a:pt x="746" y="545"/>
                  </a:lnTo>
                  <a:lnTo>
                    <a:pt x="725" y="579"/>
                  </a:lnTo>
                  <a:lnTo>
                    <a:pt x="705" y="613"/>
                  </a:lnTo>
                  <a:lnTo>
                    <a:pt x="685" y="648"/>
                  </a:lnTo>
                  <a:lnTo>
                    <a:pt x="682" y="653"/>
                  </a:lnTo>
                  <a:lnTo>
                    <a:pt x="662" y="690"/>
                  </a:lnTo>
                  <a:lnTo>
                    <a:pt x="640" y="728"/>
                  </a:lnTo>
                  <a:lnTo>
                    <a:pt x="619" y="766"/>
                  </a:lnTo>
                  <a:lnTo>
                    <a:pt x="599" y="804"/>
                  </a:lnTo>
                  <a:lnTo>
                    <a:pt x="579" y="842"/>
                  </a:lnTo>
                  <a:lnTo>
                    <a:pt x="559" y="880"/>
                  </a:lnTo>
                  <a:lnTo>
                    <a:pt x="539" y="918"/>
                  </a:lnTo>
                  <a:lnTo>
                    <a:pt x="520" y="956"/>
                  </a:lnTo>
                  <a:lnTo>
                    <a:pt x="519" y="956"/>
                  </a:lnTo>
                  <a:lnTo>
                    <a:pt x="519" y="957"/>
                  </a:lnTo>
                  <a:lnTo>
                    <a:pt x="509" y="982"/>
                  </a:lnTo>
                  <a:lnTo>
                    <a:pt x="498" y="1007"/>
                  </a:lnTo>
                  <a:lnTo>
                    <a:pt x="488" y="1032"/>
                  </a:lnTo>
                  <a:lnTo>
                    <a:pt x="477" y="1055"/>
                  </a:lnTo>
                  <a:lnTo>
                    <a:pt x="467" y="1080"/>
                  </a:lnTo>
                  <a:lnTo>
                    <a:pt x="457" y="1105"/>
                  </a:lnTo>
                  <a:lnTo>
                    <a:pt x="446" y="1129"/>
                  </a:lnTo>
                  <a:lnTo>
                    <a:pt x="437" y="1153"/>
                  </a:lnTo>
                  <a:lnTo>
                    <a:pt x="412" y="1216"/>
                  </a:lnTo>
                  <a:lnTo>
                    <a:pt x="389" y="1278"/>
                  </a:lnTo>
                  <a:lnTo>
                    <a:pt x="366" y="1340"/>
                  </a:lnTo>
                  <a:lnTo>
                    <a:pt x="345" y="1401"/>
                  </a:lnTo>
                  <a:lnTo>
                    <a:pt x="325" y="1460"/>
                  </a:lnTo>
                  <a:lnTo>
                    <a:pt x="306" y="1519"/>
                  </a:lnTo>
                  <a:lnTo>
                    <a:pt x="288" y="1577"/>
                  </a:lnTo>
                  <a:lnTo>
                    <a:pt x="271" y="1634"/>
                  </a:lnTo>
                  <a:lnTo>
                    <a:pt x="256" y="1690"/>
                  </a:lnTo>
                  <a:lnTo>
                    <a:pt x="241" y="1745"/>
                  </a:lnTo>
                  <a:lnTo>
                    <a:pt x="229" y="1797"/>
                  </a:lnTo>
                  <a:lnTo>
                    <a:pt x="217" y="1850"/>
                  </a:lnTo>
                  <a:lnTo>
                    <a:pt x="206" y="1901"/>
                  </a:lnTo>
                  <a:lnTo>
                    <a:pt x="197" y="1950"/>
                  </a:lnTo>
                  <a:lnTo>
                    <a:pt x="189" y="1997"/>
                  </a:lnTo>
                  <a:lnTo>
                    <a:pt x="183" y="2043"/>
                  </a:lnTo>
                  <a:lnTo>
                    <a:pt x="177" y="2081"/>
                  </a:lnTo>
                  <a:lnTo>
                    <a:pt x="174" y="2116"/>
                  </a:lnTo>
                  <a:lnTo>
                    <a:pt x="171" y="2151"/>
                  </a:lnTo>
                  <a:lnTo>
                    <a:pt x="169" y="2183"/>
                  </a:lnTo>
                  <a:lnTo>
                    <a:pt x="167" y="2214"/>
                  </a:lnTo>
                  <a:lnTo>
                    <a:pt x="167" y="2243"/>
                  </a:lnTo>
                  <a:lnTo>
                    <a:pt x="168" y="2270"/>
                  </a:lnTo>
                  <a:lnTo>
                    <a:pt x="169" y="2294"/>
                  </a:lnTo>
                  <a:lnTo>
                    <a:pt x="171" y="2317"/>
                  </a:lnTo>
                  <a:lnTo>
                    <a:pt x="175" y="2338"/>
                  </a:lnTo>
                  <a:lnTo>
                    <a:pt x="180" y="2356"/>
                  </a:lnTo>
                  <a:lnTo>
                    <a:pt x="185" y="2373"/>
                  </a:lnTo>
                  <a:lnTo>
                    <a:pt x="188" y="2380"/>
                  </a:lnTo>
                  <a:lnTo>
                    <a:pt x="191" y="2386"/>
                  </a:lnTo>
                  <a:lnTo>
                    <a:pt x="194" y="2392"/>
                  </a:lnTo>
                  <a:lnTo>
                    <a:pt x="198" y="2397"/>
                  </a:lnTo>
                  <a:lnTo>
                    <a:pt x="202" y="2403"/>
                  </a:lnTo>
                  <a:lnTo>
                    <a:pt x="206" y="2407"/>
                  </a:lnTo>
                  <a:lnTo>
                    <a:pt x="210" y="2411"/>
                  </a:lnTo>
                  <a:lnTo>
                    <a:pt x="216" y="2414"/>
                  </a:lnTo>
                  <a:lnTo>
                    <a:pt x="217" y="2414"/>
                  </a:lnTo>
                  <a:lnTo>
                    <a:pt x="916" y="282"/>
                  </a:lnTo>
                  <a:close/>
                  <a:moveTo>
                    <a:pt x="863" y="1782"/>
                  </a:moveTo>
                  <a:lnTo>
                    <a:pt x="876" y="1759"/>
                  </a:lnTo>
                  <a:lnTo>
                    <a:pt x="889" y="1737"/>
                  </a:lnTo>
                  <a:lnTo>
                    <a:pt x="903" y="1714"/>
                  </a:lnTo>
                  <a:lnTo>
                    <a:pt x="916" y="1691"/>
                  </a:lnTo>
                  <a:lnTo>
                    <a:pt x="863" y="1782"/>
                  </a:lnTo>
                  <a:close/>
                  <a:moveTo>
                    <a:pt x="468" y="2302"/>
                  </a:moveTo>
                  <a:lnTo>
                    <a:pt x="492" y="2279"/>
                  </a:lnTo>
                  <a:lnTo>
                    <a:pt x="514" y="2255"/>
                  </a:lnTo>
                  <a:lnTo>
                    <a:pt x="539" y="2230"/>
                  </a:lnTo>
                  <a:lnTo>
                    <a:pt x="563" y="2204"/>
                  </a:lnTo>
                  <a:lnTo>
                    <a:pt x="587" y="2176"/>
                  </a:lnTo>
                  <a:lnTo>
                    <a:pt x="612" y="2146"/>
                  </a:lnTo>
                  <a:lnTo>
                    <a:pt x="636" y="2115"/>
                  </a:lnTo>
                  <a:lnTo>
                    <a:pt x="662" y="2083"/>
                  </a:lnTo>
                  <a:lnTo>
                    <a:pt x="686" y="2049"/>
                  </a:lnTo>
                  <a:lnTo>
                    <a:pt x="711" y="2014"/>
                  </a:lnTo>
                  <a:lnTo>
                    <a:pt x="737" y="1979"/>
                  </a:lnTo>
                  <a:lnTo>
                    <a:pt x="762" y="1942"/>
                  </a:lnTo>
                  <a:lnTo>
                    <a:pt x="787" y="1903"/>
                  </a:lnTo>
                  <a:lnTo>
                    <a:pt x="813" y="1863"/>
                  </a:lnTo>
                  <a:lnTo>
                    <a:pt x="838" y="1823"/>
                  </a:lnTo>
                  <a:lnTo>
                    <a:pt x="863" y="1782"/>
                  </a:lnTo>
                  <a:lnTo>
                    <a:pt x="468" y="2302"/>
                  </a:lnTo>
                  <a:close/>
                  <a:moveTo>
                    <a:pt x="236" y="2424"/>
                  </a:moveTo>
                  <a:lnTo>
                    <a:pt x="245" y="2427"/>
                  </a:lnTo>
                  <a:lnTo>
                    <a:pt x="256" y="2428"/>
                  </a:lnTo>
                  <a:lnTo>
                    <a:pt x="266" y="2428"/>
                  </a:lnTo>
                  <a:lnTo>
                    <a:pt x="277" y="2427"/>
                  </a:lnTo>
                  <a:lnTo>
                    <a:pt x="290" y="2424"/>
                  </a:lnTo>
                  <a:lnTo>
                    <a:pt x="303" y="2420"/>
                  </a:lnTo>
                  <a:lnTo>
                    <a:pt x="317" y="2414"/>
                  </a:lnTo>
                  <a:lnTo>
                    <a:pt x="331" y="2407"/>
                  </a:lnTo>
                  <a:lnTo>
                    <a:pt x="346" y="2398"/>
                  </a:lnTo>
                  <a:lnTo>
                    <a:pt x="362" y="2388"/>
                  </a:lnTo>
                  <a:lnTo>
                    <a:pt x="378" y="2377"/>
                  </a:lnTo>
                  <a:lnTo>
                    <a:pt x="395" y="2364"/>
                  </a:lnTo>
                  <a:lnTo>
                    <a:pt x="412" y="2351"/>
                  </a:lnTo>
                  <a:lnTo>
                    <a:pt x="431" y="2336"/>
                  </a:lnTo>
                  <a:lnTo>
                    <a:pt x="449" y="2319"/>
                  </a:lnTo>
                  <a:lnTo>
                    <a:pt x="468" y="2302"/>
                  </a:lnTo>
                  <a:lnTo>
                    <a:pt x="236" y="2424"/>
                  </a:lnTo>
                  <a:close/>
                  <a:moveTo>
                    <a:pt x="165" y="2579"/>
                  </a:moveTo>
                  <a:lnTo>
                    <a:pt x="160" y="2577"/>
                  </a:lnTo>
                  <a:lnTo>
                    <a:pt x="155" y="2574"/>
                  </a:lnTo>
                  <a:lnTo>
                    <a:pt x="165" y="2579"/>
                  </a:lnTo>
                  <a:close/>
                  <a:moveTo>
                    <a:pt x="236" y="2423"/>
                  </a:moveTo>
                  <a:lnTo>
                    <a:pt x="236" y="2424"/>
                  </a:lnTo>
                  <a:lnTo>
                    <a:pt x="236" y="2423"/>
                  </a:lnTo>
                  <a:close/>
                  <a:moveTo>
                    <a:pt x="232" y="2421"/>
                  </a:moveTo>
                  <a:lnTo>
                    <a:pt x="236" y="2423"/>
                  </a:lnTo>
                  <a:lnTo>
                    <a:pt x="232" y="2421"/>
                  </a:lnTo>
                  <a:close/>
                  <a:moveTo>
                    <a:pt x="152" y="2573"/>
                  </a:moveTo>
                  <a:lnTo>
                    <a:pt x="151" y="2572"/>
                  </a:lnTo>
                  <a:lnTo>
                    <a:pt x="152" y="2573"/>
                  </a:lnTo>
                  <a:close/>
                  <a:moveTo>
                    <a:pt x="141" y="2567"/>
                  </a:moveTo>
                  <a:lnTo>
                    <a:pt x="135" y="2563"/>
                  </a:lnTo>
                  <a:lnTo>
                    <a:pt x="129" y="2558"/>
                  </a:lnTo>
                  <a:lnTo>
                    <a:pt x="123" y="2553"/>
                  </a:lnTo>
                  <a:lnTo>
                    <a:pt x="118" y="2548"/>
                  </a:lnTo>
                  <a:lnTo>
                    <a:pt x="114" y="2542"/>
                  </a:lnTo>
                  <a:lnTo>
                    <a:pt x="110" y="2536"/>
                  </a:lnTo>
                  <a:lnTo>
                    <a:pt x="106" y="2528"/>
                  </a:lnTo>
                  <a:lnTo>
                    <a:pt x="103" y="2521"/>
                  </a:lnTo>
                  <a:lnTo>
                    <a:pt x="101" y="2514"/>
                  </a:lnTo>
                  <a:lnTo>
                    <a:pt x="100" y="2507"/>
                  </a:lnTo>
                  <a:lnTo>
                    <a:pt x="99" y="2499"/>
                  </a:lnTo>
                  <a:lnTo>
                    <a:pt x="99" y="2491"/>
                  </a:lnTo>
                  <a:lnTo>
                    <a:pt x="99" y="2484"/>
                  </a:lnTo>
                  <a:lnTo>
                    <a:pt x="100" y="2476"/>
                  </a:lnTo>
                  <a:lnTo>
                    <a:pt x="102" y="2469"/>
                  </a:lnTo>
                  <a:lnTo>
                    <a:pt x="105" y="2460"/>
                  </a:lnTo>
                  <a:lnTo>
                    <a:pt x="141" y="25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8" name="Freeform 33"/>
            <p:cNvSpPr>
              <a:spLocks noChangeArrowheads="1"/>
            </p:cNvSpPr>
            <p:nvPr userDrawn="1"/>
          </p:nvSpPr>
          <p:spPr bwMode="auto">
            <a:xfrm>
              <a:off x="7778750" y="4321202"/>
              <a:ext cx="374650" cy="1312234"/>
            </a:xfrm>
            <a:custGeom>
              <a:avLst/>
              <a:gdLst>
                <a:gd name="T0" fmla="*/ 805 w 832"/>
                <a:gd name="T1" fmla="*/ 1765 h 2376"/>
                <a:gd name="T2" fmla="*/ 753 w 832"/>
                <a:gd name="T3" fmla="*/ 1845 h 2376"/>
                <a:gd name="T4" fmla="*/ 700 w 832"/>
                <a:gd name="T5" fmla="*/ 1921 h 2376"/>
                <a:gd name="T6" fmla="*/ 649 w 832"/>
                <a:gd name="T7" fmla="*/ 1993 h 2376"/>
                <a:gd name="T8" fmla="*/ 596 w 832"/>
                <a:gd name="T9" fmla="*/ 2059 h 2376"/>
                <a:gd name="T10" fmla="*/ 545 w 832"/>
                <a:gd name="T11" fmla="*/ 2120 h 2376"/>
                <a:gd name="T12" fmla="*/ 495 w 832"/>
                <a:gd name="T13" fmla="*/ 2175 h 2376"/>
                <a:gd name="T14" fmla="*/ 446 w 832"/>
                <a:gd name="T15" fmla="*/ 2224 h 2376"/>
                <a:gd name="T16" fmla="*/ 397 w 832"/>
                <a:gd name="T17" fmla="*/ 2267 h 2376"/>
                <a:gd name="T18" fmla="*/ 351 w 832"/>
                <a:gd name="T19" fmla="*/ 2303 h 2376"/>
                <a:gd name="T20" fmla="*/ 307 w 832"/>
                <a:gd name="T21" fmla="*/ 2332 h 2376"/>
                <a:gd name="T22" fmla="*/ 264 w 832"/>
                <a:gd name="T23" fmla="*/ 2354 h 2376"/>
                <a:gd name="T24" fmla="*/ 224 w 832"/>
                <a:gd name="T25" fmla="*/ 2369 h 2376"/>
                <a:gd name="T26" fmla="*/ 186 w 832"/>
                <a:gd name="T27" fmla="*/ 2376 h 2376"/>
                <a:gd name="T28" fmla="*/ 151 w 832"/>
                <a:gd name="T29" fmla="*/ 2375 h 2376"/>
                <a:gd name="T30" fmla="*/ 119 w 832"/>
                <a:gd name="T31" fmla="*/ 2366 h 2376"/>
                <a:gd name="T32" fmla="*/ 85 w 832"/>
                <a:gd name="T33" fmla="*/ 2348 h 2376"/>
                <a:gd name="T34" fmla="*/ 53 w 832"/>
                <a:gd name="T35" fmla="*/ 2317 h 2376"/>
                <a:gd name="T36" fmla="*/ 29 w 832"/>
                <a:gd name="T37" fmla="*/ 2274 h 2376"/>
                <a:gd name="T38" fmla="*/ 12 w 832"/>
                <a:gd name="T39" fmla="*/ 2217 h 2376"/>
                <a:gd name="T40" fmla="*/ 3 w 832"/>
                <a:gd name="T41" fmla="*/ 2148 h 2376"/>
                <a:gd name="T42" fmla="*/ 0 w 832"/>
                <a:gd name="T43" fmla="*/ 2069 h 2376"/>
                <a:gd name="T44" fmla="*/ 5 w 832"/>
                <a:gd name="T45" fmla="*/ 1979 h 2376"/>
                <a:gd name="T46" fmla="*/ 16 w 832"/>
                <a:gd name="T47" fmla="*/ 1879 h 2376"/>
                <a:gd name="T48" fmla="*/ 34 w 832"/>
                <a:gd name="T49" fmla="*/ 1772 h 2376"/>
                <a:gd name="T50" fmla="*/ 58 w 832"/>
                <a:gd name="T51" fmla="*/ 1656 h 2376"/>
                <a:gd name="T52" fmla="*/ 88 w 832"/>
                <a:gd name="T53" fmla="*/ 1535 h 2376"/>
                <a:gd name="T54" fmla="*/ 125 w 832"/>
                <a:gd name="T55" fmla="*/ 1408 h 2376"/>
                <a:gd name="T56" fmla="*/ 168 w 832"/>
                <a:gd name="T57" fmla="*/ 1275 h 2376"/>
                <a:gd name="T58" fmla="*/ 215 w 832"/>
                <a:gd name="T59" fmla="*/ 1139 h 2376"/>
                <a:gd name="T60" fmla="*/ 269 w 832"/>
                <a:gd name="T61" fmla="*/ 999 h 2376"/>
                <a:gd name="T62" fmla="*/ 326 w 832"/>
                <a:gd name="T63" fmla="*/ 856 h 2376"/>
                <a:gd name="T64" fmla="*/ 386 w 832"/>
                <a:gd name="T65" fmla="*/ 729 h 2376"/>
                <a:gd name="T66" fmla="*/ 445 w 832"/>
                <a:gd name="T67" fmla="*/ 618 h 2376"/>
                <a:gd name="T68" fmla="*/ 503 w 832"/>
                <a:gd name="T69" fmla="*/ 511 h 2376"/>
                <a:gd name="T70" fmla="*/ 563 w 832"/>
                <a:gd name="T71" fmla="*/ 408 h 2376"/>
                <a:gd name="T72" fmla="*/ 623 w 832"/>
                <a:gd name="T73" fmla="*/ 309 h 2376"/>
                <a:gd name="T74" fmla="*/ 683 w 832"/>
                <a:gd name="T75" fmla="*/ 214 h 2376"/>
                <a:gd name="T76" fmla="*/ 742 w 832"/>
                <a:gd name="T77" fmla="*/ 124 h 2376"/>
                <a:gd name="T78" fmla="*/ 802 w 832"/>
                <a:gd name="T79" fmla="*/ 40 h 2376"/>
                <a:gd name="T80" fmla="*/ 832 w 832"/>
                <a:gd name="T81" fmla="*/ 1722 h 2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2" h="2376">
                  <a:moveTo>
                    <a:pt x="832" y="1722"/>
                  </a:moveTo>
                  <a:lnTo>
                    <a:pt x="805" y="1765"/>
                  </a:lnTo>
                  <a:lnTo>
                    <a:pt x="779" y="1806"/>
                  </a:lnTo>
                  <a:lnTo>
                    <a:pt x="753" y="1845"/>
                  </a:lnTo>
                  <a:lnTo>
                    <a:pt x="727" y="1884"/>
                  </a:lnTo>
                  <a:lnTo>
                    <a:pt x="700" y="1921"/>
                  </a:lnTo>
                  <a:lnTo>
                    <a:pt x="674" y="1958"/>
                  </a:lnTo>
                  <a:lnTo>
                    <a:pt x="649" y="1993"/>
                  </a:lnTo>
                  <a:lnTo>
                    <a:pt x="622" y="2026"/>
                  </a:lnTo>
                  <a:lnTo>
                    <a:pt x="596" y="2059"/>
                  </a:lnTo>
                  <a:lnTo>
                    <a:pt x="570" y="2090"/>
                  </a:lnTo>
                  <a:lnTo>
                    <a:pt x="545" y="2120"/>
                  </a:lnTo>
                  <a:lnTo>
                    <a:pt x="520" y="2148"/>
                  </a:lnTo>
                  <a:lnTo>
                    <a:pt x="495" y="2175"/>
                  </a:lnTo>
                  <a:lnTo>
                    <a:pt x="470" y="2201"/>
                  </a:lnTo>
                  <a:lnTo>
                    <a:pt x="446" y="2224"/>
                  </a:lnTo>
                  <a:lnTo>
                    <a:pt x="422" y="2246"/>
                  </a:lnTo>
                  <a:lnTo>
                    <a:pt x="397" y="2267"/>
                  </a:lnTo>
                  <a:lnTo>
                    <a:pt x="375" y="2285"/>
                  </a:lnTo>
                  <a:lnTo>
                    <a:pt x="351" y="2303"/>
                  </a:lnTo>
                  <a:lnTo>
                    <a:pt x="329" y="2318"/>
                  </a:lnTo>
                  <a:lnTo>
                    <a:pt x="307" y="2332"/>
                  </a:lnTo>
                  <a:lnTo>
                    <a:pt x="285" y="2344"/>
                  </a:lnTo>
                  <a:lnTo>
                    <a:pt x="264" y="2354"/>
                  </a:lnTo>
                  <a:lnTo>
                    <a:pt x="244" y="2362"/>
                  </a:lnTo>
                  <a:lnTo>
                    <a:pt x="224" y="2369"/>
                  </a:lnTo>
                  <a:lnTo>
                    <a:pt x="205" y="2373"/>
                  </a:lnTo>
                  <a:lnTo>
                    <a:pt x="186" y="2376"/>
                  </a:lnTo>
                  <a:lnTo>
                    <a:pt x="169" y="2376"/>
                  </a:lnTo>
                  <a:lnTo>
                    <a:pt x="151" y="2375"/>
                  </a:lnTo>
                  <a:lnTo>
                    <a:pt x="135" y="2372"/>
                  </a:lnTo>
                  <a:lnTo>
                    <a:pt x="119" y="2366"/>
                  </a:lnTo>
                  <a:lnTo>
                    <a:pt x="104" y="2357"/>
                  </a:lnTo>
                  <a:lnTo>
                    <a:pt x="85" y="2348"/>
                  </a:lnTo>
                  <a:lnTo>
                    <a:pt x="68" y="2335"/>
                  </a:lnTo>
                  <a:lnTo>
                    <a:pt x="53" y="2317"/>
                  </a:lnTo>
                  <a:lnTo>
                    <a:pt x="40" y="2297"/>
                  </a:lnTo>
                  <a:lnTo>
                    <a:pt x="29" y="2274"/>
                  </a:lnTo>
                  <a:lnTo>
                    <a:pt x="19" y="2247"/>
                  </a:lnTo>
                  <a:lnTo>
                    <a:pt x="12" y="2217"/>
                  </a:lnTo>
                  <a:lnTo>
                    <a:pt x="7" y="2184"/>
                  </a:lnTo>
                  <a:lnTo>
                    <a:pt x="3" y="2148"/>
                  </a:lnTo>
                  <a:lnTo>
                    <a:pt x="1" y="2110"/>
                  </a:lnTo>
                  <a:lnTo>
                    <a:pt x="0" y="2069"/>
                  </a:lnTo>
                  <a:lnTo>
                    <a:pt x="2" y="2024"/>
                  </a:lnTo>
                  <a:lnTo>
                    <a:pt x="5" y="1979"/>
                  </a:lnTo>
                  <a:lnTo>
                    <a:pt x="10" y="1929"/>
                  </a:lnTo>
                  <a:lnTo>
                    <a:pt x="16" y="1879"/>
                  </a:lnTo>
                  <a:lnTo>
                    <a:pt x="24" y="1826"/>
                  </a:lnTo>
                  <a:lnTo>
                    <a:pt x="34" y="1772"/>
                  </a:lnTo>
                  <a:lnTo>
                    <a:pt x="45" y="1715"/>
                  </a:lnTo>
                  <a:lnTo>
                    <a:pt x="58" y="1656"/>
                  </a:lnTo>
                  <a:lnTo>
                    <a:pt x="73" y="1597"/>
                  </a:lnTo>
                  <a:lnTo>
                    <a:pt x="88" y="1535"/>
                  </a:lnTo>
                  <a:lnTo>
                    <a:pt x="106" y="1472"/>
                  </a:lnTo>
                  <a:lnTo>
                    <a:pt x="125" y="1408"/>
                  </a:lnTo>
                  <a:lnTo>
                    <a:pt x="145" y="1342"/>
                  </a:lnTo>
                  <a:lnTo>
                    <a:pt x="168" y="1275"/>
                  </a:lnTo>
                  <a:lnTo>
                    <a:pt x="190" y="1207"/>
                  </a:lnTo>
                  <a:lnTo>
                    <a:pt x="215" y="1139"/>
                  </a:lnTo>
                  <a:lnTo>
                    <a:pt x="241" y="1069"/>
                  </a:lnTo>
                  <a:lnTo>
                    <a:pt x="269" y="999"/>
                  </a:lnTo>
                  <a:lnTo>
                    <a:pt x="296" y="928"/>
                  </a:lnTo>
                  <a:lnTo>
                    <a:pt x="326" y="856"/>
                  </a:lnTo>
                  <a:lnTo>
                    <a:pt x="358" y="785"/>
                  </a:lnTo>
                  <a:lnTo>
                    <a:pt x="386" y="729"/>
                  </a:lnTo>
                  <a:lnTo>
                    <a:pt x="415" y="673"/>
                  </a:lnTo>
                  <a:lnTo>
                    <a:pt x="445" y="618"/>
                  </a:lnTo>
                  <a:lnTo>
                    <a:pt x="474" y="564"/>
                  </a:lnTo>
                  <a:lnTo>
                    <a:pt x="503" y="511"/>
                  </a:lnTo>
                  <a:lnTo>
                    <a:pt x="533" y="458"/>
                  </a:lnTo>
                  <a:lnTo>
                    <a:pt x="563" y="408"/>
                  </a:lnTo>
                  <a:lnTo>
                    <a:pt x="593" y="357"/>
                  </a:lnTo>
                  <a:lnTo>
                    <a:pt x="623" y="309"/>
                  </a:lnTo>
                  <a:lnTo>
                    <a:pt x="653" y="261"/>
                  </a:lnTo>
                  <a:lnTo>
                    <a:pt x="683" y="214"/>
                  </a:lnTo>
                  <a:lnTo>
                    <a:pt x="713" y="169"/>
                  </a:lnTo>
                  <a:lnTo>
                    <a:pt x="742" y="124"/>
                  </a:lnTo>
                  <a:lnTo>
                    <a:pt x="772" y="82"/>
                  </a:lnTo>
                  <a:lnTo>
                    <a:pt x="802" y="40"/>
                  </a:lnTo>
                  <a:lnTo>
                    <a:pt x="832" y="0"/>
                  </a:lnTo>
                  <a:lnTo>
                    <a:pt x="832" y="172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49" name="Freeform 34"/>
            <p:cNvSpPr>
              <a:spLocks noChangeArrowheads="1"/>
            </p:cNvSpPr>
            <p:nvPr userDrawn="1"/>
          </p:nvSpPr>
          <p:spPr bwMode="auto">
            <a:xfrm>
              <a:off x="6538913" y="2910506"/>
              <a:ext cx="1209675" cy="914804"/>
            </a:xfrm>
            <a:custGeom>
              <a:avLst/>
              <a:gdLst>
                <a:gd name="T0" fmla="*/ 45 w 2688"/>
                <a:gd name="T1" fmla="*/ 102 h 1656"/>
                <a:gd name="T2" fmla="*/ 144 w 2688"/>
                <a:gd name="T3" fmla="*/ 33 h 1656"/>
                <a:gd name="T4" fmla="*/ 262 w 2688"/>
                <a:gd name="T5" fmla="*/ 4 h 1656"/>
                <a:gd name="T6" fmla="*/ 424 w 2688"/>
                <a:gd name="T7" fmla="*/ 5 h 1656"/>
                <a:gd name="T8" fmla="*/ 627 w 2688"/>
                <a:gd name="T9" fmla="*/ 38 h 1656"/>
                <a:gd name="T10" fmla="*/ 860 w 2688"/>
                <a:gd name="T11" fmla="*/ 103 h 1656"/>
                <a:gd name="T12" fmla="*/ 1387 w 2688"/>
                <a:gd name="T13" fmla="*/ 311 h 1656"/>
                <a:gd name="T14" fmla="*/ 1616 w 2688"/>
                <a:gd name="T15" fmla="*/ 424 h 1656"/>
                <a:gd name="T16" fmla="*/ 1823 w 2688"/>
                <a:gd name="T17" fmla="*/ 548 h 1656"/>
                <a:gd name="T18" fmla="*/ 2011 w 2688"/>
                <a:gd name="T19" fmla="*/ 673 h 1656"/>
                <a:gd name="T20" fmla="*/ 2211 w 2688"/>
                <a:gd name="T21" fmla="*/ 819 h 1656"/>
                <a:gd name="T22" fmla="*/ 2404 w 2688"/>
                <a:gd name="T23" fmla="*/ 986 h 1656"/>
                <a:gd name="T24" fmla="*/ 2551 w 2688"/>
                <a:gd name="T25" fmla="*/ 1146 h 1656"/>
                <a:gd name="T26" fmla="*/ 2647 w 2688"/>
                <a:gd name="T27" fmla="*/ 1296 h 1656"/>
                <a:gd name="T28" fmla="*/ 2687 w 2688"/>
                <a:gd name="T29" fmla="*/ 1431 h 1656"/>
                <a:gd name="T30" fmla="*/ 2669 w 2688"/>
                <a:gd name="T31" fmla="*/ 1539 h 1656"/>
                <a:gd name="T32" fmla="*/ 2651 w 2688"/>
                <a:gd name="T33" fmla="*/ 1564 h 1656"/>
                <a:gd name="T34" fmla="*/ 2557 w 2688"/>
                <a:gd name="T35" fmla="*/ 1625 h 1656"/>
                <a:gd name="T36" fmla="*/ 2444 w 2688"/>
                <a:gd name="T37" fmla="*/ 1652 h 1656"/>
                <a:gd name="T38" fmla="*/ 2294 w 2688"/>
                <a:gd name="T39" fmla="*/ 1654 h 1656"/>
                <a:gd name="T40" fmla="*/ 2096 w 2688"/>
                <a:gd name="T41" fmla="*/ 1624 h 1656"/>
                <a:gd name="T42" fmla="*/ 1867 w 2688"/>
                <a:gd name="T43" fmla="*/ 1565 h 1656"/>
                <a:gd name="T44" fmla="*/ 1614 w 2688"/>
                <a:gd name="T45" fmla="*/ 1474 h 1656"/>
                <a:gd name="T46" fmla="*/ 1344 w 2688"/>
                <a:gd name="T47" fmla="*/ 1354 h 1656"/>
                <a:gd name="T48" fmla="*/ 1111 w 2688"/>
                <a:gd name="T49" fmla="*/ 1232 h 1656"/>
                <a:gd name="T50" fmla="*/ 748 w 2688"/>
                <a:gd name="T51" fmla="*/ 1025 h 1656"/>
                <a:gd name="T52" fmla="*/ 443 w 2688"/>
                <a:gd name="T53" fmla="*/ 809 h 1656"/>
                <a:gd name="T54" fmla="*/ 203 w 2688"/>
                <a:gd name="T55" fmla="*/ 590 h 1656"/>
                <a:gd name="T56" fmla="*/ 109 w 2688"/>
                <a:gd name="T57" fmla="*/ 478 h 1656"/>
                <a:gd name="T58" fmla="*/ 44 w 2688"/>
                <a:gd name="T59" fmla="*/ 373 h 1656"/>
                <a:gd name="T60" fmla="*/ 7 w 2688"/>
                <a:gd name="T61" fmla="*/ 277 h 1656"/>
                <a:gd name="T62" fmla="*/ 2 w 2688"/>
                <a:gd name="T63" fmla="*/ 191 h 1656"/>
                <a:gd name="T64" fmla="*/ 20 w 2688"/>
                <a:gd name="T65" fmla="*/ 135 h 1656"/>
                <a:gd name="T66" fmla="*/ 173 w 2688"/>
                <a:gd name="T67" fmla="*/ 216 h 1656"/>
                <a:gd name="T68" fmla="*/ 170 w 2688"/>
                <a:gd name="T69" fmla="*/ 256 h 1656"/>
                <a:gd name="T70" fmla="*/ 232 w 2688"/>
                <a:gd name="T71" fmla="*/ 366 h 1656"/>
                <a:gd name="T72" fmla="*/ 368 w 2688"/>
                <a:gd name="T73" fmla="*/ 514 h 1656"/>
                <a:gd name="T74" fmla="*/ 594 w 2688"/>
                <a:gd name="T75" fmla="*/ 710 h 1656"/>
                <a:gd name="T76" fmla="*/ 893 w 2688"/>
                <a:gd name="T77" fmla="*/ 915 h 1656"/>
                <a:gd name="T78" fmla="*/ 1189 w 2688"/>
                <a:gd name="T79" fmla="*/ 1079 h 1656"/>
                <a:gd name="T80" fmla="*/ 1415 w 2688"/>
                <a:gd name="T81" fmla="*/ 1199 h 1656"/>
                <a:gd name="T82" fmla="*/ 1668 w 2688"/>
                <a:gd name="T83" fmla="*/ 1312 h 1656"/>
                <a:gd name="T84" fmla="*/ 1904 w 2688"/>
                <a:gd name="T85" fmla="*/ 1399 h 1656"/>
                <a:gd name="T86" fmla="*/ 2116 w 2688"/>
                <a:gd name="T87" fmla="*/ 1455 h 1656"/>
                <a:gd name="T88" fmla="*/ 2299 w 2688"/>
                <a:gd name="T89" fmla="*/ 1483 h 1656"/>
                <a:gd name="T90" fmla="*/ 2449 w 2688"/>
                <a:gd name="T91" fmla="*/ 1479 h 1656"/>
                <a:gd name="T92" fmla="*/ 2512 w 2688"/>
                <a:gd name="T93" fmla="*/ 1457 h 1656"/>
                <a:gd name="T94" fmla="*/ 2514 w 2688"/>
                <a:gd name="T95" fmla="*/ 1391 h 1656"/>
                <a:gd name="T96" fmla="*/ 2467 w 2688"/>
                <a:gd name="T97" fmla="*/ 1301 h 1656"/>
                <a:gd name="T98" fmla="*/ 2359 w 2688"/>
                <a:gd name="T99" fmla="*/ 1174 h 1656"/>
                <a:gd name="T100" fmla="*/ 2061 w 2688"/>
                <a:gd name="T101" fmla="*/ 919 h 1656"/>
                <a:gd name="T102" fmla="*/ 1856 w 2688"/>
                <a:gd name="T103" fmla="*/ 774 h 1656"/>
                <a:gd name="T104" fmla="*/ 1666 w 2688"/>
                <a:gd name="T105" fmla="*/ 653 h 1656"/>
                <a:gd name="T106" fmla="*/ 1493 w 2688"/>
                <a:gd name="T107" fmla="*/ 551 h 1656"/>
                <a:gd name="T108" fmla="*/ 1061 w 2688"/>
                <a:gd name="T109" fmla="*/ 356 h 1656"/>
                <a:gd name="T110" fmla="*/ 639 w 2688"/>
                <a:gd name="T111" fmla="*/ 216 h 1656"/>
                <a:gd name="T112" fmla="*/ 448 w 2688"/>
                <a:gd name="T113" fmla="*/ 179 h 1656"/>
                <a:gd name="T114" fmla="*/ 299 w 2688"/>
                <a:gd name="T115" fmla="*/ 173 h 1656"/>
                <a:gd name="T116" fmla="*/ 220 w 2688"/>
                <a:gd name="T117" fmla="*/ 186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88" h="1656">
                  <a:moveTo>
                    <a:pt x="20" y="135"/>
                  </a:moveTo>
                  <a:lnTo>
                    <a:pt x="21" y="135"/>
                  </a:lnTo>
                  <a:lnTo>
                    <a:pt x="21" y="134"/>
                  </a:lnTo>
                  <a:lnTo>
                    <a:pt x="33" y="117"/>
                  </a:lnTo>
                  <a:lnTo>
                    <a:pt x="45" y="102"/>
                  </a:lnTo>
                  <a:lnTo>
                    <a:pt x="59" y="87"/>
                  </a:lnTo>
                  <a:lnTo>
                    <a:pt x="73" y="74"/>
                  </a:lnTo>
                  <a:lnTo>
                    <a:pt x="89" y="63"/>
                  </a:lnTo>
                  <a:lnTo>
                    <a:pt x="106" y="51"/>
                  </a:lnTo>
                  <a:lnTo>
                    <a:pt x="124" y="41"/>
                  </a:lnTo>
                  <a:lnTo>
                    <a:pt x="144" y="33"/>
                  </a:lnTo>
                  <a:lnTo>
                    <a:pt x="162" y="26"/>
                  </a:lnTo>
                  <a:lnTo>
                    <a:pt x="180" y="19"/>
                  </a:lnTo>
                  <a:lnTo>
                    <a:pt x="200" y="14"/>
                  </a:lnTo>
                  <a:lnTo>
                    <a:pt x="220" y="10"/>
                  </a:lnTo>
                  <a:lnTo>
                    <a:pt x="241" y="7"/>
                  </a:lnTo>
                  <a:lnTo>
                    <a:pt x="262" y="4"/>
                  </a:lnTo>
                  <a:lnTo>
                    <a:pt x="285" y="2"/>
                  </a:lnTo>
                  <a:lnTo>
                    <a:pt x="309" y="1"/>
                  </a:lnTo>
                  <a:lnTo>
                    <a:pt x="336" y="0"/>
                  </a:lnTo>
                  <a:lnTo>
                    <a:pt x="363" y="1"/>
                  </a:lnTo>
                  <a:lnTo>
                    <a:pt x="393" y="2"/>
                  </a:lnTo>
                  <a:lnTo>
                    <a:pt x="424" y="5"/>
                  </a:lnTo>
                  <a:lnTo>
                    <a:pt x="455" y="8"/>
                  </a:lnTo>
                  <a:lnTo>
                    <a:pt x="488" y="12"/>
                  </a:lnTo>
                  <a:lnTo>
                    <a:pt x="521" y="17"/>
                  </a:lnTo>
                  <a:lnTo>
                    <a:pt x="556" y="23"/>
                  </a:lnTo>
                  <a:lnTo>
                    <a:pt x="591" y="31"/>
                  </a:lnTo>
                  <a:lnTo>
                    <a:pt x="627" y="38"/>
                  </a:lnTo>
                  <a:lnTo>
                    <a:pt x="664" y="47"/>
                  </a:lnTo>
                  <a:lnTo>
                    <a:pt x="701" y="56"/>
                  </a:lnTo>
                  <a:lnTo>
                    <a:pt x="740" y="67"/>
                  </a:lnTo>
                  <a:lnTo>
                    <a:pt x="780" y="78"/>
                  </a:lnTo>
                  <a:lnTo>
                    <a:pt x="820" y="90"/>
                  </a:lnTo>
                  <a:lnTo>
                    <a:pt x="860" y="103"/>
                  </a:lnTo>
                  <a:lnTo>
                    <a:pt x="943" y="131"/>
                  </a:lnTo>
                  <a:lnTo>
                    <a:pt x="1028" y="162"/>
                  </a:lnTo>
                  <a:lnTo>
                    <a:pt x="1115" y="195"/>
                  </a:lnTo>
                  <a:lnTo>
                    <a:pt x="1205" y="231"/>
                  </a:lnTo>
                  <a:lnTo>
                    <a:pt x="1296" y="270"/>
                  </a:lnTo>
                  <a:lnTo>
                    <a:pt x="1387" y="311"/>
                  </a:lnTo>
                  <a:lnTo>
                    <a:pt x="1480" y="354"/>
                  </a:lnTo>
                  <a:lnTo>
                    <a:pt x="1573" y="401"/>
                  </a:lnTo>
                  <a:lnTo>
                    <a:pt x="1577" y="403"/>
                  </a:lnTo>
                  <a:lnTo>
                    <a:pt x="1577" y="402"/>
                  </a:lnTo>
                  <a:lnTo>
                    <a:pt x="1580" y="404"/>
                  </a:lnTo>
                  <a:lnTo>
                    <a:pt x="1616" y="424"/>
                  </a:lnTo>
                  <a:lnTo>
                    <a:pt x="1652" y="445"/>
                  </a:lnTo>
                  <a:lnTo>
                    <a:pt x="1687" y="466"/>
                  </a:lnTo>
                  <a:lnTo>
                    <a:pt x="1722" y="486"/>
                  </a:lnTo>
                  <a:lnTo>
                    <a:pt x="1756" y="507"/>
                  </a:lnTo>
                  <a:lnTo>
                    <a:pt x="1790" y="528"/>
                  </a:lnTo>
                  <a:lnTo>
                    <a:pt x="1823" y="548"/>
                  </a:lnTo>
                  <a:lnTo>
                    <a:pt x="1855" y="569"/>
                  </a:lnTo>
                  <a:lnTo>
                    <a:pt x="1888" y="589"/>
                  </a:lnTo>
                  <a:lnTo>
                    <a:pt x="1920" y="611"/>
                  </a:lnTo>
                  <a:lnTo>
                    <a:pt x="1951" y="632"/>
                  </a:lnTo>
                  <a:lnTo>
                    <a:pt x="1982" y="652"/>
                  </a:lnTo>
                  <a:lnTo>
                    <a:pt x="2011" y="673"/>
                  </a:lnTo>
                  <a:lnTo>
                    <a:pt x="2042" y="694"/>
                  </a:lnTo>
                  <a:lnTo>
                    <a:pt x="2071" y="714"/>
                  </a:lnTo>
                  <a:lnTo>
                    <a:pt x="2100" y="735"/>
                  </a:lnTo>
                  <a:lnTo>
                    <a:pt x="2138" y="764"/>
                  </a:lnTo>
                  <a:lnTo>
                    <a:pt x="2175" y="791"/>
                  </a:lnTo>
                  <a:lnTo>
                    <a:pt x="2211" y="819"/>
                  </a:lnTo>
                  <a:lnTo>
                    <a:pt x="2246" y="848"/>
                  </a:lnTo>
                  <a:lnTo>
                    <a:pt x="2280" y="876"/>
                  </a:lnTo>
                  <a:lnTo>
                    <a:pt x="2313" y="904"/>
                  </a:lnTo>
                  <a:lnTo>
                    <a:pt x="2345" y="932"/>
                  </a:lnTo>
                  <a:lnTo>
                    <a:pt x="2375" y="958"/>
                  </a:lnTo>
                  <a:lnTo>
                    <a:pt x="2404" y="986"/>
                  </a:lnTo>
                  <a:lnTo>
                    <a:pt x="2432" y="1013"/>
                  </a:lnTo>
                  <a:lnTo>
                    <a:pt x="2458" y="1041"/>
                  </a:lnTo>
                  <a:lnTo>
                    <a:pt x="2484" y="1068"/>
                  </a:lnTo>
                  <a:lnTo>
                    <a:pt x="2508" y="1095"/>
                  </a:lnTo>
                  <a:lnTo>
                    <a:pt x="2531" y="1120"/>
                  </a:lnTo>
                  <a:lnTo>
                    <a:pt x="2551" y="1146"/>
                  </a:lnTo>
                  <a:lnTo>
                    <a:pt x="2571" y="1172"/>
                  </a:lnTo>
                  <a:lnTo>
                    <a:pt x="2589" y="1198"/>
                  </a:lnTo>
                  <a:lnTo>
                    <a:pt x="2606" y="1222"/>
                  </a:lnTo>
                  <a:lnTo>
                    <a:pt x="2621" y="1247"/>
                  </a:lnTo>
                  <a:lnTo>
                    <a:pt x="2636" y="1272"/>
                  </a:lnTo>
                  <a:lnTo>
                    <a:pt x="2647" y="1296"/>
                  </a:lnTo>
                  <a:lnTo>
                    <a:pt x="2658" y="1319"/>
                  </a:lnTo>
                  <a:lnTo>
                    <a:pt x="2668" y="1343"/>
                  </a:lnTo>
                  <a:lnTo>
                    <a:pt x="2675" y="1366"/>
                  </a:lnTo>
                  <a:lnTo>
                    <a:pt x="2681" y="1387"/>
                  </a:lnTo>
                  <a:lnTo>
                    <a:pt x="2685" y="1409"/>
                  </a:lnTo>
                  <a:lnTo>
                    <a:pt x="2687" y="1431"/>
                  </a:lnTo>
                  <a:lnTo>
                    <a:pt x="2688" y="1451"/>
                  </a:lnTo>
                  <a:lnTo>
                    <a:pt x="2687" y="1472"/>
                  </a:lnTo>
                  <a:lnTo>
                    <a:pt x="2684" y="1491"/>
                  </a:lnTo>
                  <a:lnTo>
                    <a:pt x="2680" y="1510"/>
                  </a:lnTo>
                  <a:lnTo>
                    <a:pt x="2674" y="1528"/>
                  </a:lnTo>
                  <a:lnTo>
                    <a:pt x="2669" y="1539"/>
                  </a:lnTo>
                  <a:lnTo>
                    <a:pt x="2662" y="1548"/>
                  </a:lnTo>
                  <a:lnTo>
                    <a:pt x="2662" y="1549"/>
                  </a:lnTo>
                  <a:lnTo>
                    <a:pt x="2662" y="1550"/>
                  </a:lnTo>
                  <a:lnTo>
                    <a:pt x="2651" y="1564"/>
                  </a:lnTo>
                  <a:lnTo>
                    <a:pt x="2638" y="1576"/>
                  </a:lnTo>
                  <a:lnTo>
                    <a:pt x="2624" y="1588"/>
                  </a:lnTo>
                  <a:lnTo>
                    <a:pt x="2610" y="1599"/>
                  </a:lnTo>
                  <a:lnTo>
                    <a:pt x="2593" y="1609"/>
                  </a:lnTo>
                  <a:lnTo>
                    <a:pt x="2576" y="1617"/>
                  </a:lnTo>
                  <a:lnTo>
                    <a:pt x="2557" y="1625"/>
                  </a:lnTo>
                  <a:lnTo>
                    <a:pt x="2539" y="1633"/>
                  </a:lnTo>
                  <a:lnTo>
                    <a:pt x="2521" y="1638"/>
                  </a:lnTo>
                  <a:lnTo>
                    <a:pt x="2503" y="1643"/>
                  </a:lnTo>
                  <a:lnTo>
                    <a:pt x="2484" y="1647"/>
                  </a:lnTo>
                  <a:lnTo>
                    <a:pt x="2465" y="1650"/>
                  </a:lnTo>
                  <a:lnTo>
                    <a:pt x="2444" y="1652"/>
                  </a:lnTo>
                  <a:lnTo>
                    <a:pt x="2422" y="1654"/>
                  </a:lnTo>
                  <a:lnTo>
                    <a:pt x="2401" y="1655"/>
                  </a:lnTo>
                  <a:lnTo>
                    <a:pt x="2378" y="1656"/>
                  </a:lnTo>
                  <a:lnTo>
                    <a:pt x="2351" y="1656"/>
                  </a:lnTo>
                  <a:lnTo>
                    <a:pt x="2322" y="1655"/>
                  </a:lnTo>
                  <a:lnTo>
                    <a:pt x="2294" y="1654"/>
                  </a:lnTo>
                  <a:lnTo>
                    <a:pt x="2263" y="1651"/>
                  </a:lnTo>
                  <a:lnTo>
                    <a:pt x="2232" y="1648"/>
                  </a:lnTo>
                  <a:lnTo>
                    <a:pt x="2199" y="1643"/>
                  </a:lnTo>
                  <a:lnTo>
                    <a:pt x="2166" y="1638"/>
                  </a:lnTo>
                  <a:lnTo>
                    <a:pt x="2131" y="1632"/>
                  </a:lnTo>
                  <a:lnTo>
                    <a:pt x="2096" y="1624"/>
                  </a:lnTo>
                  <a:lnTo>
                    <a:pt x="2060" y="1617"/>
                  </a:lnTo>
                  <a:lnTo>
                    <a:pt x="2023" y="1608"/>
                  </a:lnTo>
                  <a:lnTo>
                    <a:pt x="1985" y="1599"/>
                  </a:lnTo>
                  <a:lnTo>
                    <a:pt x="1947" y="1588"/>
                  </a:lnTo>
                  <a:lnTo>
                    <a:pt x="1906" y="1577"/>
                  </a:lnTo>
                  <a:lnTo>
                    <a:pt x="1867" y="1565"/>
                  </a:lnTo>
                  <a:lnTo>
                    <a:pt x="1826" y="1551"/>
                  </a:lnTo>
                  <a:lnTo>
                    <a:pt x="1785" y="1538"/>
                  </a:lnTo>
                  <a:lnTo>
                    <a:pt x="1743" y="1523"/>
                  </a:lnTo>
                  <a:lnTo>
                    <a:pt x="1700" y="1508"/>
                  </a:lnTo>
                  <a:lnTo>
                    <a:pt x="1657" y="1491"/>
                  </a:lnTo>
                  <a:lnTo>
                    <a:pt x="1614" y="1474"/>
                  </a:lnTo>
                  <a:lnTo>
                    <a:pt x="1570" y="1456"/>
                  </a:lnTo>
                  <a:lnTo>
                    <a:pt x="1525" y="1438"/>
                  </a:lnTo>
                  <a:lnTo>
                    <a:pt x="1481" y="1418"/>
                  </a:lnTo>
                  <a:lnTo>
                    <a:pt x="1436" y="1398"/>
                  </a:lnTo>
                  <a:lnTo>
                    <a:pt x="1390" y="1376"/>
                  </a:lnTo>
                  <a:lnTo>
                    <a:pt x="1344" y="1354"/>
                  </a:lnTo>
                  <a:lnTo>
                    <a:pt x="1298" y="1332"/>
                  </a:lnTo>
                  <a:lnTo>
                    <a:pt x="1251" y="1308"/>
                  </a:lnTo>
                  <a:lnTo>
                    <a:pt x="1205" y="1283"/>
                  </a:lnTo>
                  <a:lnTo>
                    <a:pt x="1159" y="1258"/>
                  </a:lnTo>
                  <a:lnTo>
                    <a:pt x="1111" y="1232"/>
                  </a:lnTo>
                  <a:lnTo>
                    <a:pt x="1046" y="1199"/>
                  </a:lnTo>
                  <a:lnTo>
                    <a:pt x="983" y="1165"/>
                  </a:lnTo>
                  <a:lnTo>
                    <a:pt x="923" y="1131"/>
                  </a:lnTo>
                  <a:lnTo>
                    <a:pt x="863" y="1096"/>
                  </a:lnTo>
                  <a:lnTo>
                    <a:pt x="804" y="1060"/>
                  </a:lnTo>
                  <a:lnTo>
                    <a:pt x="748" y="1025"/>
                  </a:lnTo>
                  <a:lnTo>
                    <a:pt x="692" y="989"/>
                  </a:lnTo>
                  <a:lnTo>
                    <a:pt x="638" y="953"/>
                  </a:lnTo>
                  <a:lnTo>
                    <a:pt x="587" y="917"/>
                  </a:lnTo>
                  <a:lnTo>
                    <a:pt x="536" y="881"/>
                  </a:lnTo>
                  <a:lnTo>
                    <a:pt x="489" y="845"/>
                  </a:lnTo>
                  <a:lnTo>
                    <a:pt x="443" y="809"/>
                  </a:lnTo>
                  <a:lnTo>
                    <a:pt x="398" y="773"/>
                  </a:lnTo>
                  <a:lnTo>
                    <a:pt x="356" y="737"/>
                  </a:lnTo>
                  <a:lnTo>
                    <a:pt x="316" y="702"/>
                  </a:lnTo>
                  <a:lnTo>
                    <a:pt x="279" y="667"/>
                  </a:lnTo>
                  <a:lnTo>
                    <a:pt x="239" y="629"/>
                  </a:lnTo>
                  <a:lnTo>
                    <a:pt x="203" y="590"/>
                  </a:lnTo>
                  <a:lnTo>
                    <a:pt x="185" y="571"/>
                  </a:lnTo>
                  <a:lnTo>
                    <a:pt x="169" y="552"/>
                  </a:lnTo>
                  <a:lnTo>
                    <a:pt x="152" y="534"/>
                  </a:lnTo>
                  <a:lnTo>
                    <a:pt x="138" y="515"/>
                  </a:lnTo>
                  <a:lnTo>
                    <a:pt x="123" y="497"/>
                  </a:lnTo>
                  <a:lnTo>
                    <a:pt x="109" y="478"/>
                  </a:lnTo>
                  <a:lnTo>
                    <a:pt x="97" y="461"/>
                  </a:lnTo>
                  <a:lnTo>
                    <a:pt x="84" y="442"/>
                  </a:lnTo>
                  <a:lnTo>
                    <a:pt x="73" y="424"/>
                  </a:lnTo>
                  <a:lnTo>
                    <a:pt x="63" y="407"/>
                  </a:lnTo>
                  <a:lnTo>
                    <a:pt x="52" y="390"/>
                  </a:lnTo>
                  <a:lnTo>
                    <a:pt x="44" y="373"/>
                  </a:lnTo>
                  <a:lnTo>
                    <a:pt x="36" y="356"/>
                  </a:lnTo>
                  <a:lnTo>
                    <a:pt x="29" y="340"/>
                  </a:lnTo>
                  <a:lnTo>
                    <a:pt x="21" y="323"/>
                  </a:lnTo>
                  <a:lnTo>
                    <a:pt x="16" y="308"/>
                  </a:lnTo>
                  <a:lnTo>
                    <a:pt x="11" y="293"/>
                  </a:lnTo>
                  <a:lnTo>
                    <a:pt x="7" y="277"/>
                  </a:lnTo>
                  <a:lnTo>
                    <a:pt x="4" y="262"/>
                  </a:lnTo>
                  <a:lnTo>
                    <a:pt x="2" y="247"/>
                  </a:lnTo>
                  <a:lnTo>
                    <a:pt x="1" y="233"/>
                  </a:lnTo>
                  <a:lnTo>
                    <a:pt x="0" y="219"/>
                  </a:lnTo>
                  <a:lnTo>
                    <a:pt x="1" y="205"/>
                  </a:lnTo>
                  <a:lnTo>
                    <a:pt x="2" y="191"/>
                  </a:lnTo>
                  <a:lnTo>
                    <a:pt x="4" y="179"/>
                  </a:lnTo>
                  <a:lnTo>
                    <a:pt x="7" y="167"/>
                  </a:lnTo>
                  <a:lnTo>
                    <a:pt x="11" y="154"/>
                  </a:lnTo>
                  <a:lnTo>
                    <a:pt x="16" y="143"/>
                  </a:lnTo>
                  <a:lnTo>
                    <a:pt x="20" y="136"/>
                  </a:lnTo>
                  <a:lnTo>
                    <a:pt x="20" y="135"/>
                  </a:lnTo>
                  <a:close/>
                  <a:moveTo>
                    <a:pt x="210" y="190"/>
                  </a:moveTo>
                  <a:lnTo>
                    <a:pt x="197" y="197"/>
                  </a:lnTo>
                  <a:lnTo>
                    <a:pt x="185" y="204"/>
                  </a:lnTo>
                  <a:lnTo>
                    <a:pt x="181" y="208"/>
                  </a:lnTo>
                  <a:lnTo>
                    <a:pt x="176" y="212"/>
                  </a:lnTo>
                  <a:lnTo>
                    <a:pt x="173" y="216"/>
                  </a:lnTo>
                  <a:lnTo>
                    <a:pt x="170" y="220"/>
                  </a:lnTo>
                  <a:lnTo>
                    <a:pt x="168" y="226"/>
                  </a:lnTo>
                  <a:lnTo>
                    <a:pt x="167" y="231"/>
                  </a:lnTo>
                  <a:lnTo>
                    <a:pt x="167" y="237"/>
                  </a:lnTo>
                  <a:lnTo>
                    <a:pt x="167" y="243"/>
                  </a:lnTo>
                  <a:lnTo>
                    <a:pt x="170" y="256"/>
                  </a:lnTo>
                  <a:lnTo>
                    <a:pt x="175" y="271"/>
                  </a:lnTo>
                  <a:lnTo>
                    <a:pt x="181" y="287"/>
                  </a:lnTo>
                  <a:lnTo>
                    <a:pt x="190" y="305"/>
                  </a:lnTo>
                  <a:lnTo>
                    <a:pt x="203" y="324"/>
                  </a:lnTo>
                  <a:lnTo>
                    <a:pt x="216" y="344"/>
                  </a:lnTo>
                  <a:lnTo>
                    <a:pt x="232" y="366"/>
                  </a:lnTo>
                  <a:lnTo>
                    <a:pt x="249" y="387"/>
                  </a:lnTo>
                  <a:lnTo>
                    <a:pt x="270" y="411"/>
                  </a:lnTo>
                  <a:lnTo>
                    <a:pt x="291" y="436"/>
                  </a:lnTo>
                  <a:lnTo>
                    <a:pt x="315" y="462"/>
                  </a:lnTo>
                  <a:lnTo>
                    <a:pt x="340" y="487"/>
                  </a:lnTo>
                  <a:lnTo>
                    <a:pt x="368" y="514"/>
                  </a:lnTo>
                  <a:lnTo>
                    <a:pt x="396" y="542"/>
                  </a:lnTo>
                  <a:lnTo>
                    <a:pt x="431" y="575"/>
                  </a:lnTo>
                  <a:lnTo>
                    <a:pt x="469" y="608"/>
                  </a:lnTo>
                  <a:lnTo>
                    <a:pt x="509" y="642"/>
                  </a:lnTo>
                  <a:lnTo>
                    <a:pt x="551" y="676"/>
                  </a:lnTo>
                  <a:lnTo>
                    <a:pt x="594" y="710"/>
                  </a:lnTo>
                  <a:lnTo>
                    <a:pt x="639" y="744"/>
                  </a:lnTo>
                  <a:lnTo>
                    <a:pt x="687" y="779"/>
                  </a:lnTo>
                  <a:lnTo>
                    <a:pt x="736" y="813"/>
                  </a:lnTo>
                  <a:lnTo>
                    <a:pt x="787" y="847"/>
                  </a:lnTo>
                  <a:lnTo>
                    <a:pt x="839" y="881"/>
                  </a:lnTo>
                  <a:lnTo>
                    <a:pt x="893" y="915"/>
                  </a:lnTo>
                  <a:lnTo>
                    <a:pt x="948" y="948"/>
                  </a:lnTo>
                  <a:lnTo>
                    <a:pt x="1005" y="981"/>
                  </a:lnTo>
                  <a:lnTo>
                    <a:pt x="1064" y="1014"/>
                  </a:lnTo>
                  <a:lnTo>
                    <a:pt x="1123" y="1045"/>
                  </a:lnTo>
                  <a:lnTo>
                    <a:pt x="1183" y="1077"/>
                  </a:lnTo>
                  <a:lnTo>
                    <a:pt x="1189" y="1079"/>
                  </a:lnTo>
                  <a:lnTo>
                    <a:pt x="1196" y="1082"/>
                  </a:lnTo>
                  <a:lnTo>
                    <a:pt x="1240" y="1107"/>
                  </a:lnTo>
                  <a:lnTo>
                    <a:pt x="1284" y="1132"/>
                  </a:lnTo>
                  <a:lnTo>
                    <a:pt x="1327" y="1154"/>
                  </a:lnTo>
                  <a:lnTo>
                    <a:pt x="1372" y="1177"/>
                  </a:lnTo>
                  <a:lnTo>
                    <a:pt x="1415" y="1199"/>
                  </a:lnTo>
                  <a:lnTo>
                    <a:pt x="1458" y="1219"/>
                  </a:lnTo>
                  <a:lnTo>
                    <a:pt x="1502" y="1240"/>
                  </a:lnTo>
                  <a:lnTo>
                    <a:pt x="1544" y="1258"/>
                  </a:lnTo>
                  <a:lnTo>
                    <a:pt x="1586" y="1278"/>
                  </a:lnTo>
                  <a:lnTo>
                    <a:pt x="1627" y="1296"/>
                  </a:lnTo>
                  <a:lnTo>
                    <a:pt x="1668" y="1312"/>
                  </a:lnTo>
                  <a:lnTo>
                    <a:pt x="1710" y="1329"/>
                  </a:lnTo>
                  <a:lnTo>
                    <a:pt x="1750" y="1344"/>
                  </a:lnTo>
                  <a:lnTo>
                    <a:pt x="1789" y="1358"/>
                  </a:lnTo>
                  <a:lnTo>
                    <a:pt x="1828" y="1373"/>
                  </a:lnTo>
                  <a:lnTo>
                    <a:pt x="1867" y="1386"/>
                  </a:lnTo>
                  <a:lnTo>
                    <a:pt x="1904" y="1399"/>
                  </a:lnTo>
                  <a:lnTo>
                    <a:pt x="1942" y="1410"/>
                  </a:lnTo>
                  <a:lnTo>
                    <a:pt x="1978" y="1420"/>
                  </a:lnTo>
                  <a:lnTo>
                    <a:pt x="2014" y="1431"/>
                  </a:lnTo>
                  <a:lnTo>
                    <a:pt x="2050" y="1440"/>
                  </a:lnTo>
                  <a:lnTo>
                    <a:pt x="2084" y="1448"/>
                  </a:lnTo>
                  <a:lnTo>
                    <a:pt x="2116" y="1455"/>
                  </a:lnTo>
                  <a:lnTo>
                    <a:pt x="2149" y="1461"/>
                  </a:lnTo>
                  <a:lnTo>
                    <a:pt x="2181" y="1468"/>
                  </a:lnTo>
                  <a:lnTo>
                    <a:pt x="2212" y="1473"/>
                  </a:lnTo>
                  <a:lnTo>
                    <a:pt x="2242" y="1477"/>
                  </a:lnTo>
                  <a:lnTo>
                    <a:pt x="2271" y="1480"/>
                  </a:lnTo>
                  <a:lnTo>
                    <a:pt x="2299" y="1483"/>
                  </a:lnTo>
                  <a:lnTo>
                    <a:pt x="2326" y="1484"/>
                  </a:lnTo>
                  <a:lnTo>
                    <a:pt x="2351" y="1485"/>
                  </a:lnTo>
                  <a:lnTo>
                    <a:pt x="2376" y="1485"/>
                  </a:lnTo>
                  <a:lnTo>
                    <a:pt x="2407" y="1484"/>
                  </a:lnTo>
                  <a:lnTo>
                    <a:pt x="2437" y="1481"/>
                  </a:lnTo>
                  <a:lnTo>
                    <a:pt x="2449" y="1479"/>
                  </a:lnTo>
                  <a:lnTo>
                    <a:pt x="2463" y="1477"/>
                  </a:lnTo>
                  <a:lnTo>
                    <a:pt x="2474" y="1474"/>
                  </a:lnTo>
                  <a:lnTo>
                    <a:pt x="2485" y="1471"/>
                  </a:lnTo>
                  <a:lnTo>
                    <a:pt x="2496" y="1467"/>
                  </a:lnTo>
                  <a:lnTo>
                    <a:pt x="2505" y="1463"/>
                  </a:lnTo>
                  <a:lnTo>
                    <a:pt x="2512" y="1457"/>
                  </a:lnTo>
                  <a:lnTo>
                    <a:pt x="2519" y="1453"/>
                  </a:lnTo>
                  <a:lnTo>
                    <a:pt x="2520" y="1442"/>
                  </a:lnTo>
                  <a:lnTo>
                    <a:pt x="2521" y="1431"/>
                  </a:lnTo>
                  <a:lnTo>
                    <a:pt x="2520" y="1418"/>
                  </a:lnTo>
                  <a:lnTo>
                    <a:pt x="2518" y="1405"/>
                  </a:lnTo>
                  <a:lnTo>
                    <a:pt x="2514" y="1391"/>
                  </a:lnTo>
                  <a:lnTo>
                    <a:pt x="2509" y="1378"/>
                  </a:lnTo>
                  <a:lnTo>
                    <a:pt x="2503" y="1364"/>
                  </a:lnTo>
                  <a:lnTo>
                    <a:pt x="2496" y="1348"/>
                  </a:lnTo>
                  <a:lnTo>
                    <a:pt x="2487" y="1333"/>
                  </a:lnTo>
                  <a:lnTo>
                    <a:pt x="2477" y="1317"/>
                  </a:lnTo>
                  <a:lnTo>
                    <a:pt x="2467" y="1301"/>
                  </a:lnTo>
                  <a:lnTo>
                    <a:pt x="2454" y="1283"/>
                  </a:lnTo>
                  <a:lnTo>
                    <a:pt x="2441" y="1267"/>
                  </a:lnTo>
                  <a:lnTo>
                    <a:pt x="2426" y="1249"/>
                  </a:lnTo>
                  <a:lnTo>
                    <a:pt x="2411" y="1231"/>
                  </a:lnTo>
                  <a:lnTo>
                    <a:pt x="2396" y="1212"/>
                  </a:lnTo>
                  <a:lnTo>
                    <a:pt x="2359" y="1174"/>
                  </a:lnTo>
                  <a:lnTo>
                    <a:pt x="2318" y="1135"/>
                  </a:lnTo>
                  <a:lnTo>
                    <a:pt x="2274" y="1093"/>
                  </a:lnTo>
                  <a:lnTo>
                    <a:pt x="2227" y="1051"/>
                  </a:lnTo>
                  <a:lnTo>
                    <a:pt x="2175" y="1009"/>
                  </a:lnTo>
                  <a:lnTo>
                    <a:pt x="2120" y="965"/>
                  </a:lnTo>
                  <a:lnTo>
                    <a:pt x="2061" y="919"/>
                  </a:lnTo>
                  <a:lnTo>
                    <a:pt x="2000" y="874"/>
                  </a:lnTo>
                  <a:lnTo>
                    <a:pt x="1972" y="854"/>
                  </a:lnTo>
                  <a:lnTo>
                    <a:pt x="1943" y="835"/>
                  </a:lnTo>
                  <a:lnTo>
                    <a:pt x="1915" y="814"/>
                  </a:lnTo>
                  <a:lnTo>
                    <a:pt x="1886" y="795"/>
                  </a:lnTo>
                  <a:lnTo>
                    <a:pt x="1856" y="774"/>
                  </a:lnTo>
                  <a:lnTo>
                    <a:pt x="1826" y="754"/>
                  </a:lnTo>
                  <a:lnTo>
                    <a:pt x="1795" y="734"/>
                  </a:lnTo>
                  <a:lnTo>
                    <a:pt x="1764" y="714"/>
                  </a:lnTo>
                  <a:lnTo>
                    <a:pt x="1731" y="694"/>
                  </a:lnTo>
                  <a:lnTo>
                    <a:pt x="1699" y="673"/>
                  </a:lnTo>
                  <a:lnTo>
                    <a:pt x="1666" y="653"/>
                  </a:lnTo>
                  <a:lnTo>
                    <a:pt x="1633" y="633"/>
                  </a:lnTo>
                  <a:lnTo>
                    <a:pt x="1599" y="613"/>
                  </a:lnTo>
                  <a:lnTo>
                    <a:pt x="1565" y="594"/>
                  </a:lnTo>
                  <a:lnTo>
                    <a:pt x="1531" y="573"/>
                  </a:lnTo>
                  <a:lnTo>
                    <a:pt x="1496" y="553"/>
                  </a:lnTo>
                  <a:lnTo>
                    <a:pt x="1493" y="551"/>
                  </a:lnTo>
                  <a:lnTo>
                    <a:pt x="1405" y="508"/>
                  </a:lnTo>
                  <a:lnTo>
                    <a:pt x="1317" y="467"/>
                  </a:lnTo>
                  <a:lnTo>
                    <a:pt x="1230" y="428"/>
                  </a:lnTo>
                  <a:lnTo>
                    <a:pt x="1145" y="390"/>
                  </a:lnTo>
                  <a:lnTo>
                    <a:pt x="1061" y="356"/>
                  </a:lnTo>
                  <a:lnTo>
                    <a:pt x="979" y="324"/>
                  </a:lnTo>
                  <a:lnTo>
                    <a:pt x="899" y="296"/>
                  </a:lnTo>
                  <a:lnTo>
                    <a:pt x="822" y="269"/>
                  </a:lnTo>
                  <a:lnTo>
                    <a:pt x="747" y="245"/>
                  </a:lnTo>
                  <a:lnTo>
                    <a:pt x="674" y="226"/>
                  </a:lnTo>
                  <a:lnTo>
                    <a:pt x="639" y="216"/>
                  </a:lnTo>
                  <a:lnTo>
                    <a:pt x="605" y="208"/>
                  </a:lnTo>
                  <a:lnTo>
                    <a:pt x="571" y="200"/>
                  </a:lnTo>
                  <a:lnTo>
                    <a:pt x="540" y="194"/>
                  </a:lnTo>
                  <a:lnTo>
                    <a:pt x="508" y="187"/>
                  </a:lnTo>
                  <a:lnTo>
                    <a:pt x="478" y="183"/>
                  </a:lnTo>
                  <a:lnTo>
                    <a:pt x="448" y="179"/>
                  </a:lnTo>
                  <a:lnTo>
                    <a:pt x="419" y="175"/>
                  </a:lnTo>
                  <a:lnTo>
                    <a:pt x="391" y="173"/>
                  </a:lnTo>
                  <a:lnTo>
                    <a:pt x="364" y="172"/>
                  </a:lnTo>
                  <a:lnTo>
                    <a:pt x="339" y="171"/>
                  </a:lnTo>
                  <a:lnTo>
                    <a:pt x="314" y="172"/>
                  </a:lnTo>
                  <a:lnTo>
                    <a:pt x="299" y="173"/>
                  </a:lnTo>
                  <a:lnTo>
                    <a:pt x="284" y="174"/>
                  </a:lnTo>
                  <a:lnTo>
                    <a:pt x="270" y="175"/>
                  </a:lnTo>
                  <a:lnTo>
                    <a:pt x="256" y="177"/>
                  </a:lnTo>
                  <a:lnTo>
                    <a:pt x="243" y="180"/>
                  </a:lnTo>
                  <a:lnTo>
                    <a:pt x="232" y="183"/>
                  </a:lnTo>
                  <a:lnTo>
                    <a:pt x="220" y="186"/>
                  </a:lnTo>
                  <a:lnTo>
                    <a:pt x="210" y="19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0" name="Freeform 35"/>
            <p:cNvSpPr>
              <a:spLocks noChangeArrowheads="1"/>
            </p:cNvSpPr>
            <p:nvPr userDrawn="1"/>
          </p:nvSpPr>
          <p:spPr bwMode="auto">
            <a:xfrm>
              <a:off x="6583363" y="2955261"/>
              <a:ext cx="1130300" cy="825294"/>
            </a:xfrm>
            <a:custGeom>
              <a:avLst/>
              <a:gdLst>
                <a:gd name="T0" fmla="*/ 39 w 2520"/>
                <a:gd name="T1" fmla="*/ 59 h 1486"/>
                <a:gd name="T2" fmla="*/ 104 w 2520"/>
                <a:gd name="T3" fmla="*/ 22 h 1486"/>
                <a:gd name="T4" fmla="*/ 193 w 2520"/>
                <a:gd name="T5" fmla="*/ 3 h 1486"/>
                <a:gd name="T6" fmla="*/ 302 w 2520"/>
                <a:gd name="T7" fmla="*/ 2 h 1486"/>
                <a:gd name="T8" fmla="*/ 430 w 2520"/>
                <a:gd name="T9" fmla="*/ 18 h 1486"/>
                <a:gd name="T10" fmla="*/ 573 w 2520"/>
                <a:gd name="T11" fmla="*/ 48 h 1486"/>
                <a:gd name="T12" fmla="*/ 731 w 2520"/>
                <a:gd name="T13" fmla="*/ 92 h 1486"/>
                <a:gd name="T14" fmla="*/ 899 w 2520"/>
                <a:gd name="T15" fmla="*/ 150 h 1486"/>
                <a:gd name="T16" fmla="*/ 1077 w 2520"/>
                <a:gd name="T17" fmla="*/ 220 h 1486"/>
                <a:gd name="T18" fmla="*/ 1261 w 2520"/>
                <a:gd name="T19" fmla="*/ 301 h 1486"/>
                <a:gd name="T20" fmla="*/ 1451 w 2520"/>
                <a:gd name="T21" fmla="*/ 392 h 1486"/>
                <a:gd name="T22" fmla="*/ 1636 w 2520"/>
                <a:gd name="T23" fmla="*/ 500 h 1486"/>
                <a:gd name="T24" fmla="*/ 1808 w 2520"/>
                <a:gd name="T25" fmla="*/ 610 h 1486"/>
                <a:gd name="T26" fmla="*/ 1966 w 2520"/>
                <a:gd name="T27" fmla="*/ 719 h 1486"/>
                <a:gd name="T28" fmla="*/ 2107 w 2520"/>
                <a:gd name="T29" fmla="*/ 827 h 1486"/>
                <a:gd name="T30" fmla="*/ 2229 w 2520"/>
                <a:gd name="T31" fmla="*/ 932 h 1486"/>
                <a:gd name="T32" fmla="*/ 2333 w 2520"/>
                <a:gd name="T33" fmla="*/ 1032 h 1486"/>
                <a:gd name="T34" fmla="*/ 2416 w 2520"/>
                <a:gd name="T35" fmla="*/ 1128 h 1486"/>
                <a:gd name="T36" fmla="*/ 2476 w 2520"/>
                <a:gd name="T37" fmla="*/ 1217 h 1486"/>
                <a:gd name="T38" fmla="*/ 2511 w 2520"/>
                <a:gd name="T39" fmla="*/ 1298 h 1486"/>
                <a:gd name="T40" fmla="*/ 2520 w 2520"/>
                <a:gd name="T41" fmla="*/ 1370 h 1486"/>
                <a:gd name="T42" fmla="*/ 2497 w 2520"/>
                <a:gd name="T43" fmla="*/ 1427 h 1486"/>
                <a:gd name="T44" fmla="*/ 2439 w 2520"/>
                <a:gd name="T45" fmla="*/ 1462 h 1486"/>
                <a:gd name="T46" fmla="*/ 2359 w 2520"/>
                <a:gd name="T47" fmla="*/ 1482 h 1486"/>
                <a:gd name="T48" fmla="*/ 2256 w 2520"/>
                <a:gd name="T49" fmla="*/ 1486 h 1486"/>
                <a:gd name="T50" fmla="*/ 2134 w 2520"/>
                <a:gd name="T51" fmla="*/ 1475 h 1486"/>
                <a:gd name="T52" fmla="*/ 1996 w 2520"/>
                <a:gd name="T53" fmla="*/ 1450 h 1486"/>
                <a:gd name="T54" fmla="*/ 1844 w 2520"/>
                <a:gd name="T55" fmla="*/ 1409 h 1486"/>
                <a:gd name="T56" fmla="*/ 1678 w 2520"/>
                <a:gd name="T57" fmla="*/ 1355 h 1486"/>
                <a:gd name="T58" fmla="*/ 1503 w 2520"/>
                <a:gd name="T59" fmla="*/ 1286 h 1486"/>
                <a:gd name="T60" fmla="*/ 1321 w 2520"/>
                <a:gd name="T61" fmla="*/ 1203 h 1486"/>
                <a:gd name="T62" fmla="*/ 1133 w 2520"/>
                <a:gd name="T63" fmla="*/ 1107 h 1486"/>
                <a:gd name="T64" fmla="*/ 945 w 2520"/>
                <a:gd name="T65" fmla="*/ 1007 h 1486"/>
                <a:gd name="T66" fmla="*/ 768 w 2520"/>
                <a:gd name="T67" fmla="*/ 905 h 1486"/>
                <a:gd name="T68" fmla="*/ 606 w 2520"/>
                <a:gd name="T69" fmla="*/ 800 h 1486"/>
                <a:gd name="T70" fmla="*/ 459 w 2520"/>
                <a:gd name="T71" fmla="*/ 694 h 1486"/>
                <a:gd name="T72" fmla="*/ 329 w 2520"/>
                <a:gd name="T73" fmla="*/ 588 h 1486"/>
                <a:gd name="T74" fmla="*/ 219 w 2520"/>
                <a:gd name="T75" fmla="*/ 486 h 1486"/>
                <a:gd name="T76" fmla="*/ 129 w 2520"/>
                <a:gd name="T77" fmla="*/ 389 h 1486"/>
                <a:gd name="T78" fmla="*/ 61 w 2520"/>
                <a:gd name="T79" fmla="*/ 299 h 1486"/>
                <a:gd name="T80" fmla="*/ 18 w 2520"/>
                <a:gd name="T81" fmla="*/ 219 h 1486"/>
                <a:gd name="T82" fmla="*/ 0 w 2520"/>
                <a:gd name="T83" fmla="*/ 150 h 1486"/>
                <a:gd name="T84" fmla="*/ 10 w 2520"/>
                <a:gd name="T85" fmla="*/ 94 h 1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20" h="1486">
                  <a:moveTo>
                    <a:pt x="10" y="94"/>
                  </a:moveTo>
                  <a:lnTo>
                    <a:pt x="23" y="76"/>
                  </a:lnTo>
                  <a:lnTo>
                    <a:pt x="39" y="59"/>
                  </a:lnTo>
                  <a:lnTo>
                    <a:pt x="59" y="45"/>
                  </a:lnTo>
                  <a:lnTo>
                    <a:pt x="81" y="32"/>
                  </a:lnTo>
                  <a:lnTo>
                    <a:pt x="104" y="22"/>
                  </a:lnTo>
                  <a:lnTo>
                    <a:pt x="132" y="14"/>
                  </a:lnTo>
                  <a:lnTo>
                    <a:pt x="161" y="8"/>
                  </a:lnTo>
                  <a:lnTo>
                    <a:pt x="193" y="3"/>
                  </a:lnTo>
                  <a:lnTo>
                    <a:pt x="227" y="1"/>
                  </a:lnTo>
                  <a:lnTo>
                    <a:pt x="264" y="0"/>
                  </a:lnTo>
                  <a:lnTo>
                    <a:pt x="302" y="2"/>
                  </a:lnTo>
                  <a:lnTo>
                    <a:pt x="342" y="5"/>
                  </a:lnTo>
                  <a:lnTo>
                    <a:pt x="385" y="11"/>
                  </a:lnTo>
                  <a:lnTo>
                    <a:pt x="430" y="18"/>
                  </a:lnTo>
                  <a:lnTo>
                    <a:pt x="476" y="26"/>
                  </a:lnTo>
                  <a:lnTo>
                    <a:pt x="524" y="36"/>
                  </a:lnTo>
                  <a:lnTo>
                    <a:pt x="573" y="48"/>
                  </a:lnTo>
                  <a:lnTo>
                    <a:pt x="624" y="61"/>
                  </a:lnTo>
                  <a:lnTo>
                    <a:pt x="676" y="76"/>
                  </a:lnTo>
                  <a:lnTo>
                    <a:pt x="731" y="92"/>
                  </a:lnTo>
                  <a:lnTo>
                    <a:pt x="785" y="111"/>
                  </a:lnTo>
                  <a:lnTo>
                    <a:pt x="842" y="129"/>
                  </a:lnTo>
                  <a:lnTo>
                    <a:pt x="899" y="150"/>
                  </a:lnTo>
                  <a:lnTo>
                    <a:pt x="957" y="172"/>
                  </a:lnTo>
                  <a:lnTo>
                    <a:pt x="1017" y="195"/>
                  </a:lnTo>
                  <a:lnTo>
                    <a:pt x="1077" y="220"/>
                  </a:lnTo>
                  <a:lnTo>
                    <a:pt x="1137" y="246"/>
                  </a:lnTo>
                  <a:lnTo>
                    <a:pt x="1199" y="272"/>
                  </a:lnTo>
                  <a:lnTo>
                    <a:pt x="1261" y="301"/>
                  </a:lnTo>
                  <a:lnTo>
                    <a:pt x="1324" y="330"/>
                  </a:lnTo>
                  <a:lnTo>
                    <a:pt x="1388" y="361"/>
                  </a:lnTo>
                  <a:lnTo>
                    <a:pt x="1451" y="392"/>
                  </a:lnTo>
                  <a:lnTo>
                    <a:pt x="1513" y="428"/>
                  </a:lnTo>
                  <a:lnTo>
                    <a:pt x="1575" y="464"/>
                  </a:lnTo>
                  <a:lnTo>
                    <a:pt x="1636" y="500"/>
                  </a:lnTo>
                  <a:lnTo>
                    <a:pt x="1695" y="536"/>
                  </a:lnTo>
                  <a:lnTo>
                    <a:pt x="1751" y="573"/>
                  </a:lnTo>
                  <a:lnTo>
                    <a:pt x="1808" y="610"/>
                  </a:lnTo>
                  <a:lnTo>
                    <a:pt x="1861" y="647"/>
                  </a:lnTo>
                  <a:lnTo>
                    <a:pt x="1914" y="683"/>
                  </a:lnTo>
                  <a:lnTo>
                    <a:pt x="1966" y="719"/>
                  </a:lnTo>
                  <a:lnTo>
                    <a:pt x="2014" y="755"/>
                  </a:lnTo>
                  <a:lnTo>
                    <a:pt x="2061" y="791"/>
                  </a:lnTo>
                  <a:lnTo>
                    <a:pt x="2107" y="827"/>
                  </a:lnTo>
                  <a:lnTo>
                    <a:pt x="2150" y="862"/>
                  </a:lnTo>
                  <a:lnTo>
                    <a:pt x="2191" y="897"/>
                  </a:lnTo>
                  <a:lnTo>
                    <a:pt x="2229" y="932"/>
                  </a:lnTo>
                  <a:lnTo>
                    <a:pt x="2266" y="966"/>
                  </a:lnTo>
                  <a:lnTo>
                    <a:pt x="2301" y="999"/>
                  </a:lnTo>
                  <a:lnTo>
                    <a:pt x="2333" y="1032"/>
                  </a:lnTo>
                  <a:lnTo>
                    <a:pt x="2363" y="1065"/>
                  </a:lnTo>
                  <a:lnTo>
                    <a:pt x="2391" y="1097"/>
                  </a:lnTo>
                  <a:lnTo>
                    <a:pt x="2416" y="1128"/>
                  </a:lnTo>
                  <a:lnTo>
                    <a:pt x="2438" y="1159"/>
                  </a:lnTo>
                  <a:lnTo>
                    <a:pt x="2459" y="1188"/>
                  </a:lnTo>
                  <a:lnTo>
                    <a:pt x="2476" y="1217"/>
                  </a:lnTo>
                  <a:lnTo>
                    <a:pt x="2491" y="1245"/>
                  </a:lnTo>
                  <a:lnTo>
                    <a:pt x="2502" y="1272"/>
                  </a:lnTo>
                  <a:lnTo>
                    <a:pt x="2511" y="1298"/>
                  </a:lnTo>
                  <a:lnTo>
                    <a:pt x="2518" y="1323"/>
                  </a:lnTo>
                  <a:lnTo>
                    <a:pt x="2520" y="1347"/>
                  </a:lnTo>
                  <a:lnTo>
                    <a:pt x="2520" y="1370"/>
                  </a:lnTo>
                  <a:lnTo>
                    <a:pt x="2517" y="1392"/>
                  </a:lnTo>
                  <a:lnTo>
                    <a:pt x="2510" y="1413"/>
                  </a:lnTo>
                  <a:lnTo>
                    <a:pt x="2497" y="1427"/>
                  </a:lnTo>
                  <a:lnTo>
                    <a:pt x="2481" y="1440"/>
                  </a:lnTo>
                  <a:lnTo>
                    <a:pt x="2462" y="1453"/>
                  </a:lnTo>
                  <a:lnTo>
                    <a:pt x="2439" y="1462"/>
                  </a:lnTo>
                  <a:lnTo>
                    <a:pt x="2416" y="1470"/>
                  </a:lnTo>
                  <a:lnTo>
                    <a:pt x="2388" y="1476"/>
                  </a:lnTo>
                  <a:lnTo>
                    <a:pt x="2359" y="1482"/>
                  </a:lnTo>
                  <a:lnTo>
                    <a:pt x="2327" y="1485"/>
                  </a:lnTo>
                  <a:lnTo>
                    <a:pt x="2293" y="1486"/>
                  </a:lnTo>
                  <a:lnTo>
                    <a:pt x="2256" y="1486"/>
                  </a:lnTo>
                  <a:lnTo>
                    <a:pt x="2218" y="1484"/>
                  </a:lnTo>
                  <a:lnTo>
                    <a:pt x="2178" y="1481"/>
                  </a:lnTo>
                  <a:lnTo>
                    <a:pt x="2134" y="1475"/>
                  </a:lnTo>
                  <a:lnTo>
                    <a:pt x="2090" y="1468"/>
                  </a:lnTo>
                  <a:lnTo>
                    <a:pt x="2044" y="1460"/>
                  </a:lnTo>
                  <a:lnTo>
                    <a:pt x="1996" y="1450"/>
                  </a:lnTo>
                  <a:lnTo>
                    <a:pt x="1947" y="1437"/>
                  </a:lnTo>
                  <a:lnTo>
                    <a:pt x="1895" y="1424"/>
                  </a:lnTo>
                  <a:lnTo>
                    <a:pt x="1844" y="1409"/>
                  </a:lnTo>
                  <a:lnTo>
                    <a:pt x="1789" y="1393"/>
                  </a:lnTo>
                  <a:lnTo>
                    <a:pt x="1735" y="1374"/>
                  </a:lnTo>
                  <a:lnTo>
                    <a:pt x="1678" y="1355"/>
                  </a:lnTo>
                  <a:lnTo>
                    <a:pt x="1620" y="1333"/>
                  </a:lnTo>
                  <a:lnTo>
                    <a:pt x="1563" y="1311"/>
                  </a:lnTo>
                  <a:lnTo>
                    <a:pt x="1503" y="1286"/>
                  </a:lnTo>
                  <a:lnTo>
                    <a:pt x="1443" y="1260"/>
                  </a:lnTo>
                  <a:lnTo>
                    <a:pt x="1383" y="1232"/>
                  </a:lnTo>
                  <a:lnTo>
                    <a:pt x="1321" y="1203"/>
                  </a:lnTo>
                  <a:lnTo>
                    <a:pt x="1259" y="1173"/>
                  </a:lnTo>
                  <a:lnTo>
                    <a:pt x="1196" y="1140"/>
                  </a:lnTo>
                  <a:lnTo>
                    <a:pt x="1133" y="1107"/>
                  </a:lnTo>
                  <a:lnTo>
                    <a:pt x="1069" y="1072"/>
                  </a:lnTo>
                  <a:lnTo>
                    <a:pt x="1007" y="1040"/>
                  </a:lnTo>
                  <a:lnTo>
                    <a:pt x="945" y="1007"/>
                  </a:lnTo>
                  <a:lnTo>
                    <a:pt x="884" y="973"/>
                  </a:lnTo>
                  <a:lnTo>
                    <a:pt x="825" y="939"/>
                  </a:lnTo>
                  <a:lnTo>
                    <a:pt x="768" y="905"/>
                  </a:lnTo>
                  <a:lnTo>
                    <a:pt x="712" y="870"/>
                  </a:lnTo>
                  <a:lnTo>
                    <a:pt x="658" y="835"/>
                  </a:lnTo>
                  <a:lnTo>
                    <a:pt x="606" y="800"/>
                  </a:lnTo>
                  <a:lnTo>
                    <a:pt x="554" y="764"/>
                  </a:lnTo>
                  <a:lnTo>
                    <a:pt x="506" y="729"/>
                  </a:lnTo>
                  <a:lnTo>
                    <a:pt x="459" y="694"/>
                  </a:lnTo>
                  <a:lnTo>
                    <a:pt x="413" y="658"/>
                  </a:lnTo>
                  <a:lnTo>
                    <a:pt x="370" y="623"/>
                  </a:lnTo>
                  <a:lnTo>
                    <a:pt x="329" y="588"/>
                  </a:lnTo>
                  <a:lnTo>
                    <a:pt x="290" y="554"/>
                  </a:lnTo>
                  <a:lnTo>
                    <a:pt x="254" y="520"/>
                  </a:lnTo>
                  <a:lnTo>
                    <a:pt x="219" y="486"/>
                  </a:lnTo>
                  <a:lnTo>
                    <a:pt x="187" y="453"/>
                  </a:lnTo>
                  <a:lnTo>
                    <a:pt x="157" y="421"/>
                  </a:lnTo>
                  <a:lnTo>
                    <a:pt x="129" y="389"/>
                  </a:lnTo>
                  <a:lnTo>
                    <a:pt x="103" y="358"/>
                  </a:lnTo>
                  <a:lnTo>
                    <a:pt x="82" y="328"/>
                  </a:lnTo>
                  <a:lnTo>
                    <a:pt x="61" y="299"/>
                  </a:lnTo>
                  <a:lnTo>
                    <a:pt x="45" y="271"/>
                  </a:lnTo>
                  <a:lnTo>
                    <a:pt x="29" y="245"/>
                  </a:lnTo>
                  <a:lnTo>
                    <a:pt x="18" y="219"/>
                  </a:lnTo>
                  <a:lnTo>
                    <a:pt x="9" y="194"/>
                  </a:lnTo>
                  <a:lnTo>
                    <a:pt x="3" y="171"/>
                  </a:lnTo>
                  <a:lnTo>
                    <a:pt x="0" y="150"/>
                  </a:lnTo>
                  <a:lnTo>
                    <a:pt x="0" y="129"/>
                  </a:lnTo>
                  <a:lnTo>
                    <a:pt x="3" y="112"/>
                  </a:lnTo>
                  <a:lnTo>
                    <a:pt x="10" y="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1" name="Freeform 36"/>
            <p:cNvSpPr>
              <a:spLocks noChangeArrowheads="1"/>
            </p:cNvSpPr>
            <p:nvPr userDrawn="1"/>
          </p:nvSpPr>
          <p:spPr bwMode="auto">
            <a:xfrm>
              <a:off x="6762750" y="2582894"/>
              <a:ext cx="985838" cy="1240626"/>
            </a:xfrm>
            <a:custGeom>
              <a:avLst/>
              <a:gdLst>
                <a:gd name="T0" fmla="*/ 93 w 2188"/>
                <a:gd name="T1" fmla="*/ 35 h 2238"/>
                <a:gd name="T2" fmla="*/ 178 w 2188"/>
                <a:gd name="T3" fmla="*/ 4 h 2238"/>
                <a:gd name="T4" fmla="*/ 280 w 2188"/>
                <a:gd name="T5" fmla="*/ 3 h 2238"/>
                <a:gd name="T6" fmla="*/ 419 w 2188"/>
                <a:gd name="T7" fmla="*/ 37 h 2238"/>
                <a:gd name="T8" fmla="*/ 690 w 2188"/>
                <a:gd name="T9" fmla="*/ 171 h 2238"/>
                <a:gd name="T10" fmla="*/ 976 w 2188"/>
                <a:gd name="T11" fmla="*/ 373 h 2238"/>
                <a:gd name="T12" fmla="*/ 1284 w 2188"/>
                <a:gd name="T13" fmla="*/ 637 h 2238"/>
                <a:gd name="T14" fmla="*/ 1442 w 2188"/>
                <a:gd name="T15" fmla="*/ 791 h 2238"/>
                <a:gd name="T16" fmla="*/ 1560 w 2188"/>
                <a:gd name="T17" fmla="*/ 912 h 2238"/>
                <a:gd name="T18" fmla="*/ 1713 w 2188"/>
                <a:gd name="T19" fmla="*/ 1086 h 2238"/>
                <a:gd name="T20" fmla="*/ 1849 w 2188"/>
                <a:gd name="T21" fmla="*/ 1257 h 2238"/>
                <a:gd name="T22" fmla="*/ 2002 w 2188"/>
                <a:gd name="T23" fmla="*/ 1483 h 2238"/>
                <a:gd name="T24" fmla="*/ 2112 w 2188"/>
                <a:gd name="T25" fmla="*/ 1691 h 2238"/>
                <a:gd name="T26" fmla="*/ 2174 w 2188"/>
                <a:gd name="T27" fmla="*/ 1877 h 2238"/>
                <a:gd name="T28" fmla="*/ 2187 w 2188"/>
                <a:gd name="T29" fmla="*/ 2034 h 2238"/>
                <a:gd name="T30" fmla="*/ 2147 w 2188"/>
                <a:gd name="T31" fmla="*/ 2156 h 2238"/>
                <a:gd name="T32" fmla="*/ 2117 w 2188"/>
                <a:gd name="T33" fmla="*/ 2191 h 2238"/>
                <a:gd name="T34" fmla="*/ 2060 w 2188"/>
                <a:gd name="T35" fmla="*/ 2225 h 2238"/>
                <a:gd name="T36" fmla="*/ 1978 w 2188"/>
                <a:gd name="T37" fmla="*/ 2238 h 2238"/>
                <a:gd name="T38" fmla="*/ 1878 w 2188"/>
                <a:gd name="T39" fmla="*/ 2227 h 2238"/>
                <a:gd name="T40" fmla="*/ 1761 w 2188"/>
                <a:gd name="T41" fmla="*/ 2191 h 2238"/>
                <a:gd name="T42" fmla="*/ 1562 w 2188"/>
                <a:gd name="T43" fmla="*/ 2095 h 2238"/>
                <a:gd name="T44" fmla="*/ 1334 w 2188"/>
                <a:gd name="T45" fmla="*/ 1948 h 2238"/>
                <a:gd name="T46" fmla="*/ 1034 w 2188"/>
                <a:gd name="T47" fmla="*/ 1710 h 2238"/>
                <a:gd name="T48" fmla="*/ 773 w 2188"/>
                <a:gd name="T49" fmla="*/ 1466 h 2238"/>
                <a:gd name="T50" fmla="*/ 663 w 2188"/>
                <a:gd name="T51" fmla="*/ 1354 h 2238"/>
                <a:gd name="T52" fmla="*/ 398 w 2188"/>
                <a:gd name="T53" fmla="*/ 1038 h 2238"/>
                <a:gd name="T54" fmla="*/ 194 w 2188"/>
                <a:gd name="T55" fmla="*/ 739 h 2238"/>
                <a:gd name="T56" fmla="*/ 71 w 2188"/>
                <a:gd name="T57" fmla="*/ 503 h 2238"/>
                <a:gd name="T58" fmla="*/ 24 w 2188"/>
                <a:gd name="T59" fmla="*/ 372 h 2238"/>
                <a:gd name="T60" fmla="*/ 2 w 2188"/>
                <a:gd name="T61" fmla="*/ 257 h 2238"/>
                <a:gd name="T62" fmla="*/ 4 w 2188"/>
                <a:gd name="T63" fmla="*/ 162 h 2238"/>
                <a:gd name="T64" fmla="*/ 33 w 2188"/>
                <a:gd name="T65" fmla="*/ 89 h 2238"/>
                <a:gd name="T66" fmla="*/ 171 w 2188"/>
                <a:gd name="T67" fmla="*/ 189 h 2238"/>
                <a:gd name="T68" fmla="*/ 163 w 2188"/>
                <a:gd name="T69" fmla="*/ 203 h 2238"/>
                <a:gd name="T70" fmla="*/ 171 w 2188"/>
                <a:gd name="T71" fmla="*/ 295 h 2238"/>
                <a:gd name="T72" fmla="*/ 237 w 2188"/>
                <a:gd name="T73" fmla="*/ 461 h 2238"/>
                <a:gd name="T74" fmla="*/ 369 w 2188"/>
                <a:gd name="T75" fmla="*/ 698 h 2238"/>
                <a:gd name="T76" fmla="*/ 572 w 2188"/>
                <a:gd name="T77" fmla="*/ 985 h 2238"/>
                <a:gd name="T78" fmla="*/ 834 w 2188"/>
                <a:gd name="T79" fmla="*/ 1286 h 2238"/>
                <a:gd name="T80" fmla="*/ 944 w 2188"/>
                <a:gd name="T81" fmla="*/ 1395 h 2238"/>
                <a:gd name="T82" fmla="*/ 1241 w 2188"/>
                <a:gd name="T83" fmla="*/ 1662 h 2238"/>
                <a:gd name="T84" fmla="*/ 1520 w 2188"/>
                <a:gd name="T85" fmla="*/ 1868 h 2238"/>
                <a:gd name="T86" fmla="*/ 1713 w 2188"/>
                <a:gd name="T87" fmla="*/ 1983 h 2238"/>
                <a:gd name="T88" fmla="*/ 1878 w 2188"/>
                <a:gd name="T89" fmla="*/ 2058 h 2238"/>
                <a:gd name="T90" fmla="*/ 1980 w 2188"/>
                <a:gd name="T91" fmla="*/ 2075 h 2238"/>
                <a:gd name="T92" fmla="*/ 1999 w 2188"/>
                <a:gd name="T93" fmla="*/ 2066 h 2238"/>
                <a:gd name="T94" fmla="*/ 2026 w 2188"/>
                <a:gd name="T95" fmla="*/ 2011 h 2238"/>
                <a:gd name="T96" fmla="*/ 2020 w 2188"/>
                <a:gd name="T97" fmla="*/ 1912 h 2238"/>
                <a:gd name="T98" fmla="*/ 1975 w 2188"/>
                <a:gd name="T99" fmla="*/ 1784 h 2238"/>
                <a:gd name="T100" fmla="*/ 1842 w 2188"/>
                <a:gd name="T101" fmla="*/ 1543 h 2238"/>
                <a:gd name="T102" fmla="*/ 1650 w 2188"/>
                <a:gd name="T103" fmla="*/ 1278 h 2238"/>
                <a:gd name="T104" fmla="*/ 1510 w 2188"/>
                <a:gd name="T105" fmla="*/ 1112 h 2238"/>
                <a:gd name="T106" fmla="*/ 1355 w 2188"/>
                <a:gd name="T107" fmla="*/ 945 h 2238"/>
                <a:gd name="T108" fmla="*/ 1269 w 2188"/>
                <a:gd name="T109" fmla="*/ 860 h 2238"/>
                <a:gd name="T110" fmla="*/ 970 w 2188"/>
                <a:gd name="T111" fmla="*/ 589 h 2238"/>
                <a:gd name="T112" fmla="*/ 689 w 2188"/>
                <a:gd name="T113" fmla="*/ 375 h 2238"/>
                <a:gd name="T114" fmla="*/ 459 w 2188"/>
                <a:gd name="T115" fmla="*/ 238 h 2238"/>
                <a:gd name="T116" fmla="*/ 293 w 2188"/>
                <a:gd name="T117" fmla="*/ 174 h 2238"/>
                <a:gd name="T118" fmla="*/ 206 w 2188"/>
                <a:gd name="T119" fmla="*/ 170 h 2238"/>
                <a:gd name="T120" fmla="*/ 171 w 2188"/>
                <a:gd name="T121" fmla="*/ 189 h 2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88" h="2238">
                  <a:moveTo>
                    <a:pt x="50" y="68"/>
                  </a:moveTo>
                  <a:lnTo>
                    <a:pt x="51" y="67"/>
                  </a:lnTo>
                  <a:lnTo>
                    <a:pt x="57" y="61"/>
                  </a:lnTo>
                  <a:lnTo>
                    <a:pt x="68" y="52"/>
                  </a:lnTo>
                  <a:lnTo>
                    <a:pt x="80" y="42"/>
                  </a:lnTo>
                  <a:lnTo>
                    <a:pt x="93" y="35"/>
                  </a:lnTo>
                  <a:lnTo>
                    <a:pt x="106" y="28"/>
                  </a:lnTo>
                  <a:lnTo>
                    <a:pt x="120" y="22"/>
                  </a:lnTo>
                  <a:lnTo>
                    <a:pt x="133" y="16"/>
                  </a:lnTo>
                  <a:lnTo>
                    <a:pt x="147" y="12"/>
                  </a:lnTo>
                  <a:lnTo>
                    <a:pt x="163" y="7"/>
                  </a:lnTo>
                  <a:lnTo>
                    <a:pt x="178" y="4"/>
                  </a:lnTo>
                  <a:lnTo>
                    <a:pt x="194" y="2"/>
                  </a:lnTo>
                  <a:lnTo>
                    <a:pt x="210" y="1"/>
                  </a:lnTo>
                  <a:lnTo>
                    <a:pt x="228" y="0"/>
                  </a:lnTo>
                  <a:lnTo>
                    <a:pt x="244" y="1"/>
                  </a:lnTo>
                  <a:lnTo>
                    <a:pt x="263" y="2"/>
                  </a:lnTo>
                  <a:lnTo>
                    <a:pt x="280" y="3"/>
                  </a:lnTo>
                  <a:lnTo>
                    <a:pt x="299" y="6"/>
                  </a:lnTo>
                  <a:lnTo>
                    <a:pt x="318" y="9"/>
                  </a:lnTo>
                  <a:lnTo>
                    <a:pt x="338" y="14"/>
                  </a:lnTo>
                  <a:lnTo>
                    <a:pt x="358" y="19"/>
                  </a:lnTo>
                  <a:lnTo>
                    <a:pt x="377" y="24"/>
                  </a:lnTo>
                  <a:lnTo>
                    <a:pt x="419" y="37"/>
                  </a:lnTo>
                  <a:lnTo>
                    <a:pt x="462" y="53"/>
                  </a:lnTo>
                  <a:lnTo>
                    <a:pt x="506" y="72"/>
                  </a:lnTo>
                  <a:lnTo>
                    <a:pt x="551" y="94"/>
                  </a:lnTo>
                  <a:lnTo>
                    <a:pt x="598" y="118"/>
                  </a:lnTo>
                  <a:lnTo>
                    <a:pt x="646" y="145"/>
                  </a:lnTo>
                  <a:lnTo>
                    <a:pt x="690" y="171"/>
                  </a:lnTo>
                  <a:lnTo>
                    <a:pt x="736" y="200"/>
                  </a:lnTo>
                  <a:lnTo>
                    <a:pt x="782" y="231"/>
                  </a:lnTo>
                  <a:lnTo>
                    <a:pt x="829" y="264"/>
                  </a:lnTo>
                  <a:lnTo>
                    <a:pt x="877" y="298"/>
                  </a:lnTo>
                  <a:lnTo>
                    <a:pt x="926" y="334"/>
                  </a:lnTo>
                  <a:lnTo>
                    <a:pt x="976" y="373"/>
                  </a:lnTo>
                  <a:lnTo>
                    <a:pt x="1026" y="413"/>
                  </a:lnTo>
                  <a:lnTo>
                    <a:pt x="1077" y="455"/>
                  </a:lnTo>
                  <a:lnTo>
                    <a:pt x="1128" y="498"/>
                  </a:lnTo>
                  <a:lnTo>
                    <a:pt x="1180" y="543"/>
                  </a:lnTo>
                  <a:lnTo>
                    <a:pt x="1231" y="589"/>
                  </a:lnTo>
                  <a:lnTo>
                    <a:pt x="1284" y="637"/>
                  </a:lnTo>
                  <a:lnTo>
                    <a:pt x="1336" y="687"/>
                  </a:lnTo>
                  <a:lnTo>
                    <a:pt x="1388" y="737"/>
                  </a:lnTo>
                  <a:lnTo>
                    <a:pt x="1441" y="789"/>
                  </a:lnTo>
                  <a:lnTo>
                    <a:pt x="1441" y="790"/>
                  </a:lnTo>
                  <a:lnTo>
                    <a:pt x="1441" y="789"/>
                  </a:lnTo>
                  <a:lnTo>
                    <a:pt x="1442" y="791"/>
                  </a:lnTo>
                  <a:lnTo>
                    <a:pt x="1444" y="792"/>
                  </a:lnTo>
                  <a:lnTo>
                    <a:pt x="1448" y="796"/>
                  </a:lnTo>
                  <a:lnTo>
                    <a:pt x="1476" y="826"/>
                  </a:lnTo>
                  <a:lnTo>
                    <a:pt x="1504" y="855"/>
                  </a:lnTo>
                  <a:lnTo>
                    <a:pt x="1532" y="884"/>
                  </a:lnTo>
                  <a:lnTo>
                    <a:pt x="1560" y="912"/>
                  </a:lnTo>
                  <a:lnTo>
                    <a:pt x="1586" y="941"/>
                  </a:lnTo>
                  <a:lnTo>
                    <a:pt x="1612" y="970"/>
                  </a:lnTo>
                  <a:lnTo>
                    <a:pt x="1638" y="999"/>
                  </a:lnTo>
                  <a:lnTo>
                    <a:pt x="1664" y="1028"/>
                  </a:lnTo>
                  <a:lnTo>
                    <a:pt x="1688" y="1057"/>
                  </a:lnTo>
                  <a:lnTo>
                    <a:pt x="1713" y="1086"/>
                  </a:lnTo>
                  <a:lnTo>
                    <a:pt x="1737" y="1115"/>
                  </a:lnTo>
                  <a:lnTo>
                    <a:pt x="1760" y="1143"/>
                  </a:lnTo>
                  <a:lnTo>
                    <a:pt x="1783" y="1172"/>
                  </a:lnTo>
                  <a:lnTo>
                    <a:pt x="1806" y="1200"/>
                  </a:lnTo>
                  <a:lnTo>
                    <a:pt x="1828" y="1229"/>
                  </a:lnTo>
                  <a:lnTo>
                    <a:pt x="1849" y="1257"/>
                  </a:lnTo>
                  <a:lnTo>
                    <a:pt x="1878" y="1296"/>
                  </a:lnTo>
                  <a:lnTo>
                    <a:pt x="1905" y="1334"/>
                  </a:lnTo>
                  <a:lnTo>
                    <a:pt x="1930" y="1371"/>
                  </a:lnTo>
                  <a:lnTo>
                    <a:pt x="1956" y="1409"/>
                  </a:lnTo>
                  <a:lnTo>
                    <a:pt x="1980" y="1445"/>
                  </a:lnTo>
                  <a:lnTo>
                    <a:pt x="2002" y="1483"/>
                  </a:lnTo>
                  <a:lnTo>
                    <a:pt x="2023" y="1519"/>
                  </a:lnTo>
                  <a:lnTo>
                    <a:pt x="2044" y="1554"/>
                  </a:lnTo>
                  <a:lnTo>
                    <a:pt x="2062" y="1589"/>
                  </a:lnTo>
                  <a:lnTo>
                    <a:pt x="2080" y="1624"/>
                  </a:lnTo>
                  <a:lnTo>
                    <a:pt x="2096" y="1658"/>
                  </a:lnTo>
                  <a:lnTo>
                    <a:pt x="2112" y="1691"/>
                  </a:lnTo>
                  <a:lnTo>
                    <a:pt x="2125" y="1724"/>
                  </a:lnTo>
                  <a:lnTo>
                    <a:pt x="2137" y="1756"/>
                  </a:lnTo>
                  <a:lnTo>
                    <a:pt x="2149" y="1788"/>
                  </a:lnTo>
                  <a:lnTo>
                    <a:pt x="2159" y="1818"/>
                  </a:lnTo>
                  <a:lnTo>
                    <a:pt x="2167" y="1847"/>
                  </a:lnTo>
                  <a:lnTo>
                    <a:pt x="2174" y="1877"/>
                  </a:lnTo>
                  <a:lnTo>
                    <a:pt x="2180" y="1905"/>
                  </a:lnTo>
                  <a:lnTo>
                    <a:pt x="2184" y="1933"/>
                  </a:lnTo>
                  <a:lnTo>
                    <a:pt x="2187" y="1960"/>
                  </a:lnTo>
                  <a:lnTo>
                    <a:pt x="2188" y="1986"/>
                  </a:lnTo>
                  <a:lnTo>
                    <a:pt x="2188" y="2010"/>
                  </a:lnTo>
                  <a:lnTo>
                    <a:pt x="2187" y="2034"/>
                  </a:lnTo>
                  <a:lnTo>
                    <a:pt x="2184" y="2057"/>
                  </a:lnTo>
                  <a:lnTo>
                    <a:pt x="2180" y="2078"/>
                  </a:lnTo>
                  <a:lnTo>
                    <a:pt x="2173" y="2099"/>
                  </a:lnTo>
                  <a:lnTo>
                    <a:pt x="2166" y="2120"/>
                  </a:lnTo>
                  <a:lnTo>
                    <a:pt x="2157" y="2138"/>
                  </a:lnTo>
                  <a:lnTo>
                    <a:pt x="2147" y="2156"/>
                  </a:lnTo>
                  <a:lnTo>
                    <a:pt x="2134" y="2172"/>
                  </a:lnTo>
                  <a:lnTo>
                    <a:pt x="2121" y="2187"/>
                  </a:lnTo>
                  <a:lnTo>
                    <a:pt x="2121" y="2188"/>
                  </a:lnTo>
                  <a:lnTo>
                    <a:pt x="2120" y="2188"/>
                  </a:lnTo>
                  <a:lnTo>
                    <a:pt x="2117" y="2191"/>
                  </a:lnTo>
                  <a:lnTo>
                    <a:pt x="2113" y="2194"/>
                  </a:lnTo>
                  <a:lnTo>
                    <a:pt x="2103" y="2202"/>
                  </a:lnTo>
                  <a:lnTo>
                    <a:pt x="2093" y="2208"/>
                  </a:lnTo>
                  <a:lnTo>
                    <a:pt x="2083" y="2214"/>
                  </a:lnTo>
                  <a:lnTo>
                    <a:pt x="2071" y="2220"/>
                  </a:lnTo>
                  <a:lnTo>
                    <a:pt x="2060" y="2225"/>
                  </a:lnTo>
                  <a:lnTo>
                    <a:pt x="2048" y="2229"/>
                  </a:lnTo>
                  <a:lnTo>
                    <a:pt x="2034" y="2232"/>
                  </a:lnTo>
                  <a:lnTo>
                    <a:pt x="2021" y="2234"/>
                  </a:lnTo>
                  <a:lnTo>
                    <a:pt x="2008" y="2236"/>
                  </a:lnTo>
                  <a:lnTo>
                    <a:pt x="1993" y="2237"/>
                  </a:lnTo>
                  <a:lnTo>
                    <a:pt x="1978" y="2238"/>
                  </a:lnTo>
                  <a:lnTo>
                    <a:pt x="1962" y="2238"/>
                  </a:lnTo>
                  <a:lnTo>
                    <a:pt x="1946" y="2237"/>
                  </a:lnTo>
                  <a:lnTo>
                    <a:pt x="1930" y="2235"/>
                  </a:lnTo>
                  <a:lnTo>
                    <a:pt x="1913" y="2233"/>
                  </a:lnTo>
                  <a:lnTo>
                    <a:pt x="1895" y="2230"/>
                  </a:lnTo>
                  <a:lnTo>
                    <a:pt x="1878" y="2227"/>
                  </a:lnTo>
                  <a:lnTo>
                    <a:pt x="1859" y="2223"/>
                  </a:lnTo>
                  <a:lnTo>
                    <a:pt x="1841" y="2218"/>
                  </a:lnTo>
                  <a:lnTo>
                    <a:pt x="1821" y="2211"/>
                  </a:lnTo>
                  <a:lnTo>
                    <a:pt x="1802" y="2205"/>
                  </a:lnTo>
                  <a:lnTo>
                    <a:pt x="1782" y="2199"/>
                  </a:lnTo>
                  <a:lnTo>
                    <a:pt x="1761" y="2191"/>
                  </a:lnTo>
                  <a:lnTo>
                    <a:pt x="1741" y="2182"/>
                  </a:lnTo>
                  <a:lnTo>
                    <a:pt x="1698" y="2165"/>
                  </a:lnTo>
                  <a:lnTo>
                    <a:pt x="1654" y="2144"/>
                  </a:lnTo>
                  <a:lnTo>
                    <a:pt x="1609" y="2121"/>
                  </a:lnTo>
                  <a:lnTo>
                    <a:pt x="1563" y="2095"/>
                  </a:lnTo>
                  <a:lnTo>
                    <a:pt x="1562" y="2095"/>
                  </a:lnTo>
                  <a:lnTo>
                    <a:pt x="1518" y="2069"/>
                  </a:lnTo>
                  <a:lnTo>
                    <a:pt x="1474" y="2042"/>
                  </a:lnTo>
                  <a:lnTo>
                    <a:pt x="1429" y="2012"/>
                  </a:lnTo>
                  <a:lnTo>
                    <a:pt x="1382" y="1981"/>
                  </a:lnTo>
                  <a:lnTo>
                    <a:pt x="1334" y="1948"/>
                  </a:lnTo>
                  <a:lnTo>
                    <a:pt x="1286" y="1912"/>
                  </a:lnTo>
                  <a:lnTo>
                    <a:pt x="1237" y="1876"/>
                  </a:lnTo>
                  <a:lnTo>
                    <a:pt x="1187" y="1837"/>
                  </a:lnTo>
                  <a:lnTo>
                    <a:pt x="1136" y="1797"/>
                  </a:lnTo>
                  <a:lnTo>
                    <a:pt x="1086" y="1755"/>
                  </a:lnTo>
                  <a:lnTo>
                    <a:pt x="1034" y="1710"/>
                  </a:lnTo>
                  <a:lnTo>
                    <a:pt x="983" y="1665"/>
                  </a:lnTo>
                  <a:lnTo>
                    <a:pt x="930" y="1618"/>
                  </a:lnTo>
                  <a:lnTo>
                    <a:pt x="878" y="1569"/>
                  </a:lnTo>
                  <a:lnTo>
                    <a:pt x="825" y="1519"/>
                  </a:lnTo>
                  <a:lnTo>
                    <a:pt x="773" y="1467"/>
                  </a:lnTo>
                  <a:lnTo>
                    <a:pt x="773" y="1466"/>
                  </a:lnTo>
                  <a:lnTo>
                    <a:pt x="773" y="1467"/>
                  </a:lnTo>
                  <a:lnTo>
                    <a:pt x="771" y="1465"/>
                  </a:lnTo>
                  <a:lnTo>
                    <a:pt x="769" y="1463"/>
                  </a:lnTo>
                  <a:lnTo>
                    <a:pt x="765" y="1459"/>
                  </a:lnTo>
                  <a:lnTo>
                    <a:pt x="714" y="1406"/>
                  </a:lnTo>
                  <a:lnTo>
                    <a:pt x="663" y="1354"/>
                  </a:lnTo>
                  <a:lnTo>
                    <a:pt x="615" y="1300"/>
                  </a:lnTo>
                  <a:lnTo>
                    <a:pt x="569" y="1248"/>
                  </a:lnTo>
                  <a:lnTo>
                    <a:pt x="523" y="1195"/>
                  </a:lnTo>
                  <a:lnTo>
                    <a:pt x="479" y="1142"/>
                  </a:lnTo>
                  <a:lnTo>
                    <a:pt x="438" y="1090"/>
                  </a:lnTo>
                  <a:lnTo>
                    <a:pt x="398" y="1038"/>
                  </a:lnTo>
                  <a:lnTo>
                    <a:pt x="359" y="987"/>
                  </a:lnTo>
                  <a:lnTo>
                    <a:pt x="323" y="935"/>
                  </a:lnTo>
                  <a:lnTo>
                    <a:pt x="288" y="886"/>
                  </a:lnTo>
                  <a:lnTo>
                    <a:pt x="255" y="836"/>
                  </a:lnTo>
                  <a:lnTo>
                    <a:pt x="224" y="788"/>
                  </a:lnTo>
                  <a:lnTo>
                    <a:pt x="194" y="739"/>
                  </a:lnTo>
                  <a:lnTo>
                    <a:pt x="167" y="693"/>
                  </a:lnTo>
                  <a:lnTo>
                    <a:pt x="141" y="648"/>
                  </a:lnTo>
                  <a:lnTo>
                    <a:pt x="116" y="598"/>
                  </a:lnTo>
                  <a:lnTo>
                    <a:pt x="92" y="551"/>
                  </a:lnTo>
                  <a:lnTo>
                    <a:pt x="82" y="527"/>
                  </a:lnTo>
                  <a:lnTo>
                    <a:pt x="71" y="503"/>
                  </a:lnTo>
                  <a:lnTo>
                    <a:pt x="62" y="481"/>
                  </a:lnTo>
                  <a:lnTo>
                    <a:pt x="53" y="458"/>
                  </a:lnTo>
                  <a:lnTo>
                    <a:pt x="44" y="436"/>
                  </a:lnTo>
                  <a:lnTo>
                    <a:pt x="37" y="415"/>
                  </a:lnTo>
                  <a:lnTo>
                    <a:pt x="30" y="393"/>
                  </a:lnTo>
                  <a:lnTo>
                    <a:pt x="24" y="372"/>
                  </a:lnTo>
                  <a:lnTo>
                    <a:pt x="19" y="352"/>
                  </a:lnTo>
                  <a:lnTo>
                    <a:pt x="14" y="332"/>
                  </a:lnTo>
                  <a:lnTo>
                    <a:pt x="9" y="313"/>
                  </a:lnTo>
                  <a:lnTo>
                    <a:pt x="6" y="294"/>
                  </a:lnTo>
                  <a:lnTo>
                    <a:pt x="3" y="275"/>
                  </a:lnTo>
                  <a:lnTo>
                    <a:pt x="2" y="257"/>
                  </a:lnTo>
                  <a:lnTo>
                    <a:pt x="0" y="240"/>
                  </a:lnTo>
                  <a:lnTo>
                    <a:pt x="0" y="223"/>
                  </a:lnTo>
                  <a:lnTo>
                    <a:pt x="0" y="207"/>
                  </a:lnTo>
                  <a:lnTo>
                    <a:pt x="0" y="191"/>
                  </a:lnTo>
                  <a:lnTo>
                    <a:pt x="2" y="176"/>
                  </a:lnTo>
                  <a:lnTo>
                    <a:pt x="4" y="162"/>
                  </a:lnTo>
                  <a:lnTo>
                    <a:pt x="7" y="148"/>
                  </a:lnTo>
                  <a:lnTo>
                    <a:pt x="11" y="135"/>
                  </a:lnTo>
                  <a:lnTo>
                    <a:pt x="16" y="123"/>
                  </a:lnTo>
                  <a:lnTo>
                    <a:pt x="21" y="110"/>
                  </a:lnTo>
                  <a:lnTo>
                    <a:pt x="26" y="99"/>
                  </a:lnTo>
                  <a:lnTo>
                    <a:pt x="33" y="89"/>
                  </a:lnTo>
                  <a:lnTo>
                    <a:pt x="40" y="79"/>
                  </a:lnTo>
                  <a:lnTo>
                    <a:pt x="49" y="69"/>
                  </a:lnTo>
                  <a:lnTo>
                    <a:pt x="50" y="69"/>
                  </a:lnTo>
                  <a:lnTo>
                    <a:pt x="50" y="68"/>
                  </a:lnTo>
                  <a:close/>
                  <a:moveTo>
                    <a:pt x="171" y="189"/>
                  </a:moveTo>
                  <a:lnTo>
                    <a:pt x="171" y="190"/>
                  </a:lnTo>
                  <a:lnTo>
                    <a:pt x="170" y="190"/>
                  </a:lnTo>
                  <a:lnTo>
                    <a:pt x="167" y="194"/>
                  </a:lnTo>
                  <a:lnTo>
                    <a:pt x="165" y="198"/>
                  </a:lnTo>
                  <a:lnTo>
                    <a:pt x="163" y="203"/>
                  </a:lnTo>
                  <a:lnTo>
                    <a:pt x="162" y="208"/>
                  </a:lnTo>
                  <a:lnTo>
                    <a:pt x="160" y="222"/>
                  </a:lnTo>
                  <a:lnTo>
                    <a:pt x="160" y="237"/>
                  </a:lnTo>
                  <a:lnTo>
                    <a:pt x="162" y="254"/>
                  </a:lnTo>
                  <a:lnTo>
                    <a:pt x="166" y="273"/>
                  </a:lnTo>
                  <a:lnTo>
                    <a:pt x="171" y="295"/>
                  </a:lnTo>
                  <a:lnTo>
                    <a:pt x="178" y="318"/>
                  </a:lnTo>
                  <a:lnTo>
                    <a:pt x="187" y="343"/>
                  </a:lnTo>
                  <a:lnTo>
                    <a:pt x="197" y="370"/>
                  </a:lnTo>
                  <a:lnTo>
                    <a:pt x="209" y="399"/>
                  </a:lnTo>
                  <a:lnTo>
                    <a:pt x="223" y="429"/>
                  </a:lnTo>
                  <a:lnTo>
                    <a:pt x="237" y="461"/>
                  </a:lnTo>
                  <a:lnTo>
                    <a:pt x="254" y="495"/>
                  </a:lnTo>
                  <a:lnTo>
                    <a:pt x="272" y="530"/>
                  </a:lnTo>
                  <a:lnTo>
                    <a:pt x="292" y="566"/>
                  </a:lnTo>
                  <a:lnTo>
                    <a:pt x="315" y="608"/>
                  </a:lnTo>
                  <a:lnTo>
                    <a:pt x="341" y="653"/>
                  </a:lnTo>
                  <a:lnTo>
                    <a:pt x="369" y="698"/>
                  </a:lnTo>
                  <a:lnTo>
                    <a:pt x="398" y="743"/>
                  </a:lnTo>
                  <a:lnTo>
                    <a:pt x="430" y="791"/>
                  </a:lnTo>
                  <a:lnTo>
                    <a:pt x="463" y="838"/>
                  </a:lnTo>
                  <a:lnTo>
                    <a:pt x="498" y="886"/>
                  </a:lnTo>
                  <a:lnTo>
                    <a:pt x="534" y="935"/>
                  </a:lnTo>
                  <a:lnTo>
                    <a:pt x="572" y="985"/>
                  </a:lnTo>
                  <a:lnTo>
                    <a:pt x="612" y="1034"/>
                  </a:lnTo>
                  <a:lnTo>
                    <a:pt x="653" y="1084"/>
                  </a:lnTo>
                  <a:lnTo>
                    <a:pt x="696" y="1134"/>
                  </a:lnTo>
                  <a:lnTo>
                    <a:pt x="741" y="1185"/>
                  </a:lnTo>
                  <a:lnTo>
                    <a:pt x="787" y="1235"/>
                  </a:lnTo>
                  <a:lnTo>
                    <a:pt x="834" y="1286"/>
                  </a:lnTo>
                  <a:lnTo>
                    <a:pt x="884" y="1336"/>
                  </a:lnTo>
                  <a:lnTo>
                    <a:pt x="889" y="1341"/>
                  </a:lnTo>
                  <a:lnTo>
                    <a:pt x="891" y="1343"/>
                  </a:lnTo>
                  <a:lnTo>
                    <a:pt x="893" y="1345"/>
                  </a:lnTo>
                  <a:lnTo>
                    <a:pt x="944" y="1395"/>
                  </a:lnTo>
                  <a:lnTo>
                    <a:pt x="994" y="1443"/>
                  </a:lnTo>
                  <a:lnTo>
                    <a:pt x="1045" y="1491"/>
                  </a:lnTo>
                  <a:lnTo>
                    <a:pt x="1094" y="1535"/>
                  </a:lnTo>
                  <a:lnTo>
                    <a:pt x="1143" y="1579"/>
                  </a:lnTo>
                  <a:lnTo>
                    <a:pt x="1193" y="1622"/>
                  </a:lnTo>
                  <a:lnTo>
                    <a:pt x="1241" y="1662"/>
                  </a:lnTo>
                  <a:lnTo>
                    <a:pt x="1290" y="1700"/>
                  </a:lnTo>
                  <a:lnTo>
                    <a:pt x="1337" y="1737"/>
                  </a:lnTo>
                  <a:lnTo>
                    <a:pt x="1384" y="1772"/>
                  </a:lnTo>
                  <a:lnTo>
                    <a:pt x="1431" y="1806"/>
                  </a:lnTo>
                  <a:lnTo>
                    <a:pt x="1476" y="1837"/>
                  </a:lnTo>
                  <a:lnTo>
                    <a:pt x="1520" y="1868"/>
                  </a:lnTo>
                  <a:lnTo>
                    <a:pt x="1564" y="1896"/>
                  </a:lnTo>
                  <a:lnTo>
                    <a:pt x="1606" y="1922"/>
                  </a:lnTo>
                  <a:lnTo>
                    <a:pt x="1647" y="1945"/>
                  </a:lnTo>
                  <a:lnTo>
                    <a:pt x="1647" y="1946"/>
                  </a:lnTo>
                  <a:lnTo>
                    <a:pt x="1680" y="1965"/>
                  </a:lnTo>
                  <a:lnTo>
                    <a:pt x="1713" y="1983"/>
                  </a:lnTo>
                  <a:lnTo>
                    <a:pt x="1744" y="1999"/>
                  </a:lnTo>
                  <a:lnTo>
                    <a:pt x="1774" y="2013"/>
                  </a:lnTo>
                  <a:lnTo>
                    <a:pt x="1802" y="2027"/>
                  </a:lnTo>
                  <a:lnTo>
                    <a:pt x="1828" y="2039"/>
                  </a:lnTo>
                  <a:lnTo>
                    <a:pt x="1854" y="2050"/>
                  </a:lnTo>
                  <a:lnTo>
                    <a:pt x="1878" y="2058"/>
                  </a:lnTo>
                  <a:lnTo>
                    <a:pt x="1899" y="2065"/>
                  </a:lnTo>
                  <a:lnTo>
                    <a:pt x="1919" y="2070"/>
                  </a:lnTo>
                  <a:lnTo>
                    <a:pt x="1937" y="2074"/>
                  </a:lnTo>
                  <a:lnTo>
                    <a:pt x="1953" y="2076"/>
                  </a:lnTo>
                  <a:lnTo>
                    <a:pt x="1967" y="2076"/>
                  </a:lnTo>
                  <a:lnTo>
                    <a:pt x="1980" y="2075"/>
                  </a:lnTo>
                  <a:lnTo>
                    <a:pt x="1985" y="2074"/>
                  </a:lnTo>
                  <a:lnTo>
                    <a:pt x="1990" y="2072"/>
                  </a:lnTo>
                  <a:lnTo>
                    <a:pt x="1994" y="2070"/>
                  </a:lnTo>
                  <a:lnTo>
                    <a:pt x="1998" y="2067"/>
                  </a:lnTo>
                  <a:lnTo>
                    <a:pt x="1999" y="2066"/>
                  </a:lnTo>
                  <a:lnTo>
                    <a:pt x="2008" y="2057"/>
                  </a:lnTo>
                  <a:lnTo>
                    <a:pt x="2014" y="2047"/>
                  </a:lnTo>
                  <a:lnTo>
                    <a:pt x="2019" y="2036"/>
                  </a:lnTo>
                  <a:lnTo>
                    <a:pt x="2023" y="2024"/>
                  </a:lnTo>
                  <a:lnTo>
                    <a:pt x="2026" y="2011"/>
                  </a:lnTo>
                  <a:lnTo>
                    <a:pt x="2028" y="1997"/>
                  </a:lnTo>
                  <a:lnTo>
                    <a:pt x="2028" y="1983"/>
                  </a:lnTo>
                  <a:lnTo>
                    <a:pt x="2028" y="1966"/>
                  </a:lnTo>
                  <a:lnTo>
                    <a:pt x="2026" y="1950"/>
                  </a:lnTo>
                  <a:lnTo>
                    <a:pt x="2023" y="1931"/>
                  </a:lnTo>
                  <a:lnTo>
                    <a:pt x="2020" y="1912"/>
                  </a:lnTo>
                  <a:lnTo>
                    <a:pt x="2015" y="1893"/>
                  </a:lnTo>
                  <a:lnTo>
                    <a:pt x="2009" y="1873"/>
                  </a:lnTo>
                  <a:lnTo>
                    <a:pt x="2001" y="1852"/>
                  </a:lnTo>
                  <a:lnTo>
                    <a:pt x="1994" y="1830"/>
                  </a:lnTo>
                  <a:lnTo>
                    <a:pt x="1985" y="1807"/>
                  </a:lnTo>
                  <a:lnTo>
                    <a:pt x="1975" y="1784"/>
                  </a:lnTo>
                  <a:lnTo>
                    <a:pt x="1963" y="1760"/>
                  </a:lnTo>
                  <a:lnTo>
                    <a:pt x="1952" y="1735"/>
                  </a:lnTo>
                  <a:lnTo>
                    <a:pt x="1939" y="1709"/>
                  </a:lnTo>
                  <a:lnTo>
                    <a:pt x="1910" y="1657"/>
                  </a:lnTo>
                  <a:lnTo>
                    <a:pt x="1878" y="1601"/>
                  </a:lnTo>
                  <a:lnTo>
                    <a:pt x="1842" y="1543"/>
                  </a:lnTo>
                  <a:lnTo>
                    <a:pt x="1802" y="1484"/>
                  </a:lnTo>
                  <a:lnTo>
                    <a:pt x="1759" y="1423"/>
                  </a:lnTo>
                  <a:lnTo>
                    <a:pt x="1713" y="1360"/>
                  </a:lnTo>
                  <a:lnTo>
                    <a:pt x="1692" y="1333"/>
                  </a:lnTo>
                  <a:lnTo>
                    <a:pt x="1672" y="1306"/>
                  </a:lnTo>
                  <a:lnTo>
                    <a:pt x="1650" y="1278"/>
                  </a:lnTo>
                  <a:lnTo>
                    <a:pt x="1629" y="1252"/>
                  </a:lnTo>
                  <a:lnTo>
                    <a:pt x="1606" y="1224"/>
                  </a:lnTo>
                  <a:lnTo>
                    <a:pt x="1582" y="1196"/>
                  </a:lnTo>
                  <a:lnTo>
                    <a:pt x="1559" y="1168"/>
                  </a:lnTo>
                  <a:lnTo>
                    <a:pt x="1535" y="1140"/>
                  </a:lnTo>
                  <a:lnTo>
                    <a:pt x="1510" y="1112"/>
                  </a:lnTo>
                  <a:lnTo>
                    <a:pt x="1485" y="1085"/>
                  </a:lnTo>
                  <a:lnTo>
                    <a:pt x="1461" y="1058"/>
                  </a:lnTo>
                  <a:lnTo>
                    <a:pt x="1435" y="1029"/>
                  </a:lnTo>
                  <a:lnTo>
                    <a:pt x="1408" y="1001"/>
                  </a:lnTo>
                  <a:lnTo>
                    <a:pt x="1382" y="973"/>
                  </a:lnTo>
                  <a:lnTo>
                    <a:pt x="1355" y="945"/>
                  </a:lnTo>
                  <a:lnTo>
                    <a:pt x="1327" y="918"/>
                  </a:lnTo>
                  <a:lnTo>
                    <a:pt x="1323" y="914"/>
                  </a:lnTo>
                  <a:lnTo>
                    <a:pt x="1322" y="912"/>
                  </a:lnTo>
                  <a:lnTo>
                    <a:pt x="1320" y="910"/>
                  </a:lnTo>
                  <a:lnTo>
                    <a:pt x="1321" y="910"/>
                  </a:lnTo>
                  <a:lnTo>
                    <a:pt x="1269" y="860"/>
                  </a:lnTo>
                  <a:lnTo>
                    <a:pt x="1219" y="811"/>
                  </a:lnTo>
                  <a:lnTo>
                    <a:pt x="1169" y="764"/>
                  </a:lnTo>
                  <a:lnTo>
                    <a:pt x="1119" y="718"/>
                  </a:lnTo>
                  <a:lnTo>
                    <a:pt x="1068" y="673"/>
                  </a:lnTo>
                  <a:lnTo>
                    <a:pt x="1019" y="630"/>
                  </a:lnTo>
                  <a:lnTo>
                    <a:pt x="970" y="589"/>
                  </a:lnTo>
                  <a:lnTo>
                    <a:pt x="922" y="549"/>
                  </a:lnTo>
                  <a:lnTo>
                    <a:pt x="874" y="510"/>
                  </a:lnTo>
                  <a:lnTo>
                    <a:pt x="826" y="474"/>
                  </a:lnTo>
                  <a:lnTo>
                    <a:pt x="780" y="439"/>
                  </a:lnTo>
                  <a:lnTo>
                    <a:pt x="735" y="406"/>
                  </a:lnTo>
                  <a:lnTo>
                    <a:pt x="689" y="375"/>
                  </a:lnTo>
                  <a:lnTo>
                    <a:pt x="645" y="346"/>
                  </a:lnTo>
                  <a:lnTo>
                    <a:pt x="603" y="319"/>
                  </a:lnTo>
                  <a:lnTo>
                    <a:pt x="560" y="293"/>
                  </a:lnTo>
                  <a:lnTo>
                    <a:pt x="525" y="273"/>
                  </a:lnTo>
                  <a:lnTo>
                    <a:pt x="491" y="255"/>
                  </a:lnTo>
                  <a:lnTo>
                    <a:pt x="459" y="238"/>
                  </a:lnTo>
                  <a:lnTo>
                    <a:pt x="428" y="223"/>
                  </a:lnTo>
                  <a:lnTo>
                    <a:pt x="398" y="209"/>
                  </a:lnTo>
                  <a:lnTo>
                    <a:pt x="369" y="198"/>
                  </a:lnTo>
                  <a:lnTo>
                    <a:pt x="342" y="188"/>
                  </a:lnTo>
                  <a:lnTo>
                    <a:pt x="316" y="181"/>
                  </a:lnTo>
                  <a:lnTo>
                    <a:pt x="293" y="174"/>
                  </a:lnTo>
                  <a:lnTo>
                    <a:pt x="270" y="169"/>
                  </a:lnTo>
                  <a:lnTo>
                    <a:pt x="249" y="167"/>
                  </a:lnTo>
                  <a:lnTo>
                    <a:pt x="231" y="167"/>
                  </a:lnTo>
                  <a:lnTo>
                    <a:pt x="222" y="167"/>
                  </a:lnTo>
                  <a:lnTo>
                    <a:pt x="213" y="169"/>
                  </a:lnTo>
                  <a:lnTo>
                    <a:pt x="206" y="170"/>
                  </a:lnTo>
                  <a:lnTo>
                    <a:pt x="198" y="172"/>
                  </a:lnTo>
                  <a:lnTo>
                    <a:pt x="192" y="175"/>
                  </a:lnTo>
                  <a:lnTo>
                    <a:pt x="186" y="179"/>
                  </a:lnTo>
                  <a:lnTo>
                    <a:pt x="179" y="183"/>
                  </a:lnTo>
                  <a:lnTo>
                    <a:pt x="174" y="187"/>
                  </a:lnTo>
                  <a:lnTo>
                    <a:pt x="171" y="1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2" name="Freeform 37"/>
            <p:cNvSpPr>
              <a:spLocks noChangeArrowheads="1"/>
            </p:cNvSpPr>
            <p:nvPr userDrawn="1"/>
          </p:nvSpPr>
          <p:spPr bwMode="auto">
            <a:xfrm>
              <a:off x="6799263" y="2627650"/>
              <a:ext cx="914400" cy="1152904"/>
            </a:xfrm>
            <a:custGeom>
              <a:avLst/>
              <a:gdLst>
                <a:gd name="T0" fmla="*/ 66 w 2028"/>
                <a:gd name="T1" fmla="*/ 18 h 2071"/>
                <a:gd name="T2" fmla="*/ 136 w 2028"/>
                <a:gd name="T3" fmla="*/ 1 h 2071"/>
                <a:gd name="T4" fmla="*/ 223 w 2028"/>
                <a:gd name="T5" fmla="*/ 7 h 2071"/>
                <a:gd name="T6" fmla="*/ 325 w 2028"/>
                <a:gd name="T7" fmla="*/ 37 h 2071"/>
                <a:gd name="T8" fmla="*/ 440 w 2028"/>
                <a:gd name="T9" fmla="*/ 88 h 2071"/>
                <a:gd name="T10" fmla="*/ 566 w 2028"/>
                <a:gd name="T11" fmla="*/ 161 h 2071"/>
                <a:gd name="T12" fmla="*/ 702 w 2028"/>
                <a:gd name="T13" fmla="*/ 250 h 2071"/>
                <a:gd name="T14" fmla="*/ 845 w 2028"/>
                <a:gd name="T15" fmla="*/ 357 h 2071"/>
                <a:gd name="T16" fmla="*/ 994 w 2028"/>
                <a:gd name="T17" fmla="*/ 480 h 2071"/>
                <a:gd name="T18" fmla="*/ 1147 w 2028"/>
                <a:gd name="T19" fmla="*/ 617 h 2071"/>
                <a:gd name="T20" fmla="*/ 1302 w 2028"/>
                <a:gd name="T21" fmla="*/ 767 h 2071"/>
                <a:gd name="T22" fmla="*/ 1450 w 2028"/>
                <a:gd name="T23" fmla="*/ 921 h 2071"/>
                <a:gd name="T24" fmla="*/ 1584 w 2028"/>
                <a:gd name="T25" fmla="*/ 1075 h 2071"/>
                <a:gd name="T26" fmla="*/ 1701 w 2028"/>
                <a:gd name="T27" fmla="*/ 1224 h 2071"/>
                <a:gd name="T28" fmla="*/ 1803 w 2028"/>
                <a:gd name="T29" fmla="*/ 1368 h 2071"/>
                <a:gd name="T30" fmla="*/ 1887 w 2028"/>
                <a:gd name="T31" fmla="*/ 1504 h 2071"/>
                <a:gd name="T32" fmla="*/ 1952 w 2028"/>
                <a:gd name="T33" fmla="*/ 1631 h 2071"/>
                <a:gd name="T34" fmla="*/ 1998 w 2028"/>
                <a:gd name="T35" fmla="*/ 1746 h 2071"/>
                <a:gd name="T36" fmla="*/ 2023 w 2028"/>
                <a:gd name="T37" fmla="*/ 1848 h 2071"/>
                <a:gd name="T38" fmla="*/ 2027 w 2028"/>
                <a:gd name="T39" fmla="*/ 1936 h 2071"/>
                <a:gd name="T40" fmla="*/ 2006 w 2028"/>
                <a:gd name="T41" fmla="*/ 2006 h 2071"/>
                <a:gd name="T42" fmla="*/ 1967 w 2028"/>
                <a:gd name="T43" fmla="*/ 2052 h 2071"/>
                <a:gd name="T44" fmla="*/ 1913 w 2028"/>
                <a:gd name="T45" fmla="*/ 2070 h 2071"/>
                <a:gd name="T46" fmla="*/ 1840 w 2028"/>
                <a:gd name="T47" fmla="*/ 2067 h 2071"/>
                <a:gd name="T48" fmla="*/ 1749 w 2028"/>
                <a:gd name="T49" fmla="*/ 2042 h 2071"/>
                <a:gd name="T50" fmla="*/ 1643 w 2028"/>
                <a:gd name="T51" fmla="*/ 1999 h 2071"/>
                <a:gd name="T52" fmla="*/ 1524 w 2028"/>
                <a:gd name="T53" fmla="*/ 1936 h 2071"/>
                <a:gd name="T54" fmla="*/ 1394 w 2028"/>
                <a:gd name="T55" fmla="*/ 1855 h 2071"/>
                <a:gd name="T56" fmla="*/ 1254 w 2028"/>
                <a:gd name="T57" fmla="*/ 1757 h 2071"/>
                <a:gd name="T58" fmla="*/ 1108 w 2028"/>
                <a:gd name="T59" fmla="*/ 1644 h 2071"/>
                <a:gd name="T60" fmla="*/ 956 w 2028"/>
                <a:gd name="T61" fmla="*/ 1514 h 2071"/>
                <a:gd name="T62" fmla="*/ 803 w 2028"/>
                <a:gd name="T63" fmla="*/ 1370 h 2071"/>
                <a:gd name="T64" fmla="*/ 650 w 2028"/>
                <a:gd name="T65" fmla="*/ 1215 h 2071"/>
                <a:gd name="T66" fmla="*/ 511 w 2028"/>
                <a:gd name="T67" fmla="*/ 1059 h 2071"/>
                <a:gd name="T68" fmla="*/ 388 w 2028"/>
                <a:gd name="T69" fmla="*/ 905 h 2071"/>
                <a:gd name="T70" fmla="*/ 280 w 2028"/>
                <a:gd name="T71" fmla="*/ 755 h 2071"/>
                <a:gd name="T72" fmla="*/ 188 w 2028"/>
                <a:gd name="T73" fmla="*/ 612 h 2071"/>
                <a:gd name="T74" fmla="*/ 114 w 2028"/>
                <a:gd name="T75" fmla="*/ 479 h 2071"/>
                <a:gd name="T76" fmla="*/ 57 w 2028"/>
                <a:gd name="T77" fmla="*/ 357 h 2071"/>
                <a:gd name="T78" fmla="*/ 20 w 2028"/>
                <a:gd name="T79" fmla="*/ 251 h 2071"/>
                <a:gd name="T80" fmla="*/ 3 w 2028"/>
                <a:gd name="T81" fmla="*/ 162 h 2071"/>
                <a:gd name="T82" fmla="*/ 6 w 2028"/>
                <a:gd name="T83" fmla="*/ 91 h 2071"/>
                <a:gd name="T84" fmla="*/ 30 w 2028"/>
                <a:gd name="T85" fmla="*/ 44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28" h="2071">
                  <a:moveTo>
                    <a:pt x="30" y="44"/>
                  </a:moveTo>
                  <a:lnTo>
                    <a:pt x="47" y="30"/>
                  </a:lnTo>
                  <a:lnTo>
                    <a:pt x="66" y="18"/>
                  </a:lnTo>
                  <a:lnTo>
                    <a:pt x="88" y="9"/>
                  </a:lnTo>
                  <a:lnTo>
                    <a:pt x="111" y="4"/>
                  </a:lnTo>
                  <a:lnTo>
                    <a:pt x="136" y="1"/>
                  </a:lnTo>
                  <a:lnTo>
                    <a:pt x="163" y="0"/>
                  </a:lnTo>
                  <a:lnTo>
                    <a:pt x="192" y="3"/>
                  </a:lnTo>
                  <a:lnTo>
                    <a:pt x="223" y="7"/>
                  </a:lnTo>
                  <a:lnTo>
                    <a:pt x="255" y="15"/>
                  </a:lnTo>
                  <a:lnTo>
                    <a:pt x="289" y="24"/>
                  </a:lnTo>
                  <a:lnTo>
                    <a:pt x="325" y="37"/>
                  </a:lnTo>
                  <a:lnTo>
                    <a:pt x="362" y="52"/>
                  </a:lnTo>
                  <a:lnTo>
                    <a:pt x="400" y="69"/>
                  </a:lnTo>
                  <a:lnTo>
                    <a:pt x="440" y="88"/>
                  </a:lnTo>
                  <a:lnTo>
                    <a:pt x="480" y="110"/>
                  </a:lnTo>
                  <a:lnTo>
                    <a:pt x="523" y="134"/>
                  </a:lnTo>
                  <a:lnTo>
                    <a:pt x="566" y="161"/>
                  </a:lnTo>
                  <a:lnTo>
                    <a:pt x="610" y="188"/>
                  </a:lnTo>
                  <a:lnTo>
                    <a:pt x="656" y="218"/>
                  </a:lnTo>
                  <a:lnTo>
                    <a:pt x="702" y="250"/>
                  </a:lnTo>
                  <a:lnTo>
                    <a:pt x="749" y="284"/>
                  </a:lnTo>
                  <a:lnTo>
                    <a:pt x="797" y="319"/>
                  </a:lnTo>
                  <a:lnTo>
                    <a:pt x="845" y="357"/>
                  </a:lnTo>
                  <a:lnTo>
                    <a:pt x="895" y="397"/>
                  </a:lnTo>
                  <a:lnTo>
                    <a:pt x="944" y="438"/>
                  </a:lnTo>
                  <a:lnTo>
                    <a:pt x="994" y="480"/>
                  </a:lnTo>
                  <a:lnTo>
                    <a:pt x="1045" y="524"/>
                  </a:lnTo>
                  <a:lnTo>
                    <a:pt x="1096" y="570"/>
                  </a:lnTo>
                  <a:lnTo>
                    <a:pt x="1147" y="617"/>
                  </a:lnTo>
                  <a:lnTo>
                    <a:pt x="1198" y="666"/>
                  </a:lnTo>
                  <a:lnTo>
                    <a:pt x="1250" y="715"/>
                  </a:lnTo>
                  <a:lnTo>
                    <a:pt x="1302" y="767"/>
                  </a:lnTo>
                  <a:lnTo>
                    <a:pt x="1353" y="818"/>
                  </a:lnTo>
                  <a:lnTo>
                    <a:pt x="1402" y="870"/>
                  </a:lnTo>
                  <a:lnTo>
                    <a:pt x="1450" y="921"/>
                  </a:lnTo>
                  <a:lnTo>
                    <a:pt x="1496" y="973"/>
                  </a:lnTo>
                  <a:lnTo>
                    <a:pt x="1540" y="1024"/>
                  </a:lnTo>
                  <a:lnTo>
                    <a:pt x="1584" y="1075"/>
                  </a:lnTo>
                  <a:lnTo>
                    <a:pt x="1625" y="1125"/>
                  </a:lnTo>
                  <a:lnTo>
                    <a:pt x="1664" y="1175"/>
                  </a:lnTo>
                  <a:lnTo>
                    <a:pt x="1701" y="1224"/>
                  </a:lnTo>
                  <a:lnTo>
                    <a:pt x="1737" y="1273"/>
                  </a:lnTo>
                  <a:lnTo>
                    <a:pt x="1771" y="1321"/>
                  </a:lnTo>
                  <a:lnTo>
                    <a:pt x="1803" y="1368"/>
                  </a:lnTo>
                  <a:lnTo>
                    <a:pt x="1833" y="1414"/>
                  </a:lnTo>
                  <a:lnTo>
                    <a:pt x="1861" y="1459"/>
                  </a:lnTo>
                  <a:lnTo>
                    <a:pt x="1887" y="1504"/>
                  </a:lnTo>
                  <a:lnTo>
                    <a:pt x="1911" y="1547"/>
                  </a:lnTo>
                  <a:lnTo>
                    <a:pt x="1933" y="1590"/>
                  </a:lnTo>
                  <a:lnTo>
                    <a:pt x="1952" y="1631"/>
                  </a:lnTo>
                  <a:lnTo>
                    <a:pt x="1970" y="1671"/>
                  </a:lnTo>
                  <a:lnTo>
                    <a:pt x="1985" y="1709"/>
                  </a:lnTo>
                  <a:lnTo>
                    <a:pt x="1998" y="1746"/>
                  </a:lnTo>
                  <a:lnTo>
                    <a:pt x="2009" y="1782"/>
                  </a:lnTo>
                  <a:lnTo>
                    <a:pt x="2017" y="1816"/>
                  </a:lnTo>
                  <a:lnTo>
                    <a:pt x="2023" y="1848"/>
                  </a:lnTo>
                  <a:lnTo>
                    <a:pt x="2027" y="1879"/>
                  </a:lnTo>
                  <a:lnTo>
                    <a:pt x="2028" y="1908"/>
                  </a:lnTo>
                  <a:lnTo>
                    <a:pt x="2027" y="1936"/>
                  </a:lnTo>
                  <a:lnTo>
                    <a:pt x="2022" y="1960"/>
                  </a:lnTo>
                  <a:lnTo>
                    <a:pt x="2015" y="1984"/>
                  </a:lnTo>
                  <a:lnTo>
                    <a:pt x="2006" y="2006"/>
                  </a:lnTo>
                  <a:lnTo>
                    <a:pt x="1995" y="2024"/>
                  </a:lnTo>
                  <a:lnTo>
                    <a:pt x="1980" y="2042"/>
                  </a:lnTo>
                  <a:lnTo>
                    <a:pt x="1967" y="2052"/>
                  </a:lnTo>
                  <a:lnTo>
                    <a:pt x="1951" y="2060"/>
                  </a:lnTo>
                  <a:lnTo>
                    <a:pt x="1934" y="2067"/>
                  </a:lnTo>
                  <a:lnTo>
                    <a:pt x="1913" y="2070"/>
                  </a:lnTo>
                  <a:lnTo>
                    <a:pt x="1891" y="2071"/>
                  </a:lnTo>
                  <a:lnTo>
                    <a:pt x="1867" y="2070"/>
                  </a:lnTo>
                  <a:lnTo>
                    <a:pt x="1840" y="2067"/>
                  </a:lnTo>
                  <a:lnTo>
                    <a:pt x="1812" y="2060"/>
                  </a:lnTo>
                  <a:lnTo>
                    <a:pt x="1781" y="2052"/>
                  </a:lnTo>
                  <a:lnTo>
                    <a:pt x="1749" y="2042"/>
                  </a:lnTo>
                  <a:lnTo>
                    <a:pt x="1715" y="2029"/>
                  </a:lnTo>
                  <a:lnTo>
                    <a:pt x="1680" y="2015"/>
                  </a:lnTo>
                  <a:lnTo>
                    <a:pt x="1643" y="1999"/>
                  </a:lnTo>
                  <a:lnTo>
                    <a:pt x="1605" y="1979"/>
                  </a:lnTo>
                  <a:lnTo>
                    <a:pt x="1565" y="1958"/>
                  </a:lnTo>
                  <a:lnTo>
                    <a:pt x="1524" y="1936"/>
                  </a:lnTo>
                  <a:lnTo>
                    <a:pt x="1482" y="1911"/>
                  </a:lnTo>
                  <a:lnTo>
                    <a:pt x="1438" y="1884"/>
                  </a:lnTo>
                  <a:lnTo>
                    <a:pt x="1394" y="1855"/>
                  </a:lnTo>
                  <a:lnTo>
                    <a:pt x="1349" y="1824"/>
                  </a:lnTo>
                  <a:lnTo>
                    <a:pt x="1301" y="1791"/>
                  </a:lnTo>
                  <a:lnTo>
                    <a:pt x="1254" y="1757"/>
                  </a:lnTo>
                  <a:lnTo>
                    <a:pt x="1207" y="1721"/>
                  </a:lnTo>
                  <a:lnTo>
                    <a:pt x="1157" y="1683"/>
                  </a:lnTo>
                  <a:lnTo>
                    <a:pt x="1108" y="1644"/>
                  </a:lnTo>
                  <a:lnTo>
                    <a:pt x="1058" y="1602"/>
                  </a:lnTo>
                  <a:lnTo>
                    <a:pt x="1008" y="1559"/>
                  </a:lnTo>
                  <a:lnTo>
                    <a:pt x="956" y="1514"/>
                  </a:lnTo>
                  <a:lnTo>
                    <a:pt x="906" y="1468"/>
                  </a:lnTo>
                  <a:lnTo>
                    <a:pt x="854" y="1419"/>
                  </a:lnTo>
                  <a:lnTo>
                    <a:pt x="803" y="1370"/>
                  </a:lnTo>
                  <a:lnTo>
                    <a:pt x="751" y="1319"/>
                  </a:lnTo>
                  <a:lnTo>
                    <a:pt x="700" y="1267"/>
                  </a:lnTo>
                  <a:lnTo>
                    <a:pt x="650" y="1215"/>
                  </a:lnTo>
                  <a:lnTo>
                    <a:pt x="603" y="1163"/>
                  </a:lnTo>
                  <a:lnTo>
                    <a:pt x="557" y="1111"/>
                  </a:lnTo>
                  <a:lnTo>
                    <a:pt x="511" y="1059"/>
                  </a:lnTo>
                  <a:lnTo>
                    <a:pt x="469" y="1007"/>
                  </a:lnTo>
                  <a:lnTo>
                    <a:pt x="428" y="955"/>
                  </a:lnTo>
                  <a:lnTo>
                    <a:pt x="388" y="905"/>
                  </a:lnTo>
                  <a:lnTo>
                    <a:pt x="350" y="854"/>
                  </a:lnTo>
                  <a:lnTo>
                    <a:pt x="314" y="804"/>
                  </a:lnTo>
                  <a:lnTo>
                    <a:pt x="280" y="755"/>
                  </a:lnTo>
                  <a:lnTo>
                    <a:pt x="248" y="706"/>
                  </a:lnTo>
                  <a:lnTo>
                    <a:pt x="217" y="658"/>
                  </a:lnTo>
                  <a:lnTo>
                    <a:pt x="188" y="612"/>
                  </a:lnTo>
                  <a:lnTo>
                    <a:pt x="161" y="567"/>
                  </a:lnTo>
                  <a:lnTo>
                    <a:pt x="136" y="522"/>
                  </a:lnTo>
                  <a:lnTo>
                    <a:pt x="114" y="479"/>
                  </a:lnTo>
                  <a:lnTo>
                    <a:pt x="92" y="437"/>
                  </a:lnTo>
                  <a:lnTo>
                    <a:pt x="74" y="397"/>
                  </a:lnTo>
                  <a:lnTo>
                    <a:pt x="57" y="357"/>
                  </a:lnTo>
                  <a:lnTo>
                    <a:pt x="43" y="320"/>
                  </a:lnTo>
                  <a:lnTo>
                    <a:pt x="30" y="285"/>
                  </a:lnTo>
                  <a:lnTo>
                    <a:pt x="20" y="251"/>
                  </a:lnTo>
                  <a:lnTo>
                    <a:pt x="12" y="219"/>
                  </a:lnTo>
                  <a:lnTo>
                    <a:pt x="6" y="189"/>
                  </a:lnTo>
                  <a:lnTo>
                    <a:pt x="3" y="162"/>
                  </a:lnTo>
                  <a:lnTo>
                    <a:pt x="0" y="136"/>
                  </a:lnTo>
                  <a:lnTo>
                    <a:pt x="3" y="112"/>
                  </a:lnTo>
                  <a:lnTo>
                    <a:pt x="6" y="91"/>
                  </a:lnTo>
                  <a:lnTo>
                    <a:pt x="12" y="73"/>
                  </a:lnTo>
                  <a:lnTo>
                    <a:pt x="20" y="57"/>
                  </a:lnTo>
                  <a:lnTo>
                    <a:pt x="30" y="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3" name="Freeform 38"/>
            <p:cNvSpPr>
              <a:spLocks noChangeArrowheads="1"/>
            </p:cNvSpPr>
            <p:nvPr userDrawn="1"/>
          </p:nvSpPr>
          <p:spPr bwMode="auto">
            <a:xfrm>
              <a:off x="7051675" y="2343004"/>
              <a:ext cx="727075" cy="1500208"/>
            </a:xfrm>
            <a:custGeom>
              <a:avLst/>
              <a:gdLst>
                <a:gd name="T0" fmla="*/ 204 w 1605"/>
                <a:gd name="T1" fmla="*/ 1 h 2696"/>
                <a:gd name="T2" fmla="*/ 286 w 1605"/>
                <a:gd name="T3" fmla="*/ 7 h 2696"/>
                <a:gd name="T4" fmla="*/ 378 w 1605"/>
                <a:gd name="T5" fmla="*/ 45 h 2696"/>
                <a:gd name="T6" fmla="*/ 513 w 1605"/>
                <a:gd name="T7" fmla="*/ 139 h 2696"/>
                <a:gd name="T8" fmla="*/ 721 w 1605"/>
                <a:gd name="T9" fmla="*/ 359 h 2696"/>
                <a:gd name="T10" fmla="*/ 926 w 1605"/>
                <a:gd name="T11" fmla="*/ 641 h 2696"/>
                <a:gd name="T12" fmla="*/ 1130 w 1605"/>
                <a:gd name="T13" fmla="*/ 988 h 2696"/>
                <a:gd name="T14" fmla="*/ 1260 w 1605"/>
                <a:gd name="T15" fmla="*/ 1239 h 2696"/>
                <a:gd name="T16" fmla="*/ 1418 w 1605"/>
                <a:gd name="T17" fmla="*/ 1594 h 2696"/>
                <a:gd name="T18" fmla="*/ 1516 w 1605"/>
                <a:gd name="T19" fmla="*/ 1871 h 2696"/>
                <a:gd name="T20" fmla="*/ 1579 w 1605"/>
                <a:gd name="T21" fmla="*/ 2118 h 2696"/>
                <a:gd name="T22" fmla="*/ 1605 w 1605"/>
                <a:gd name="T23" fmla="*/ 2335 h 2696"/>
                <a:gd name="T24" fmla="*/ 1584 w 1605"/>
                <a:gd name="T25" fmla="*/ 2522 h 2696"/>
                <a:gd name="T26" fmla="*/ 1540 w 1605"/>
                <a:gd name="T27" fmla="*/ 2612 h 2696"/>
                <a:gd name="T28" fmla="*/ 1490 w 1605"/>
                <a:gd name="T29" fmla="*/ 2660 h 2696"/>
                <a:gd name="T30" fmla="*/ 1468 w 1605"/>
                <a:gd name="T31" fmla="*/ 2673 h 2696"/>
                <a:gd name="T32" fmla="*/ 1453 w 1605"/>
                <a:gd name="T33" fmla="*/ 2680 h 2696"/>
                <a:gd name="T34" fmla="*/ 1406 w 1605"/>
                <a:gd name="T35" fmla="*/ 2694 h 2696"/>
                <a:gd name="T36" fmla="*/ 1324 w 1605"/>
                <a:gd name="T37" fmla="*/ 2690 h 2696"/>
                <a:gd name="T38" fmla="*/ 1233 w 1605"/>
                <a:gd name="T39" fmla="*/ 2656 h 2696"/>
                <a:gd name="T40" fmla="*/ 1133 w 1605"/>
                <a:gd name="T41" fmla="*/ 2595 h 2696"/>
                <a:gd name="T42" fmla="*/ 1027 w 1605"/>
                <a:gd name="T43" fmla="*/ 2507 h 2696"/>
                <a:gd name="T44" fmla="*/ 820 w 1605"/>
                <a:gd name="T45" fmla="*/ 2279 h 2696"/>
                <a:gd name="T46" fmla="*/ 613 w 1605"/>
                <a:gd name="T47" fmla="*/ 1986 h 2696"/>
                <a:gd name="T48" fmla="*/ 413 w 1605"/>
                <a:gd name="T49" fmla="*/ 1629 h 2696"/>
                <a:gd name="T50" fmla="*/ 344 w 1605"/>
                <a:gd name="T51" fmla="*/ 1489 h 2696"/>
                <a:gd name="T52" fmla="*/ 219 w 1605"/>
                <a:gd name="T53" fmla="*/ 1211 h 2696"/>
                <a:gd name="T54" fmla="*/ 113 w 1605"/>
                <a:gd name="T55" fmla="*/ 922 h 2696"/>
                <a:gd name="T56" fmla="*/ 39 w 1605"/>
                <a:gd name="T57" fmla="*/ 655 h 2696"/>
                <a:gd name="T58" fmla="*/ 3 w 1605"/>
                <a:gd name="T59" fmla="*/ 420 h 2696"/>
                <a:gd name="T60" fmla="*/ 10 w 1605"/>
                <a:gd name="T61" fmla="*/ 225 h 2696"/>
                <a:gd name="T62" fmla="*/ 36 w 1605"/>
                <a:gd name="T63" fmla="*/ 140 h 2696"/>
                <a:gd name="T64" fmla="*/ 75 w 1605"/>
                <a:gd name="T65" fmla="*/ 74 h 2696"/>
                <a:gd name="T66" fmla="*/ 131 w 1605"/>
                <a:gd name="T67" fmla="*/ 28 h 2696"/>
                <a:gd name="T68" fmla="*/ 501 w 1605"/>
                <a:gd name="T69" fmla="*/ 366 h 2696"/>
                <a:gd name="T70" fmla="*/ 361 w 1605"/>
                <a:gd name="T71" fmla="*/ 230 h 2696"/>
                <a:gd name="T72" fmla="*/ 259 w 1605"/>
                <a:gd name="T73" fmla="*/ 169 h 2696"/>
                <a:gd name="T74" fmla="*/ 224 w 1605"/>
                <a:gd name="T75" fmla="*/ 172 h 2696"/>
                <a:gd name="T76" fmla="*/ 184 w 1605"/>
                <a:gd name="T77" fmla="*/ 221 h 2696"/>
                <a:gd name="T78" fmla="*/ 170 w 1605"/>
                <a:gd name="T79" fmla="*/ 323 h 2696"/>
                <a:gd name="T80" fmla="*/ 180 w 1605"/>
                <a:gd name="T81" fmla="*/ 476 h 2696"/>
                <a:gd name="T82" fmla="*/ 226 w 1605"/>
                <a:gd name="T83" fmla="*/ 702 h 2696"/>
                <a:gd name="T84" fmla="*/ 307 w 1605"/>
                <a:gd name="T85" fmla="*/ 963 h 2696"/>
                <a:gd name="T86" fmla="*/ 414 w 1605"/>
                <a:gd name="T87" fmla="*/ 1232 h 2696"/>
                <a:gd name="T88" fmla="*/ 519 w 1605"/>
                <a:gd name="T89" fmla="*/ 1459 h 2696"/>
                <a:gd name="T90" fmla="*/ 595 w 1605"/>
                <a:gd name="T91" fmla="*/ 1612 h 2696"/>
                <a:gd name="T92" fmla="*/ 788 w 1605"/>
                <a:gd name="T93" fmla="*/ 1942 h 2696"/>
                <a:gd name="T94" fmla="*/ 983 w 1605"/>
                <a:gd name="T95" fmla="*/ 2209 h 2696"/>
                <a:gd name="T96" fmla="*/ 1154 w 1605"/>
                <a:gd name="T97" fmla="*/ 2394 h 2696"/>
                <a:gd name="T98" fmla="*/ 1283 w 1605"/>
                <a:gd name="T99" fmla="*/ 2498 h 2696"/>
                <a:gd name="T100" fmla="*/ 1352 w 1605"/>
                <a:gd name="T101" fmla="*/ 2528 h 2696"/>
                <a:gd name="T102" fmla="*/ 1386 w 1605"/>
                <a:gd name="T103" fmla="*/ 2523 h 2696"/>
                <a:gd name="T104" fmla="*/ 1410 w 1605"/>
                <a:gd name="T105" fmla="*/ 2502 h 2696"/>
                <a:gd name="T106" fmla="*/ 1433 w 1605"/>
                <a:gd name="T107" fmla="*/ 2425 h 2696"/>
                <a:gd name="T108" fmla="*/ 1427 w 1605"/>
                <a:gd name="T109" fmla="*/ 2245 h 2696"/>
                <a:gd name="T110" fmla="*/ 1385 w 1605"/>
                <a:gd name="T111" fmla="*/ 2035 h 2696"/>
                <a:gd name="T112" fmla="*/ 1310 w 1605"/>
                <a:gd name="T113" fmla="*/ 1790 h 2696"/>
                <a:gd name="T114" fmla="*/ 1189 w 1605"/>
                <a:gd name="T115" fmla="*/ 1490 h 2696"/>
                <a:gd name="T116" fmla="*/ 1046 w 1605"/>
                <a:gd name="T117" fmla="*/ 1197 h 2696"/>
                <a:gd name="T118" fmla="*/ 917 w 1605"/>
                <a:gd name="T119" fmla="*/ 954 h 2696"/>
                <a:gd name="T120" fmla="*/ 720 w 1605"/>
                <a:gd name="T121" fmla="*/ 641 h 2696"/>
                <a:gd name="T122" fmla="*/ 528 w 1605"/>
                <a:gd name="T123" fmla="*/ 395 h 2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5" h="2696">
                  <a:moveTo>
                    <a:pt x="153" y="16"/>
                  </a:moveTo>
                  <a:lnTo>
                    <a:pt x="154" y="16"/>
                  </a:lnTo>
                  <a:lnTo>
                    <a:pt x="167" y="11"/>
                  </a:lnTo>
                  <a:lnTo>
                    <a:pt x="178" y="6"/>
                  </a:lnTo>
                  <a:lnTo>
                    <a:pt x="190" y="4"/>
                  </a:lnTo>
                  <a:lnTo>
                    <a:pt x="204" y="1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44" y="0"/>
                  </a:lnTo>
                  <a:lnTo>
                    <a:pt x="257" y="2"/>
                  </a:lnTo>
                  <a:lnTo>
                    <a:pt x="272" y="4"/>
                  </a:lnTo>
                  <a:lnTo>
                    <a:pt x="286" y="7"/>
                  </a:lnTo>
                  <a:lnTo>
                    <a:pt x="301" y="12"/>
                  </a:lnTo>
                  <a:lnTo>
                    <a:pt x="316" y="17"/>
                  </a:lnTo>
                  <a:lnTo>
                    <a:pt x="332" y="23"/>
                  </a:lnTo>
                  <a:lnTo>
                    <a:pt x="347" y="29"/>
                  </a:lnTo>
                  <a:lnTo>
                    <a:pt x="362" y="36"/>
                  </a:lnTo>
                  <a:lnTo>
                    <a:pt x="378" y="45"/>
                  </a:lnTo>
                  <a:lnTo>
                    <a:pt x="394" y="54"/>
                  </a:lnTo>
                  <a:lnTo>
                    <a:pt x="411" y="64"/>
                  </a:lnTo>
                  <a:lnTo>
                    <a:pt x="427" y="74"/>
                  </a:lnTo>
                  <a:lnTo>
                    <a:pt x="444" y="86"/>
                  </a:lnTo>
                  <a:lnTo>
                    <a:pt x="478" y="112"/>
                  </a:lnTo>
                  <a:lnTo>
                    <a:pt x="513" y="139"/>
                  </a:lnTo>
                  <a:lnTo>
                    <a:pt x="548" y="170"/>
                  </a:lnTo>
                  <a:lnTo>
                    <a:pt x="583" y="204"/>
                  </a:lnTo>
                  <a:lnTo>
                    <a:pt x="619" y="241"/>
                  </a:lnTo>
                  <a:lnTo>
                    <a:pt x="656" y="282"/>
                  </a:lnTo>
                  <a:lnTo>
                    <a:pt x="688" y="320"/>
                  </a:lnTo>
                  <a:lnTo>
                    <a:pt x="721" y="359"/>
                  </a:lnTo>
                  <a:lnTo>
                    <a:pt x="755" y="401"/>
                  </a:lnTo>
                  <a:lnTo>
                    <a:pt x="789" y="446"/>
                  </a:lnTo>
                  <a:lnTo>
                    <a:pt x="823" y="492"/>
                  </a:lnTo>
                  <a:lnTo>
                    <a:pt x="857" y="540"/>
                  </a:lnTo>
                  <a:lnTo>
                    <a:pt x="891" y="590"/>
                  </a:lnTo>
                  <a:lnTo>
                    <a:pt x="926" y="641"/>
                  </a:lnTo>
                  <a:lnTo>
                    <a:pt x="960" y="695"/>
                  </a:lnTo>
                  <a:lnTo>
                    <a:pt x="995" y="751"/>
                  </a:lnTo>
                  <a:lnTo>
                    <a:pt x="1029" y="808"/>
                  </a:lnTo>
                  <a:lnTo>
                    <a:pt x="1063" y="866"/>
                  </a:lnTo>
                  <a:lnTo>
                    <a:pt x="1097" y="927"/>
                  </a:lnTo>
                  <a:lnTo>
                    <a:pt x="1130" y="988"/>
                  </a:lnTo>
                  <a:lnTo>
                    <a:pt x="1163" y="1051"/>
                  </a:lnTo>
                  <a:lnTo>
                    <a:pt x="1196" y="1115"/>
                  </a:lnTo>
                  <a:lnTo>
                    <a:pt x="1197" y="1117"/>
                  </a:lnTo>
                  <a:lnTo>
                    <a:pt x="1229" y="1178"/>
                  </a:lnTo>
                  <a:lnTo>
                    <a:pt x="1260" y="1239"/>
                  </a:lnTo>
                  <a:lnTo>
                    <a:pt x="1289" y="1300"/>
                  </a:lnTo>
                  <a:lnTo>
                    <a:pt x="1317" y="1360"/>
                  </a:lnTo>
                  <a:lnTo>
                    <a:pt x="1344" y="1420"/>
                  </a:lnTo>
                  <a:lnTo>
                    <a:pt x="1370" y="1478"/>
                  </a:lnTo>
                  <a:lnTo>
                    <a:pt x="1394" y="1536"/>
                  </a:lnTo>
                  <a:lnTo>
                    <a:pt x="1418" y="1594"/>
                  </a:lnTo>
                  <a:lnTo>
                    <a:pt x="1437" y="1641"/>
                  </a:lnTo>
                  <a:lnTo>
                    <a:pt x="1454" y="1689"/>
                  </a:lnTo>
                  <a:lnTo>
                    <a:pt x="1472" y="1736"/>
                  </a:lnTo>
                  <a:lnTo>
                    <a:pt x="1487" y="1782"/>
                  </a:lnTo>
                  <a:lnTo>
                    <a:pt x="1502" y="1827"/>
                  </a:lnTo>
                  <a:lnTo>
                    <a:pt x="1516" y="1871"/>
                  </a:lnTo>
                  <a:lnTo>
                    <a:pt x="1529" y="1915"/>
                  </a:lnTo>
                  <a:lnTo>
                    <a:pt x="1541" y="1957"/>
                  </a:lnTo>
                  <a:lnTo>
                    <a:pt x="1552" y="1998"/>
                  </a:lnTo>
                  <a:lnTo>
                    <a:pt x="1562" y="2039"/>
                  </a:lnTo>
                  <a:lnTo>
                    <a:pt x="1571" y="2078"/>
                  </a:lnTo>
                  <a:lnTo>
                    <a:pt x="1579" y="2118"/>
                  </a:lnTo>
                  <a:lnTo>
                    <a:pt x="1586" y="2155"/>
                  </a:lnTo>
                  <a:lnTo>
                    <a:pt x="1591" y="2191"/>
                  </a:lnTo>
                  <a:lnTo>
                    <a:pt x="1596" y="2226"/>
                  </a:lnTo>
                  <a:lnTo>
                    <a:pt x="1600" y="2260"/>
                  </a:lnTo>
                  <a:lnTo>
                    <a:pt x="1604" y="2298"/>
                  </a:lnTo>
                  <a:lnTo>
                    <a:pt x="1605" y="2335"/>
                  </a:lnTo>
                  <a:lnTo>
                    <a:pt x="1605" y="2370"/>
                  </a:lnTo>
                  <a:lnTo>
                    <a:pt x="1604" y="2403"/>
                  </a:lnTo>
                  <a:lnTo>
                    <a:pt x="1600" y="2435"/>
                  </a:lnTo>
                  <a:lnTo>
                    <a:pt x="1596" y="2466"/>
                  </a:lnTo>
                  <a:lnTo>
                    <a:pt x="1591" y="2495"/>
                  </a:lnTo>
                  <a:lnTo>
                    <a:pt x="1584" y="2522"/>
                  </a:lnTo>
                  <a:lnTo>
                    <a:pt x="1575" y="2546"/>
                  </a:lnTo>
                  <a:lnTo>
                    <a:pt x="1564" y="2570"/>
                  </a:lnTo>
                  <a:lnTo>
                    <a:pt x="1558" y="2581"/>
                  </a:lnTo>
                  <a:lnTo>
                    <a:pt x="1552" y="2592"/>
                  </a:lnTo>
                  <a:lnTo>
                    <a:pt x="1546" y="2602"/>
                  </a:lnTo>
                  <a:lnTo>
                    <a:pt x="1540" y="2612"/>
                  </a:lnTo>
                  <a:lnTo>
                    <a:pt x="1531" y="2622"/>
                  </a:lnTo>
                  <a:lnTo>
                    <a:pt x="1524" y="2630"/>
                  </a:lnTo>
                  <a:lnTo>
                    <a:pt x="1516" y="2638"/>
                  </a:lnTo>
                  <a:lnTo>
                    <a:pt x="1508" y="2646"/>
                  </a:lnTo>
                  <a:lnTo>
                    <a:pt x="1500" y="2654"/>
                  </a:lnTo>
                  <a:lnTo>
                    <a:pt x="1490" y="2660"/>
                  </a:lnTo>
                  <a:lnTo>
                    <a:pt x="1480" y="2666"/>
                  </a:lnTo>
                  <a:lnTo>
                    <a:pt x="1471" y="2672"/>
                  </a:lnTo>
                  <a:lnTo>
                    <a:pt x="1470" y="2672"/>
                  </a:lnTo>
                  <a:lnTo>
                    <a:pt x="1468" y="2673"/>
                  </a:lnTo>
                  <a:lnTo>
                    <a:pt x="1467" y="2673"/>
                  </a:lnTo>
                  <a:lnTo>
                    <a:pt x="1466" y="2674"/>
                  </a:lnTo>
                  <a:lnTo>
                    <a:pt x="1463" y="2675"/>
                  </a:lnTo>
                  <a:lnTo>
                    <a:pt x="1454" y="2679"/>
                  </a:lnTo>
                  <a:lnTo>
                    <a:pt x="1453" y="2680"/>
                  </a:lnTo>
                  <a:lnTo>
                    <a:pt x="1452" y="2680"/>
                  </a:lnTo>
                  <a:lnTo>
                    <a:pt x="1441" y="2686"/>
                  </a:lnTo>
                  <a:lnTo>
                    <a:pt x="1429" y="2689"/>
                  </a:lnTo>
                  <a:lnTo>
                    <a:pt x="1418" y="2692"/>
                  </a:lnTo>
                  <a:lnTo>
                    <a:pt x="1406" y="2694"/>
                  </a:lnTo>
                  <a:lnTo>
                    <a:pt x="1392" y="2696"/>
                  </a:lnTo>
                  <a:lnTo>
                    <a:pt x="1380" y="2696"/>
                  </a:lnTo>
                  <a:lnTo>
                    <a:pt x="1367" y="2696"/>
                  </a:lnTo>
                  <a:lnTo>
                    <a:pt x="1353" y="2695"/>
                  </a:lnTo>
                  <a:lnTo>
                    <a:pt x="1339" y="2693"/>
                  </a:lnTo>
                  <a:lnTo>
                    <a:pt x="1324" y="2690"/>
                  </a:lnTo>
                  <a:lnTo>
                    <a:pt x="1310" y="2687"/>
                  </a:lnTo>
                  <a:lnTo>
                    <a:pt x="1295" y="2681"/>
                  </a:lnTo>
                  <a:lnTo>
                    <a:pt x="1280" y="2676"/>
                  </a:lnTo>
                  <a:lnTo>
                    <a:pt x="1265" y="2670"/>
                  </a:lnTo>
                  <a:lnTo>
                    <a:pt x="1249" y="2664"/>
                  </a:lnTo>
                  <a:lnTo>
                    <a:pt x="1233" y="2656"/>
                  </a:lnTo>
                  <a:lnTo>
                    <a:pt x="1216" y="2647"/>
                  </a:lnTo>
                  <a:lnTo>
                    <a:pt x="1201" y="2639"/>
                  </a:lnTo>
                  <a:lnTo>
                    <a:pt x="1183" y="2629"/>
                  </a:lnTo>
                  <a:lnTo>
                    <a:pt x="1167" y="2619"/>
                  </a:lnTo>
                  <a:lnTo>
                    <a:pt x="1150" y="2607"/>
                  </a:lnTo>
                  <a:lnTo>
                    <a:pt x="1133" y="2595"/>
                  </a:lnTo>
                  <a:lnTo>
                    <a:pt x="1115" y="2583"/>
                  </a:lnTo>
                  <a:lnTo>
                    <a:pt x="1098" y="2568"/>
                  </a:lnTo>
                  <a:lnTo>
                    <a:pt x="1080" y="2555"/>
                  </a:lnTo>
                  <a:lnTo>
                    <a:pt x="1063" y="2539"/>
                  </a:lnTo>
                  <a:lnTo>
                    <a:pt x="1045" y="2524"/>
                  </a:lnTo>
                  <a:lnTo>
                    <a:pt x="1027" y="2507"/>
                  </a:lnTo>
                  <a:lnTo>
                    <a:pt x="991" y="2472"/>
                  </a:lnTo>
                  <a:lnTo>
                    <a:pt x="955" y="2435"/>
                  </a:lnTo>
                  <a:lnTo>
                    <a:pt x="921" y="2399"/>
                  </a:lnTo>
                  <a:lnTo>
                    <a:pt x="888" y="2361"/>
                  </a:lnTo>
                  <a:lnTo>
                    <a:pt x="854" y="2321"/>
                  </a:lnTo>
                  <a:lnTo>
                    <a:pt x="820" y="2279"/>
                  </a:lnTo>
                  <a:lnTo>
                    <a:pt x="785" y="2235"/>
                  </a:lnTo>
                  <a:lnTo>
                    <a:pt x="751" y="2189"/>
                  </a:lnTo>
                  <a:lnTo>
                    <a:pt x="716" y="2140"/>
                  </a:lnTo>
                  <a:lnTo>
                    <a:pt x="682" y="2091"/>
                  </a:lnTo>
                  <a:lnTo>
                    <a:pt x="647" y="2039"/>
                  </a:lnTo>
                  <a:lnTo>
                    <a:pt x="613" y="1986"/>
                  </a:lnTo>
                  <a:lnTo>
                    <a:pt x="579" y="1930"/>
                  </a:lnTo>
                  <a:lnTo>
                    <a:pt x="545" y="1873"/>
                  </a:lnTo>
                  <a:lnTo>
                    <a:pt x="511" y="1815"/>
                  </a:lnTo>
                  <a:lnTo>
                    <a:pt x="478" y="1754"/>
                  </a:lnTo>
                  <a:lnTo>
                    <a:pt x="445" y="1692"/>
                  </a:lnTo>
                  <a:lnTo>
                    <a:pt x="413" y="1629"/>
                  </a:lnTo>
                  <a:lnTo>
                    <a:pt x="401" y="1605"/>
                  </a:lnTo>
                  <a:lnTo>
                    <a:pt x="389" y="1582"/>
                  </a:lnTo>
                  <a:lnTo>
                    <a:pt x="378" y="1558"/>
                  </a:lnTo>
                  <a:lnTo>
                    <a:pt x="368" y="1535"/>
                  </a:lnTo>
                  <a:lnTo>
                    <a:pt x="367" y="1535"/>
                  </a:lnTo>
                  <a:lnTo>
                    <a:pt x="344" y="1489"/>
                  </a:lnTo>
                  <a:lnTo>
                    <a:pt x="321" y="1442"/>
                  </a:lnTo>
                  <a:lnTo>
                    <a:pt x="300" y="1396"/>
                  </a:lnTo>
                  <a:lnTo>
                    <a:pt x="279" y="1350"/>
                  </a:lnTo>
                  <a:lnTo>
                    <a:pt x="258" y="1304"/>
                  </a:lnTo>
                  <a:lnTo>
                    <a:pt x="239" y="1258"/>
                  </a:lnTo>
                  <a:lnTo>
                    <a:pt x="219" y="1211"/>
                  </a:lnTo>
                  <a:lnTo>
                    <a:pt x="201" y="1165"/>
                  </a:lnTo>
                  <a:lnTo>
                    <a:pt x="181" y="1116"/>
                  </a:lnTo>
                  <a:lnTo>
                    <a:pt x="163" y="1066"/>
                  </a:lnTo>
                  <a:lnTo>
                    <a:pt x="145" y="1018"/>
                  </a:lnTo>
                  <a:lnTo>
                    <a:pt x="129" y="969"/>
                  </a:lnTo>
                  <a:lnTo>
                    <a:pt x="113" y="922"/>
                  </a:lnTo>
                  <a:lnTo>
                    <a:pt x="98" y="875"/>
                  </a:lnTo>
                  <a:lnTo>
                    <a:pt x="84" y="829"/>
                  </a:lnTo>
                  <a:lnTo>
                    <a:pt x="72" y="784"/>
                  </a:lnTo>
                  <a:lnTo>
                    <a:pt x="60" y="740"/>
                  </a:lnTo>
                  <a:lnTo>
                    <a:pt x="49" y="697"/>
                  </a:lnTo>
                  <a:lnTo>
                    <a:pt x="39" y="655"/>
                  </a:lnTo>
                  <a:lnTo>
                    <a:pt x="31" y="614"/>
                  </a:lnTo>
                  <a:lnTo>
                    <a:pt x="23" y="573"/>
                  </a:lnTo>
                  <a:lnTo>
                    <a:pt x="16" y="534"/>
                  </a:lnTo>
                  <a:lnTo>
                    <a:pt x="11" y="497"/>
                  </a:lnTo>
                  <a:lnTo>
                    <a:pt x="7" y="460"/>
                  </a:lnTo>
                  <a:lnTo>
                    <a:pt x="3" y="420"/>
                  </a:lnTo>
                  <a:lnTo>
                    <a:pt x="1" y="381"/>
                  </a:lnTo>
                  <a:lnTo>
                    <a:pt x="0" y="344"/>
                  </a:lnTo>
                  <a:lnTo>
                    <a:pt x="1" y="307"/>
                  </a:lnTo>
                  <a:lnTo>
                    <a:pt x="4" y="273"/>
                  </a:lnTo>
                  <a:lnTo>
                    <a:pt x="8" y="240"/>
                  </a:lnTo>
                  <a:lnTo>
                    <a:pt x="10" y="225"/>
                  </a:lnTo>
                  <a:lnTo>
                    <a:pt x="14" y="210"/>
                  </a:lnTo>
                  <a:lnTo>
                    <a:pt x="17" y="195"/>
                  </a:lnTo>
                  <a:lnTo>
                    <a:pt x="21" y="181"/>
                  </a:lnTo>
                  <a:lnTo>
                    <a:pt x="26" y="167"/>
                  </a:lnTo>
                  <a:lnTo>
                    <a:pt x="31" y="154"/>
                  </a:lnTo>
                  <a:lnTo>
                    <a:pt x="36" y="140"/>
                  </a:lnTo>
                  <a:lnTo>
                    <a:pt x="41" y="128"/>
                  </a:lnTo>
                  <a:lnTo>
                    <a:pt x="47" y="117"/>
                  </a:lnTo>
                  <a:lnTo>
                    <a:pt x="53" y="105"/>
                  </a:lnTo>
                  <a:lnTo>
                    <a:pt x="61" y="95"/>
                  </a:lnTo>
                  <a:lnTo>
                    <a:pt x="68" y="85"/>
                  </a:lnTo>
                  <a:lnTo>
                    <a:pt x="75" y="74"/>
                  </a:lnTo>
                  <a:lnTo>
                    <a:pt x="83" y="65"/>
                  </a:lnTo>
                  <a:lnTo>
                    <a:pt x="93" y="57"/>
                  </a:lnTo>
                  <a:lnTo>
                    <a:pt x="101" y="49"/>
                  </a:lnTo>
                  <a:lnTo>
                    <a:pt x="110" y="41"/>
                  </a:lnTo>
                  <a:lnTo>
                    <a:pt x="120" y="34"/>
                  </a:lnTo>
                  <a:lnTo>
                    <a:pt x="131" y="28"/>
                  </a:lnTo>
                  <a:lnTo>
                    <a:pt x="142" y="22"/>
                  </a:lnTo>
                  <a:lnTo>
                    <a:pt x="145" y="21"/>
                  </a:lnTo>
                  <a:lnTo>
                    <a:pt x="145" y="20"/>
                  </a:lnTo>
                  <a:lnTo>
                    <a:pt x="153" y="16"/>
                  </a:lnTo>
                  <a:close/>
                  <a:moveTo>
                    <a:pt x="528" y="395"/>
                  </a:moveTo>
                  <a:lnTo>
                    <a:pt x="501" y="366"/>
                  </a:lnTo>
                  <a:lnTo>
                    <a:pt x="476" y="339"/>
                  </a:lnTo>
                  <a:lnTo>
                    <a:pt x="451" y="314"/>
                  </a:lnTo>
                  <a:lnTo>
                    <a:pt x="427" y="290"/>
                  </a:lnTo>
                  <a:lnTo>
                    <a:pt x="405" y="268"/>
                  </a:lnTo>
                  <a:lnTo>
                    <a:pt x="382" y="248"/>
                  </a:lnTo>
                  <a:lnTo>
                    <a:pt x="361" y="230"/>
                  </a:lnTo>
                  <a:lnTo>
                    <a:pt x="342" y="215"/>
                  </a:lnTo>
                  <a:lnTo>
                    <a:pt x="322" y="201"/>
                  </a:lnTo>
                  <a:lnTo>
                    <a:pt x="305" y="190"/>
                  </a:lnTo>
                  <a:lnTo>
                    <a:pt x="288" y="181"/>
                  </a:lnTo>
                  <a:lnTo>
                    <a:pt x="274" y="173"/>
                  </a:lnTo>
                  <a:lnTo>
                    <a:pt x="259" y="169"/>
                  </a:lnTo>
                  <a:lnTo>
                    <a:pt x="247" y="167"/>
                  </a:lnTo>
                  <a:lnTo>
                    <a:pt x="242" y="167"/>
                  </a:lnTo>
                  <a:lnTo>
                    <a:pt x="237" y="168"/>
                  </a:lnTo>
                  <a:lnTo>
                    <a:pt x="232" y="169"/>
                  </a:lnTo>
                  <a:lnTo>
                    <a:pt x="226" y="171"/>
                  </a:lnTo>
                  <a:lnTo>
                    <a:pt x="224" y="172"/>
                  </a:lnTo>
                  <a:lnTo>
                    <a:pt x="215" y="177"/>
                  </a:lnTo>
                  <a:lnTo>
                    <a:pt x="207" y="183"/>
                  </a:lnTo>
                  <a:lnTo>
                    <a:pt x="201" y="190"/>
                  </a:lnTo>
                  <a:lnTo>
                    <a:pt x="195" y="198"/>
                  </a:lnTo>
                  <a:lnTo>
                    <a:pt x="188" y="208"/>
                  </a:lnTo>
                  <a:lnTo>
                    <a:pt x="184" y="221"/>
                  </a:lnTo>
                  <a:lnTo>
                    <a:pt x="180" y="234"/>
                  </a:lnTo>
                  <a:lnTo>
                    <a:pt x="177" y="249"/>
                  </a:lnTo>
                  <a:lnTo>
                    <a:pt x="174" y="265"/>
                  </a:lnTo>
                  <a:lnTo>
                    <a:pt x="172" y="283"/>
                  </a:lnTo>
                  <a:lnTo>
                    <a:pt x="171" y="302"/>
                  </a:lnTo>
                  <a:lnTo>
                    <a:pt x="170" y="323"/>
                  </a:lnTo>
                  <a:lnTo>
                    <a:pt x="170" y="344"/>
                  </a:lnTo>
                  <a:lnTo>
                    <a:pt x="171" y="367"/>
                  </a:lnTo>
                  <a:lnTo>
                    <a:pt x="172" y="391"/>
                  </a:lnTo>
                  <a:lnTo>
                    <a:pt x="174" y="416"/>
                  </a:lnTo>
                  <a:lnTo>
                    <a:pt x="176" y="442"/>
                  </a:lnTo>
                  <a:lnTo>
                    <a:pt x="180" y="476"/>
                  </a:lnTo>
                  <a:lnTo>
                    <a:pt x="185" y="512"/>
                  </a:lnTo>
                  <a:lnTo>
                    <a:pt x="191" y="548"/>
                  </a:lnTo>
                  <a:lnTo>
                    <a:pt x="199" y="585"/>
                  </a:lnTo>
                  <a:lnTo>
                    <a:pt x="207" y="623"/>
                  </a:lnTo>
                  <a:lnTo>
                    <a:pt x="216" y="662"/>
                  </a:lnTo>
                  <a:lnTo>
                    <a:pt x="226" y="702"/>
                  </a:lnTo>
                  <a:lnTo>
                    <a:pt x="238" y="743"/>
                  </a:lnTo>
                  <a:lnTo>
                    <a:pt x="249" y="786"/>
                  </a:lnTo>
                  <a:lnTo>
                    <a:pt x="262" y="829"/>
                  </a:lnTo>
                  <a:lnTo>
                    <a:pt x="276" y="873"/>
                  </a:lnTo>
                  <a:lnTo>
                    <a:pt x="291" y="918"/>
                  </a:lnTo>
                  <a:lnTo>
                    <a:pt x="307" y="963"/>
                  </a:lnTo>
                  <a:lnTo>
                    <a:pt x="323" y="1008"/>
                  </a:lnTo>
                  <a:lnTo>
                    <a:pt x="341" y="1056"/>
                  </a:lnTo>
                  <a:lnTo>
                    <a:pt x="359" y="1102"/>
                  </a:lnTo>
                  <a:lnTo>
                    <a:pt x="377" y="1146"/>
                  </a:lnTo>
                  <a:lnTo>
                    <a:pt x="394" y="1189"/>
                  </a:lnTo>
                  <a:lnTo>
                    <a:pt x="414" y="1232"/>
                  </a:lnTo>
                  <a:lnTo>
                    <a:pt x="433" y="1276"/>
                  </a:lnTo>
                  <a:lnTo>
                    <a:pt x="454" y="1322"/>
                  </a:lnTo>
                  <a:lnTo>
                    <a:pt x="475" y="1367"/>
                  </a:lnTo>
                  <a:lnTo>
                    <a:pt x="497" y="1412"/>
                  </a:lnTo>
                  <a:lnTo>
                    <a:pt x="520" y="1459"/>
                  </a:lnTo>
                  <a:lnTo>
                    <a:pt x="519" y="1459"/>
                  </a:lnTo>
                  <a:lnTo>
                    <a:pt x="520" y="1461"/>
                  </a:lnTo>
                  <a:lnTo>
                    <a:pt x="531" y="1485"/>
                  </a:lnTo>
                  <a:lnTo>
                    <a:pt x="543" y="1507"/>
                  </a:lnTo>
                  <a:lnTo>
                    <a:pt x="554" y="1530"/>
                  </a:lnTo>
                  <a:lnTo>
                    <a:pt x="565" y="1553"/>
                  </a:lnTo>
                  <a:lnTo>
                    <a:pt x="595" y="1612"/>
                  </a:lnTo>
                  <a:lnTo>
                    <a:pt x="627" y="1671"/>
                  </a:lnTo>
                  <a:lnTo>
                    <a:pt x="658" y="1729"/>
                  </a:lnTo>
                  <a:lnTo>
                    <a:pt x="690" y="1785"/>
                  </a:lnTo>
                  <a:lnTo>
                    <a:pt x="723" y="1839"/>
                  </a:lnTo>
                  <a:lnTo>
                    <a:pt x="755" y="1891"/>
                  </a:lnTo>
                  <a:lnTo>
                    <a:pt x="788" y="1942"/>
                  </a:lnTo>
                  <a:lnTo>
                    <a:pt x="821" y="1991"/>
                  </a:lnTo>
                  <a:lnTo>
                    <a:pt x="853" y="2038"/>
                  </a:lnTo>
                  <a:lnTo>
                    <a:pt x="886" y="2085"/>
                  </a:lnTo>
                  <a:lnTo>
                    <a:pt x="919" y="2128"/>
                  </a:lnTo>
                  <a:lnTo>
                    <a:pt x="951" y="2169"/>
                  </a:lnTo>
                  <a:lnTo>
                    <a:pt x="983" y="2209"/>
                  </a:lnTo>
                  <a:lnTo>
                    <a:pt x="1015" y="2247"/>
                  </a:lnTo>
                  <a:lnTo>
                    <a:pt x="1046" y="2284"/>
                  </a:lnTo>
                  <a:lnTo>
                    <a:pt x="1078" y="2317"/>
                  </a:lnTo>
                  <a:lnTo>
                    <a:pt x="1104" y="2344"/>
                  </a:lnTo>
                  <a:lnTo>
                    <a:pt x="1130" y="2370"/>
                  </a:lnTo>
                  <a:lnTo>
                    <a:pt x="1154" y="2394"/>
                  </a:lnTo>
                  <a:lnTo>
                    <a:pt x="1178" y="2416"/>
                  </a:lnTo>
                  <a:lnTo>
                    <a:pt x="1201" y="2436"/>
                  </a:lnTo>
                  <a:lnTo>
                    <a:pt x="1223" y="2455"/>
                  </a:lnTo>
                  <a:lnTo>
                    <a:pt x="1244" y="2471"/>
                  </a:lnTo>
                  <a:lnTo>
                    <a:pt x="1265" y="2486"/>
                  </a:lnTo>
                  <a:lnTo>
                    <a:pt x="1283" y="2498"/>
                  </a:lnTo>
                  <a:lnTo>
                    <a:pt x="1301" y="2508"/>
                  </a:lnTo>
                  <a:lnTo>
                    <a:pt x="1317" y="2517"/>
                  </a:lnTo>
                  <a:lnTo>
                    <a:pt x="1333" y="2523"/>
                  </a:lnTo>
                  <a:lnTo>
                    <a:pt x="1339" y="2526"/>
                  </a:lnTo>
                  <a:lnTo>
                    <a:pt x="1346" y="2527"/>
                  </a:lnTo>
                  <a:lnTo>
                    <a:pt x="1352" y="2528"/>
                  </a:lnTo>
                  <a:lnTo>
                    <a:pt x="1358" y="2529"/>
                  </a:lnTo>
                  <a:lnTo>
                    <a:pt x="1365" y="2529"/>
                  </a:lnTo>
                  <a:lnTo>
                    <a:pt x="1370" y="2529"/>
                  </a:lnTo>
                  <a:lnTo>
                    <a:pt x="1375" y="2528"/>
                  </a:lnTo>
                  <a:lnTo>
                    <a:pt x="1379" y="2526"/>
                  </a:lnTo>
                  <a:lnTo>
                    <a:pt x="1386" y="2523"/>
                  </a:lnTo>
                  <a:lnTo>
                    <a:pt x="1387" y="2522"/>
                  </a:lnTo>
                  <a:lnTo>
                    <a:pt x="1389" y="2521"/>
                  </a:lnTo>
                  <a:lnTo>
                    <a:pt x="1390" y="2521"/>
                  </a:lnTo>
                  <a:lnTo>
                    <a:pt x="1398" y="2516"/>
                  </a:lnTo>
                  <a:lnTo>
                    <a:pt x="1404" y="2509"/>
                  </a:lnTo>
                  <a:lnTo>
                    <a:pt x="1410" y="2502"/>
                  </a:lnTo>
                  <a:lnTo>
                    <a:pt x="1416" y="2493"/>
                  </a:lnTo>
                  <a:lnTo>
                    <a:pt x="1420" y="2481"/>
                  </a:lnTo>
                  <a:lnTo>
                    <a:pt x="1424" y="2469"/>
                  </a:lnTo>
                  <a:lnTo>
                    <a:pt x="1427" y="2456"/>
                  </a:lnTo>
                  <a:lnTo>
                    <a:pt x="1431" y="2441"/>
                  </a:lnTo>
                  <a:lnTo>
                    <a:pt x="1433" y="2425"/>
                  </a:lnTo>
                  <a:lnTo>
                    <a:pt x="1435" y="2407"/>
                  </a:lnTo>
                  <a:lnTo>
                    <a:pt x="1436" y="2389"/>
                  </a:lnTo>
                  <a:lnTo>
                    <a:pt x="1436" y="2368"/>
                  </a:lnTo>
                  <a:lnTo>
                    <a:pt x="1435" y="2325"/>
                  </a:lnTo>
                  <a:lnTo>
                    <a:pt x="1431" y="2276"/>
                  </a:lnTo>
                  <a:lnTo>
                    <a:pt x="1427" y="2245"/>
                  </a:lnTo>
                  <a:lnTo>
                    <a:pt x="1422" y="2213"/>
                  </a:lnTo>
                  <a:lnTo>
                    <a:pt x="1417" y="2180"/>
                  </a:lnTo>
                  <a:lnTo>
                    <a:pt x="1411" y="2145"/>
                  </a:lnTo>
                  <a:lnTo>
                    <a:pt x="1403" y="2110"/>
                  </a:lnTo>
                  <a:lnTo>
                    <a:pt x="1394" y="2073"/>
                  </a:lnTo>
                  <a:lnTo>
                    <a:pt x="1385" y="2035"/>
                  </a:lnTo>
                  <a:lnTo>
                    <a:pt x="1375" y="1997"/>
                  </a:lnTo>
                  <a:lnTo>
                    <a:pt x="1364" y="1957"/>
                  </a:lnTo>
                  <a:lnTo>
                    <a:pt x="1351" y="1917"/>
                  </a:lnTo>
                  <a:lnTo>
                    <a:pt x="1339" y="1875"/>
                  </a:lnTo>
                  <a:lnTo>
                    <a:pt x="1324" y="1833"/>
                  </a:lnTo>
                  <a:lnTo>
                    <a:pt x="1310" y="1790"/>
                  </a:lnTo>
                  <a:lnTo>
                    <a:pt x="1294" y="1746"/>
                  </a:lnTo>
                  <a:lnTo>
                    <a:pt x="1277" y="1702"/>
                  </a:lnTo>
                  <a:lnTo>
                    <a:pt x="1260" y="1657"/>
                  </a:lnTo>
                  <a:lnTo>
                    <a:pt x="1237" y="1602"/>
                  </a:lnTo>
                  <a:lnTo>
                    <a:pt x="1214" y="1547"/>
                  </a:lnTo>
                  <a:lnTo>
                    <a:pt x="1189" y="1490"/>
                  </a:lnTo>
                  <a:lnTo>
                    <a:pt x="1163" y="1433"/>
                  </a:lnTo>
                  <a:lnTo>
                    <a:pt x="1135" y="1374"/>
                  </a:lnTo>
                  <a:lnTo>
                    <a:pt x="1107" y="1316"/>
                  </a:lnTo>
                  <a:lnTo>
                    <a:pt x="1077" y="1257"/>
                  </a:lnTo>
                  <a:lnTo>
                    <a:pt x="1046" y="1197"/>
                  </a:lnTo>
                  <a:lnTo>
                    <a:pt x="1045" y="1195"/>
                  </a:lnTo>
                  <a:lnTo>
                    <a:pt x="1043" y="1192"/>
                  </a:lnTo>
                  <a:lnTo>
                    <a:pt x="1012" y="1130"/>
                  </a:lnTo>
                  <a:lnTo>
                    <a:pt x="980" y="1070"/>
                  </a:lnTo>
                  <a:lnTo>
                    <a:pt x="948" y="1011"/>
                  </a:lnTo>
                  <a:lnTo>
                    <a:pt x="917" y="954"/>
                  </a:lnTo>
                  <a:lnTo>
                    <a:pt x="884" y="898"/>
                  </a:lnTo>
                  <a:lnTo>
                    <a:pt x="851" y="843"/>
                  </a:lnTo>
                  <a:lnTo>
                    <a:pt x="818" y="791"/>
                  </a:lnTo>
                  <a:lnTo>
                    <a:pt x="786" y="739"/>
                  </a:lnTo>
                  <a:lnTo>
                    <a:pt x="753" y="690"/>
                  </a:lnTo>
                  <a:lnTo>
                    <a:pt x="720" y="641"/>
                  </a:lnTo>
                  <a:lnTo>
                    <a:pt x="687" y="596"/>
                  </a:lnTo>
                  <a:lnTo>
                    <a:pt x="655" y="552"/>
                  </a:lnTo>
                  <a:lnTo>
                    <a:pt x="622" y="509"/>
                  </a:lnTo>
                  <a:lnTo>
                    <a:pt x="590" y="469"/>
                  </a:lnTo>
                  <a:lnTo>
                    <a:pt x="559" y="431"/>
                  </a:lnTo>
                  <a:lnTo>
                    <a:pt x="528" y="395"/>
                  </a:lnTo>
                  <a:close/>
                  <a:moveTo>
                    <a:pt x="1455" y="2679"/>
                  </a:moveTo>
                  <a:lnTo>
                    <a:pt x="1454" y="2679"/>
                  </a:lnTo>
                  <a:lnTo>
                    <a:pt x="1455" y="26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4" name="Freeform 39"/>
            <p:cNvSpPr>
              <a:spLocks noChangeArrowheads="1"/>
            </p:cNvSpPr>
            <p:nvPr userDrawn="1"/>
          </p:nvSpPr>
          <p:spPr bwMode="auto">
            <a:xfrm>
              <a:off x="7094538" y="2387760"/>
              <a:ext cx="639762" cy="1399955"/>
            </a:xfrm>
            <a:custGeom>
              <a:avLst/>
              <a:gdLst>
                <a:gd name="T0" fmla="*/ 138 w 1435"/>
                <a:gd name="T1" fmla="*/ 0 h 2526"/>
                <a:gd name="T2" fmla="*/ 201 w 1435"/>
                <a:gd name="T3" fmla="*/ 9 h 2526"/>
                <a:gd name="T4" fmla="*/ 273 w 1435"/>
                <a:gd name="T5" fmla="*/ 44 h 2526"/>
                <a:gd name="T6" fmla="*/ 355 w 1435"/>
                <a:gd name="T7" fmla="*/ 104 h 2526"/>
                <a:gd name="T8" fmla="*/ 444 w 1435"/>
                <a:gd name="T9" fmla="*/ 186 h 2526"/>
                <a:gd name="T10" fmla="*/ 539 w 1435"/>
                <a:gd name="T11" fmla="*/ 290 h 2526"/>
                <a:gd name="T12" fmla="*/ 637 w 1435"/>
                <a:gd name="T13" fmla="*/ 414 h 2526"/>
                <a:gd name="T14" fmla="*/ 738 w 1435"/>
                <a:gd name="T15" fmla="*/ 556 h 2526"/>
                <a:gd name="T16" fmla="*/ 839 w 1435"/>
                <a:gd name="T17" fmla="*/ 714 h 2526"/>
                <a:gd name="T18" fmla="*/ 939 w 1435"/>
                <a:gd name="T19" fmla="*/ 886 h 2526"/>
                <a:gd name="T20" fmla="*/ 1037 w 1435"/>
                <a:gd name="T21" fmla="*/ 1072 h 2526"/>
                <a:gd name="T22" fmla="*/ 1136 w 1435"/>
                <a:gd name="T23" fmla="*/ 1273 h 2526"/>
                <a:gd name="T24" fmla="*/ 1224 w 1435"/>
                <a:gd name="T25" fmla="*/ 1467 h 2526"/>
                <a:gd name="T26" fmla="*/ 1296 w 1435"/>
                <a:gd name="T27" fmla="*/ 1651 h 2526"/>
                <a:gd name="T28" fmla="*/ 1354 w 1435"/>
                <a:gd name="T29" fmla="*/ 1824 h 2526"/>
                <a:gd name="T30" fmla="*/ 1396 w 1435"/>
                <a:gd name="T31" fmla="*/ 1984 h 2526"/>
                <a:gd name="T32" fmla="*/ 1424 w 1435"/>
                <a:gd name="T33" fmla="*/ 2127 h 2526"/>
                <a:gd name="T34" fmla="*/ 1435 w 1435"/>
                <a:gd name="T35" fmla="*/ 2253 h 2526"/>
                <a:gd name="T36" fmla="*/ 1430 w 1435"/>
                <a:gd name="T37" fmla="*/ 2357 h 2526"/>
                <a:gd name="T38" fmla="*/ 1407 w 1435"/>
                <a:gd name="T39" fmla="*/ 2439 h 2526"/>
                <a:gd name="T40" fmla="*/ 1369 w 1435"/>
                <a:gd name="T41" fmla="*/ 2494 h 2526"/>
                <a:gd name="T42" fmla="*/ 1317 w 1435"/>
                <a:gd name="T43" fmla="*/ 2523 h 2526"/>
                <a:gd name="T44" fmla="*/ 1257 w 1435"/>
                <a:gd name="T45" fmla="*/ 2523 h 2526"/>
                <a:gd name="T46" fmla="*/ 1184 w 1435"/>
                <a:gd name="T47" fmla="*/ 2496 h 2526"/>
                <a:gd name="T48" fmla="*/ 1100 w 1435"/>
                <a:gd name="T49" fmla="*/ 2444 h 2526"/>
                <a:gd name="T50" fmla="*/ 1008 w 1435"/>
                <a:gd name="T51" fmla="*/ 2368 h 2526"/>
                <a:gd name="T52" fmla="*/ 910 w 1435"/>
                <a:gd name="T53" fmla="*/ 2268 h 2526"/>
                <a:gd name="T54" fmla="*/ 806 w 1435"/>
                <a:gd name="T55" fmla="*/ 2147 h 2526"/>
                <a:gd name="T56" fmla="*/ 701 w 1435"/>
                <a:gd name="T57" fmla="*/ 2006 h 2526"/>
                <a:gd name="T58" fmla="*/ 595 w 1435"/>
                <a:gd name="T59" fmla="*/ 1846 h 2526"/>
                <a:gd name="T60" fmla="*/ 491 w 1435"/>
                <a:gd name="T61" fmla="*/ 1671 h 2526"/>
                <a:gd name="T62" fmla="*/ 391 w 1435"/>
                <a:gd name="T63" fmla="*/ 1479 h 2526"/>
                <a:gd name="T64" fmla="*/ 297 w 1435"/>
                <a:gd name="T65" fmla="*/ 1285 h 2526"/>
                <a:gd name="T66" fmla="*/ 216 w 1435"/>
                <a:gd name="T67" fmla="*/ 1099 h 2526"/>
                <a:gd name="T68" fmla="*/ 146 w 1435"/>
                <a:gd name="T69" fmla="*/ 918 h 2526"/>
                <a:gd name="T70" fmla="*/ 89 w 1435"/>
                <a:gd name="T71" fmla="*/ 746 h 2526"/>
                <a:gd name="T72" fmla="*/ 46 w 1435"/>
                <a:gd name="T73" fmla="*/ 586 h 2526"/>
                <a:gd name="T74" fmla="*/ 16 w 1435"/>
                <a:gd name="T75" fmla="*/ 441 h 2526"/>
                <a:gd name="T76" fmla="*/ 1 w 1435"/>
                <a:gd name="T77" fmla="*/ 311 h 2526"/>
                <a:gd name="T78" fmla="*/ 2 w 1435"/>
                <a:gd name="T79" fmla="*/ 201 h 2526"/>
                <a:gd name="T80" fmla="*/ 20 w 1435"/>
                <a:gd name="T81" fmla="*/ 112 h 2526"/>
                <a:gd name="T82" fmla="*/ 53 w 1435"/>
                <a:gd name="T83" fmla="*/ 47 h 2526"/>
                <a:gd name="T84" fmla="*/ 104 w 1435"/>
                <a:gd name="T85" fmla="*/ 9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35" h="2526">
                  <a:moveTo>
                    <a:pt x="104" y="9"/>
                  </a:moveTo>
                  <a:lnTo>
                    <a:pt x="121" y="3"/>
                  </a:lnTo>
                  <a:lnTo>
                    <a:pt x="138" y="0"/>
                  </a:lnTo>
                  <a:lnTo>
                    <a:pt x="158" y="0"/>
                  </a:lnTo>
                  <a:lnTo>
                    <a:pt x="179" y="3"/>
                  </a:lnTo>
                  <a:lnTo>
                    <a:pt x="201" y="9"/>
                  </a:lnTo>
                  <a:lnTo>
                    <a:pt x="224" y="17"/>
                  </a:lnTo>
                  <a:lnTo>
                    <a:pt x="249" y="30"/>
                  </a:lnTo>
                  <a:lnTo>
                    <a:pt x="273" y="44"/>
                  </a:lnTo>
                  <a:lnTo>
                    <a:pt x="300" y="62"/>
                  </a:lnTo>
                  <a:lnTo>
                    <a:pt x="327" y="81"/>
                  </a:lnTo>
                  <a:lnTo>
                    <a:pt x="355" y="104"/>
                  </a:lnTo>
                  <a:lnTo>
                    <a:pt x="385" y="129"/>
                  </a:lnTo>
                  <a:lnTo>
                    <a:pt x="413" y="156"/>
                  </a:lnTo>
                  <a:lnTo>
                    <a:pt x="444" y="186"/>
                  </a:lnTo>
                  <a:lnTo>
                    <a:pt x="475" y="219"/>
                  </a:lnTo>
                  <a:lnTo>
                    <a:pt x="507" y="253"/>
                  </a:lnTo>
                  <a:lnTo>
                    <a:pt x="539" y="290"/>
                  </a:lnTo>
                  <a:lnTo>
                    <a:pt x="571" y="330"/>
                  </a:lnTo>
                  <a:lnTo>
                    <a:pt x="604" y="371"/>
                  </a:lnTo>
                  <a:lnTo>
                    <a:pt x="637" y="414"/>
                  </a:lnTo>
                  <a:lnTo>
                    <a:pt x="671" y="460"/>
                  </a:lnTo>
                  <a:lnTo>
                    <a:pt x="704" y="507"/>
                  </a:lnTo>
                  <a:lnTo>
                    <a:pt x="738" y="556"/>
                  </a:lnTo>
                  <a:lnTo>
                    <a:pt x="772" y="607"/>
                  </a:lnTo>
                  <a:lnTo>
                    <a:pt x="805" y="660"/>
                  </a:lnTo>
                  <a:lnTo>
                    <a:pt x="839" y="714"/>
                  </a:lnTo>
                  <a:lnTo>
                    <a:pt x="873" y="770"/>
                  </a:lnTo>
                  <a:lnTo>
                    <a:pt x="906" y="828"/>
                  </a:lnTo>
                  <a:lnTo>
                    <a:pt x="939" y="886"/>
                  </a:lnTo>
                  <a:lnTo>
                    <a:pt x="972" y="947"/>
                  </a:lnTo>
                  <a:lnTo>
                    <a:pt x="1005" y="1009"/>
                  </a:lnTo>
                  <a:lnTo>
                    <a:pt x="1037" y="1072"/>
                  </a:lnTo>
                  <a:lnTo>
                    <a:pt x="1072" y="1140"/>
                  </a:lnTo>
                  <a:lnTo>
                    <a:pt x="1104" y="1207"/>
                  </a:lnTo>
                  <a:lnTo>
                    <a:pt x="1136" y="1273"/>
                  </a:lnTo>
                  <a:lnTo>
                    <a:pt x="1167" y="1338"/>
                  </a:lnTo>
                  <a:lnTo>
                    <a:pt x="1196" y="1403"/>
                  </a:lnTo>
                  <a:lnTo>
                    <a:pt x="1224" y="1467"/>
                  </a:lnTo>
                  <a:lnTo>
                    <a:pt x="1250" y="1530"/>
                  </a:lnTo>
                  <a:lnTo>
                    <a:pt x="1273" y="1590"/>
                  </a:lnTo>
                  <a:lnTo>
                    <a:pt x="1296" y="1651"/>
                  </a:lnTo>
                  <a:lnTo>
                    <a:pt x="1317" y="1710"/>
                  </a:lnTo>
                  <a:lnTo>
                    <a:pt x="1336" y="1768"/>
                  </a:lnTo>
                  <a:lnTo>
                    <a:pt x="1354" y="1824"/>
                  </a:lnTo>
                  <a:lnTo>
                    <a:pt x="1369" y="1879"/>
                  </a:lnTo>
                  <a:lnTo>
                    <a:pt x="1384" y="1933"/>
                  </a:lnTo>
                  <a:lnTo>
                    <a:pt x="1396" y="1984"/>
                  </a:lnTo>
                  <a:lnTo>
                    <a:pt x="1407" y="2034"/>
                  </a:lnTo>
                  <a:lnTo>
                    <a:pt x="1417" y="2082"/>
                  </a:lnTo>
                  <a:lnTo>
                    <a:pt x="1424" y="2127"/>
                  </a:lnTo>
                  <a:lnTo>
                    <a:pt x="1429" y="2172"/>
                  </a:lnTo>
                  <a:lnTo>
                    <a:pt x="1433" y="2213"/>
                  </a:lnTo>
                  <a:lnTo>
                    <a:pt x="1435" y="2253"/>
                  </a:lnTo>
                  <a:lnTo>
                    <a:pt x="1435" y="2290"/>
                  </a:lnTo>
                  <a:lnTo>
                    <a:pt x="1433" y="2325"/>
                  </a:lnTo>
                  <a:lnTo>
                    <a:pt x="1430" y="2357"/>
                  </a:lnTo>
                  <a:lnTo>
                    <a:pt x="1424" y="2387"/>
                  </a:lnTo>
                  <a:lnTo>
                    <a:pt x="1417" y="2414"/>
                  </a:lnTo>
                  <a:lnTo>
                    <a:pt x="1407" y="2439"/>
                  </a:lnTo>
                  <a:lnTo>
                    <a:pt x="1397" y="2460"/>
                  </a:lnTo>
                  <a:lnTo>
                    <a:pt x="1384" y="2479"/>
                  </a:lnTo>
                  <a:lnTo>
                    <a:pt x="1369" y="2494"/>
                  </a:lnTo>
                  <a:lnTo>
                    <a:pt x="1352" y="2508"/>
                  </a:lnTo>
                  <a:lnTo>
                    <a:pt x="1333" y="2517"/>
                  </a:lnTo>
                  <a:lnTo>
                    <a:pt x="1317" y="2523"/>
                  </a:lnTo>
                  <a:lnTo>
                    <a:pt x="1298" y="2526"/>
                  </a:lnTo>
                  <a:lnTo>
                    <a:pt x="1278" y="2526"/>
                  </a:lnTo>
                  <a:lnTo>
                    <a:pt x="1257" y="2523"/>
                  </a:lnTo>
                  <a:lnTo>
                    <a:pt x="1233" y="2518"/>
                  </a:lnTo>
                  <a:lnTo>
                    <a:pt x="1210" y="2509"/>
                  </a:lnTo>
                  <a:lnTo>
                    <a:pt x="1184" y="2496"/>
                  </a:lnTo>
                  <a:lnTo>
                    <a:pt x="1157" y="2482"/>
                  </a:lnTo>
                  <a:lnTo>
                    <a:pt x="1129" y="2465"/>
                  </a:lnTo>
                  <a:lnTo>
                    <a:pt x="1100" y="2444"/>
                  </a:lnTo>
                  <a:lnTo>
                    <a:pt x="1071" y="2421"/>
                  </a:lnTo>
                  <a:lnTo>
                    <a:pt x="1040" y="2395"/>
                  </a:lnTo>
                  <a:lnTo>
                    <a:pt x="1008" y="2368"/>
                  </a:lnTo>
                  <a:lnTo>
                    <a:pt x="976" y="2337"/>
                  </a:lnTo>
                  <a:lnTo>
                    <a:pt x="943" y="2304"/>
                  </a:lnTo>
                  <a:lnTo>
                    <a:pt x="910" y="2268"/>
                  </a:lnTo>
                  <a:lnTo>
                    <a:pt x="875" y="2229"/>
                  </a:lnTo>
                  <a:lnTo>
                    <a:pt x="841" y="2189"/>
                  </a:lnTo>
                  <a:lnTo>
                    <a:pt x="806" y="2147"/>
                  </a:lnTo>
                  <a:lnTo>
                    <a:pt x="771" y="2102"/>
                  </a:lnTo>
                  <a:lnTo>
                    <a:pt x="736" y="2055"/>
                  </a:lnTo>
                  <a:lnTo>
                    <a:pt x="701" y="2006"/>
                  </a:lnTo>
                  <a:lnTo>
                    <a:pt x="665" y="1954"/>
                  </a:lnTo>
                  <a:lnTo>
                    <a:pt x="630" y="1902"/>
                  </a:lnTo>
                  <a:lnTo>
                    <a:pt x="595" y="1846"/>
                  </a:lnTo>
                  <a:lnTo>
                    <a:pt x="560" y="1789"/>
                  </a:lnTo>
                  <a:lnTo>
                    <a:pt x="525" y="1731"/>
                  </a:lnTo>
                  <a:lnTo>
                    <a:pt x="491" y="1671"/>
                  </a:lnTo>
                  <a:lnTo>
                    <a:pt x="457" y="1608"/>
                  </a:lnTo>
                  <a:lnTo>
                    <a:pt x="423" y="1544"/>
                  </a:lnTo>
                  <a:lnTo>
                    <a:pt x="391" y="1479"/>
                  </a:lnTo>
                  <a:lnTo>
                    <a:pt x="358" y="1412"/>
                  </a:lnTo>
                  <a:lnTo>
                    <a:pt x="327" y="1348"/>
                  </a:lnTo>
                  <a:lnTo>
                    <a:pt x="297" y="1285"/>
                  </a:lnTo>
                  <a:lnTo>
                    <a:pt x="268" y="1222"/>
                  </a:lnTo>
                  <a:lnTo>
                    <a:pt x="241" y="1159"/>
                  </a:lnTo>
                  <a:lnTo>
                    <a:pt x="216" y="1099"/>
                  </a:lnTo>
                  <a:lnTo>
                    <a:pt x="191" y="1037"/>
                  </a:lnTo>
                  <a:lnTo>
                    <a:pt x="167" y="977"/>
                  </a:lnTo>
                  <a:lnTo>
                    <a:pt x="146" y="918"/>
                  </a:lnTo>
                  <a:lnTo>
                    <a:pt x="125" y="859"/>
                  </a:lnTo>
                  <a:lnTo>
                    <a:pt x="106" y="803"/>
                  </a:lnTo>
                  <a:lnTo>
                    <a:pt x="89" y="746"/>
                  </a:lnTo>
                  <a:lnTo>
                    <a:pt x="72" y="691"/>
                  </a:lnTo>
                  <a:lnTo>
                    <a:pt x="58" y="639"/>
                  </a:lnTo>
                  <a:lnTo>
                    <a:pt x="46" y="586"/>
                  </a:lnTo>
                  <a:lnTo>
                    <a:pt x="34" y="536"/>
                  </a:lnTo>
                  <a:lnTo>
                    <a:pt x="24" y="487"/>
                  </a:lnTo>
                  <a:lnTo>
                    <a:pt x="16" y="441"/>
                  </a:lnTo>
                  <a:lnTo>
                    <a:pt x="10" y="396"/>
                  </a:lnTo>
                  <a:lnTo>
                    <a:pt x="4" y="352"/>
                  </a:lnTo>
                  <a:lnTo>
                    <a:pt x="1" y="311"/>
                  </a:lnTo>
                  <a:lnTo>
                    <a:pt x="0" y="272"/>
                  </a:lnTo>
                  <a:lnTo>
                    <a:pt x="0" y="236"/>
                  </a:lnTo>
                  <a:lnTo>
                    <a:pt x="2" y="201"/>
                  </a:lnTo>
                  <a:lnTo>
                    <a:pt x="7" y="169"/>
                  </a:lnTo>
                  <a:lnTo>
                    <a:pt x="12" y="139"/>
                  </a:lnTo>
                  <a:lnTo>
                    <a:pt x="20" y="112"/>
                  </a:lnTo>
                  <a:lnTo>
                    <a:pt x="29" y="87"/>
                  </a:lnTo>
                  <a:lnTo>
                    <a:pt x="41" y="66"/>
                  </a:lnTo>
                  <a:lnTo>
                    <a:pt x="53" y="47"/>
                  </a:lnTo>
                  <a:lnTo>
                    <a:pt x="68" y="32"/>
                  </a:lnTo>
                  <a:lnTo>
                    <a:pt x="85" y="19"/>
                  </a:lnTo>
                  <a:lnTo>
                    <a:pt x="104" y="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5" name="Freeform 40"/>
            <p:cNvSpPr>
              <a:spLocks noChangeArrowheads="1"/>
            </p:cNvSpPr>
            <p:nvPr userDrawn="1"/>
          </p:nvSpPr>
          <p:spPr bwMode="auto">
            <a:xfrm>
              <a:off x="7439025" y="2040457"/>
              <a:ext cx="423863" cy="1818868"/>
            </a:xfrm>
            <a:custGeom>
              <a:avLst/>
              <a:gdLst>
                <a:gd name="T0" fmla="*/ 483 w 947"/>
                <a:gd name="T1" fmla="*/ 8 h 3274"/>
                <a:gd name="T2" fmla="*/ 573 w 947"/>
                <a:gd name="T3" fmla="*/ 62 h 3274"/>
                <a:gd name="T4" fmla="*/ 656 w 947"/>
                <a:gd name="T5" fmla="*/ 161 h 3274"/>
                <a:gd name="T6" fmla="*/ 731 w 947"/>
                <a:gd name="T7" fmla="*/ 302 h 3274"/>
                <a:gd name="T8" fmla="*/ 847 w 947"/>
                <a:gd name="T9" fmla="*/ 678 h 3274"/>
                <a:gd name="T10" fmla="*/ 919 w 947"/>
                <a:gd name="T11" fmla="*/ 1147 h 3274"/>
                <a:gd name="T12" fmla="*/ 940 w 947"/>
                <a:gd name="T13" fmla="*/ 1612 h 3274"/>
                <a:gd name="T14" fmla="*/ 945 w 947"/>
                <a:gd name="T15" fmla="*/ 1750 h 3274"/>
                <a:gd name="T16" fmla="*/ 944 w 947"/>
                <a:gd name="T17" fmla="*/ 2013 h 3274"/>
                <a:gd name="T18" fmla="*/ 911 w 947"/>
                <a:gd name="T19" fmla="*/ 2456 h 3274"/>
                <a:gd name="T20" fmla="*/ 843 w 947"/>
                <a:gd name="T21" fmla="*/ 2822 h 3274"/>
                <a:gd name="T22" fmla="*/ 765 w 947"/>
                <a:gd name="T23" fmla="*/ 3047 h 3274"/>
                <a:gd name="T24" fmla="*/ 687 w 947"/>
                <a:gd name="T25" fmla="*/ 3176 h 3274"/>
                <a:gd name="T26" fmla="*/ 610 w 947"/>
                <a:gd name="T27" fmla="*/ 3247 h 3274"/>
                <a:gd name="T28" fmla="*/ 524 w 947"/>
                <a:gd name="T29" fmla="*/ 3274 h 3274"/>
                <a:gd name="T30" fmla="*/ 509 w 947"/>
                <a:gd name="T31" fmla="*/ 3274 h 3274"/>
                <a:gd name="T32" fmla="*/ 424 w 947"/>
                <a:gd name="T33" fmla="*/ 3249 h 3274"/>
                <a:gd name="T34" fmla="*/ 338 w 947"/>
                <a:gd name="T35" fmla="*/ 3176 h 3274"/>
                <a:gd name="T36" fmla="*/ 257 w 947"/>
                <a:gd name="T37" fmla="*/ 3058 h 3274"/>
                <a:gd name="T38" fmla="*/ 186 w 947"/>
                <a:gd name="T39" fmla="*/ 2901 h 3274"/>
                <a:gd name="T40" fmla="*/ 86 w 947"/>
                <a:gd name="T41" fmla="*/ 2535 h 3274"/>
                <a:gd name="T42" fmla="*/ 22 w 947"/>
                <a:gd name="T43" fmla="*/ 2052 h 3274"/>
                <a:gd name="T44" fmla="*/ 6 w 947"/>
                <a:gd name="T45" fmla="*/ 1662 h 3274"/>
                <a:gd name="T46" fmla="*/ 1 w 947"/>
                <a:gd name="T47" fmla="*/ 1492 h 3274"/>
                <a:gd name="T48" fmla="*/ 7 w 947"/>
                <a:gd name="T49" fmla="*/ 1128 h 3274"/>
                <a:gd name="T50" fmla="*/ 50 w 947"/>
                <a:gd name="T51" fmla="*/ 704 h 3274"/>
                <a:gd name="T52" fmla="*/ 132 w 947"/>
                <a:gd name="T53" fmla="*/ 354 h 3274"/>
                <a:gd name="T54" fmla="*/ 209 w 947"/>
                <a:gd name="T55" fmla="*/ 173 h 3274"/>
                <a:gd name="T56" fmla="*/ 280 w 947"/>
                <a:gd name="T57" fmla="*/ 74 h 3274"/>
                <a:gd name="T58" fmla="*/ 360 w 947"/>
                <a:gd name="T59" fmla="*/ 15 h 3274"/>
                <a:gd name="T60" fmla="*/ 430 w 947"/>
                <a:gd name="T61" fmla="*/ 0 h 3274"/>
                <a:gd name="T62" fmla="*/ 425 w 947"/>
                <a:gd name="T63" fmla="*/ 172 h 3274"/>
                <a:gd name="T64" fmla="*/ 370 w 947"/>
                <a:gd name="T65" fmla="*/ 223 h 3274"/>
                <a:gd name="T66" fmla="*/ 298 w 947"/>
                <a:gd name="T67" fmla="*/ 392 h 3274"/>
                <a:gd name="T68" fmla="*/ 228 w 947"/>
                <a:gd name="T69" fmla="*/ 682 h 3274"/>
                <a:gd name="T70" fmla="*/ 181 w 947"/>
                <a:gd name="T71" fmla="*/ 1076 h 3274"/>
                <a:gd name="T72" fmla="*/ 171 w 947"/>
                <a:gd name="T73" fmla="*/ 1461 h 3274"/>
                <a:gd name="T74" fmla="*/ 178 w 947"/>
                <a:gd name="T75" fmla="*/ 1659 h 3274"/>
                <a:gd name="T76" fmla="*/ 191 w 947"/>
                <a:gd name="T77" fmla="*/ 2037 h 3274"/>
                <a:gd name="T78" fmla="*/ 253 w 947"/>
                <a:gd name="T79" fmla="*/ 2499 h 3274"/>
                <a:gd name="T80" fmla="*/ 344 w 947"/>
                <a:gd name="T81" fmla="*/ 2840 h 3274"/>
                <a:gd name="T82" fmla="*/ 437 w 947"/>
                <a:gd name="T83" fmla="*/ 3040 h 3274"/>
                <a:gd name="T84" fmla="*/ 493 w 947"/>
                <a:gd name="T85" fmla="*/ 3098 h 3274"/>
                <a:gd name="T86" fmla="*/ 516 w 947"/>
                <a:gd name="T87" fmla="*/ 3103 h 3274"/>
                <a:gd name="T88" fmla="*/ 551 w 947"/>
                <a:gd name="T89" fmla="*/ 3084 h 3274"/>
                <a:gd name="T90" fmla="*/ 618 w 947"/>
                <a:gd name="T91" fmla="*/ 2969 h 3274"/>
                <a:gd name="T92" fmla="*/ 679 w 947"/>
                <a:gd name="T93" fmla="*/ 2779 h 3274"/>
                <a:gd name="T94" fmla="*/ 744 w 947"/>
                <a:gd name="T95" fmla="*/ 2432 h 3274"/>
                <a:gd name="T96" fmla="*/ 774 w 947"/>
                <a:gd name="T97" fmla="*/ 2007 h 3274"/>
                <a:gd name="T98" fmla="*/ 774 w 947"/>
                <a:gd name="T99" fmla="*/ 1750 h 3274"/>
                <a:gd name="T100" fmla="*/ 769 w 947"/>
                <a:gd name="T101" fmla="*/ 1612 h 3274"/>
                <a:gd name="T102" fmla="*/ 749 w 947"/>
                <a:gd name="T103" fmla="*/ 1166 h 3274"/>
                <a:gd name="T104" fmla="*/ 681 w 947"/>
                <a:gd name="T105" fmla="*/ 717 h 3274"/>
                <a:gd name="T106" fmla="*/ 589 w 947"/>
                <a:gd name="T107" fmla="*/ 399 h 3274"/>
                <a:gd name="T108" fmla="*/ 497 w 947"/>
                <a:gd name="T109" fmla="*/ 216 h 3274"/>
                <a:gd name="T110" fmla="*/ 436 w 947"/>
                <a:gd name="T111" fmla="*/ 171 h 3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7" h="3274">
                  <a:moveTo>
                    <a:pt x="430" y="0"/>
                  </a:moveTo>
                  <a:lnTo>
                    <a:pt x="431" y="0"/>
                  </a:lnTo>
                  <a:lnTo>
                    <a:pt x="438" y="0"/>
                  </a:lnTo>
                  <a:lnTo>
                    <a:pt x="443" y="1"/>
                  </a:lnTo>
                  <a:lnTo>
                    <a:pt x="456" y="2"/>
                  </a:lnTo>
                  <a:lnTo>
                    <a:pt x="470" y="5"/>
                  </a:lnTo>
                  <a:lnTo>
                    <a:pt x="483" y="8"/>
                  </a:lnTo>
                  <a:lnTo>
                    <a:pt x="496" y="13"/>
                  </a:lnTo>
                  <a:lnTo>
                    <a:pt x="509" y="19"/>
                  </a:lnTo>
                  <a:lnTo>
                    <a:pt x="522" y="26"/>
                  </a:lnTo>
                  <a:lnTo>
                    <a:pt x="534" y="33"/>
                  </a:lnTo>
                  <a:lnTo>
                    <a:pt x="548" y="41"/>
                  </a:lnTo>
                  <a:lnTo>
                    <a:pt x="560" y="51"/>
                  </a:lnTo>
                  <a:lnTo>
                    <a:pt x="573" y="62"/>
                  </a:lnTo>
                  <a:lnTo>
                    <a:pt x="585" y="73"/>
                  </a:lnTo>
                  <a:lnTo>
                    <a:pt x="597" y="86"/>
                  </a:lnTo>
                  <a:lnTo>
                    <a:pt x="609" y="99"/>
                  </a:lnTo>
                  <a:lnTo>
                    <a:pt x="621" y="113"/>
                  </a:lnTo>
                  <a:lnTo>
                    <a:pt x="632" y="128"/>
                  </a:lnTo>
                  <a:lnTo>
                    <a:pt x="645" y="144"/>
                  </a:lnTo>
                  <a:lnTo>
                    <a:pt x="656" y="161"/>
                  </a:lnTo>
                  <a:lnTo>
                    <a:pt x="667" y="178"/>
                  </a:lnTo>
                  <a:lnTo>
                    <a:pt x="678" y="197"/>
                  </a:lnTo>
                  <a:lnTo>
                    <a:pt x="689" y="216"/>
                  </a:lnTo>
                  <a:lnTo>
                    <a:pt x="699" y="236"/>
                  </a:lnTo>
                  <a:lnTo>
                    <a:pt x="711" y="258"/>
                  </a:lnTo>
                  <a:lnTo>
                    <a:pt x="721" y="279"/>
                  </a:lnTo>
                  <a:lnTo>
                    <a:pt x="731" y="302"/>
                  </a:lnTo>
                  <a:lnTo>
                    <a:pt x="751" y="349"/>
                  </a:lnTo>
                  <a:lnTo>
                    <a:pt x="769" y="400"/>
                  </a:lnTo>
                  <a:lnTo>
                    <a:pt x="787" y="452"/>
                  </a:lnTo>
                  <a:lnTo>
                    <a:pt x="804" y="508"/>
                  </a:lnTo>
                  <a:lnTo>
                    <a:pt x="819" y="563"/>
                  </a:lnTo>
                  <a:lnTo>
                    <a:pt x="833" y="619"/>
                  </a:lnTo>
                  <a:lnTo>
                    <a:pt x="847" y="678"/>
                  </a:lnTo>
                  <a:lnTo>
                    <a:pt x="860" y="739"/>
                  </a:lnTo>
                  <a:lnTo>
                    <a:pt x="871" y="803"/>
                  </a:lnTo>
                  <a:lnTo>
                    <a:pt x="883" y="868"/>
                  </a:lnTo>
                  <a:lnTo>
                    <a:pt x="893" y="935"/>
                  </a:lnTo>
                  <a:lnTo>
                    <a:pt x="902" y="1004"/>
                  </a:lnTo>
                  <a:lnTo>
                    <a:pt x="910" y="1075"/>
                  </a:lnTo>
                  <a:lnTo>
                    <a:pt x="919" y="1147"/>
                  </a:lnTo>
                  <a:lnTo>
                    <a:pt x="925" y="1222"/>
                  </a:lnTo>
                  <a:lnTo>
                    <a:pt x="930" y="1297"/>
                  </a:lnTo>
                  <a:lnTo>
                    <a:pt x="934" y="1374"/>
                  </a:lnTo>
                  <a:lnTo>
                    <a:pt x="937" y="1452"/>
                  </a:lnTo>
                  <a:lnTo>
                    <a:pt x="939" y="1532"/>
                  </a:lnTo>
                  <a:lnTo>
                    <a:pt x="940" y="1612"/>
                  </a:lnTo>
                  <a:lnTo>
                    <a:pt x="940" y="1616"/>
                  </a:lnTo>
                  <a:lnTo>
                    <a:pt x="940" y="1619"/>
                  </a:lnTo>
                  <a:lnTo>
                    <a:pt x="942" y="1652"/>
                  </a:lnTo>
                  <a:lnTo>
                    <a:pt x="943" y="1685"/>
                  </a:lnTo>
                  <a:lnTo>
                    <a:pt x="944" y="1718"/>
                  </a:lnTo>
                  <a:lnTo>
                    <a:pt x="945" y="1750"/>
                  </a:lnTo>
                  <a:lnTo>
                    <a:pt x="946" y="1782"/>
                  </a:lnTo>
                  <a:lnTo>
                    <a:pt x="946" y="1814"/>
                  </a:lnTo>
                  <a:lnTo>
                    <a:pt x="946" y="1845"/>
                  </a:lnTo>
                  <a:lnTo>
                    <a:pt x="947" y="1876"/>
                  </a:lnTo>
                  <a:lnTo>
                    <a:pt x="946" y="1876"/>
                  </a:lnTo>
                  <a:lnTo>
                    <a:pt x="946" y="1945"/>
                  </a:lnTo>
                  <a:lnTo>
                    <a:pt x="944" y="2013"/>
                  </a:lnTo>
                  <a:lnTo>
                    <a:pt x="942" y="2080"/>
                  </a:lnTo>
                  <a:lnTo>
                    <a:pt x="939" y="2146"/>
                  </a:lnTo>
                  <a:lnTo>
                    <a:pt x="935" y="2211"/>
                  </a:lnTo>
                  <a:lnTo>
                    <a:pt x="931" y="2274"/>
                  </a:lnTo>
                  <a:lnTo>
                    <a:pt x="925" y="2337"/>
                  </a:lnTo>
                  <a:lnTo>
                    <a:pt x="919" y="2398"/>
                  </a:lnTo>
                  <a:lnTo>
                    <a:pt x="911" y="2456"/>
                  </a:lnTo>
                  <a:lnTo>
                    <a:pt x="904" y="2514"/>
                  </a:lnTo>
                  <a:lnTo>
                    <a:pt x="896" y="2571"/>
                  </a:lnTo>
                  <a:lnTo>
                    <a:pt x="887" y="2624"/>
                  </a:lnTo>
                  <a:lnTo>
                    <a:pt x="876" y="2677"/>
                  </a:lnTo>
                  <a:lnTo>
                    <a:pt x="866" y="2728"/>
                  </a:lnTo>
                  <a:lnTo>
                    <a:pt x="856" y="2776"/>
                  </a:lnTo>
                  <a:lnTo>
                    <a:pt x="843" y="2822"/>
                  </a:lnTo>
                  <a:lnTo>
                    <a:pt x="830" y="2873"/>
                  </a:lnTo>
                  <a:lnTo>
                    <a:pt x="815" y="2920"/>
                  </a:lnTo>
                  <a:lnTo>
                    <a:pt x="799" y="2966"/>
                  </a:lnTo>
                  <a:lnTo>
                    <a:pt x="783" y="3008"/>
                  </a:lnTo>
                  <a:lnTo>
                    <a:pt x="765" y="3047"/>
                  </a:lnTo>
                  <a:lnTo>
                    <a:pt x="747" y="3084"/>
                  </a:lnTo>
                  <a:lnTo>
                    <a:pt x="737" y="3102"/>
                  </a:lnTo>
                  <a:lnTo>
                    <a:pt x="728" y="3118"/>
                  </a:lnTo>
                  <a:lnTo>
                    <a:pt x="718" y="3134"/>
                  </a:lnTo>
                  <a:lnTo>
                    <a:pt x="709" y="3148"/>
                  </a:lnTo>
                  <a:lnTo>
                    <a:pt x="697" y="3163"/>
                  </a:lnTo>
                  <a:lnTo>
                    <a:pt x="687" y="3176"/>
                  </a:lnTo>
                  <a:lnTo>
                    <a:pt x="677" y="3189"/>
                  </a:lnTo>
                  <a:lnTo>
                    <a:pt x="666" y="3201"/>
                  </a:lnTo>
                  <a:lnTo>
                    <a:pt x="655" y="3212"/>
                  </a:lnTo>
                  <a:lnTo>
                    <a:pt x="644" y="3221"/>
                  </a:lnTo>
                  <a:lnTo>
                    <a:pt x="632" y="3231"/>
                  </a:lnTo>
                  <a:lnTo>
                    <a:pt x="621" y="3239"/>
                  </a:lnTo>
                  <a:lnTo>
                    <a:pt x="610" y="3247"/>
                  </a:lnTo>
                  <a:lnTo>
                    <a:pt x="597" y="3253"/>
                  </a:lnTo>
                  <a:lnTo>
                    <a:pt x="586" y="3259"/>
                  </a:lnTo>
                  <a:lnTo>
                    <a:pt x="574" y="3264"/>
                  </a:lnTo>
                  <a:lnTo>
                    <a:pt x="561" y="3268"/>
                  </a:lnTo>
                  <a:lnTo>
                    <a:pt x="549" y="3271"/>
                  </a:lnTo>
                  <a:lnTo>
                    <a:pt x="537" y="3273"/>
                  </a:lnTo>
                  <a:lnTo>
                    <a:pt x="524" y="3274"/>
                  </a:lnTo>
                  <a:lnTo>
                    <a:pt x="521" y="3274"/>
                  </a:lnTo>
                  <a:lnTo>
                    <a:pt x="517" y="3274"/>
                  </a:lnTo>
                  <a:lnTo>
                    <a:pt x="516" y="3274"/>
                  </a:lnTo>
                  <a:lnTo>
                    <a:pt x="515" y="3274"/>
                  </a:lnTo>
                  <a:lnTo>
                    <a:pt x="509" y="3274"/>
                  </a:lnTo>
                  <a:lnTo>
                    <a:pt x="504" y="3274"/>
                  </a:lnTo>
                  <a:lnTo>
                    <a:pt x="490" y="3272"/>
                  </a:lnTo>
                  <a:lnTo>
                    <a:pt x="477" y="3270"/>
                  </a:lnTo>
                  <a:lnTo>
                    <a:pt x="463" y="3266"/>
                  </a:lnTo>
                  <a:lnTo>
                    <a:pt x="450" y="3262"/>
                  </a:lnTo>
                  <a:lnTo>
                    <a:pt x="438" y="3255"/>
                  </a:lnTo>
                  <a:lnTo>
                    <a:pt x="424" y="3249"/>
                  </a:lnTo>
                  <a:lnTo>
                    <a:pt x="412" y="3242"/>
                  </a:lnTo>
                  <a:lnTo>
                    <a:pt x="400" y="3233"/>
                  </a:lnTo>
                  <a:lnTo>
                    <a:pt x="386" y="3223"/>
                  </a:lnTo>
                  <a:lnTo>
                    <a:pt x="374" y="3213"/>
                  </a:lnTo>
                  <a:lnTo>
                    <a:pt x="361" y="3202"/>
                  </a:lnTo>
                  <a:lnTo>
                    <a:pt x="349" y="3189"/>
                  </a:lnTo>
                  <a:lnTo>
                    <a:pt x="338" y="3176"/>
                  </a:lnTo>
                  <a:lnTo>
                    <a:pt x="325" y="3162"/>
                  </a:lnTo>
                  <a:lnTo>
                    <a:pt x="314" y="3147"/>
                  </a:lnTo>
                  <a:lnTo>
                    <a:pt x="303" y="3131"/>
                  </a:lnTo>
                  <a:lnTo>
                    <a:pt x="290" y="3114"/>
                  </a:lnTo>
                  <a:lnTo>
                    <a:pt x="280" y="3097"/>
                  </a:lnTo>
                  <a:lnTo>
                    <a:pt x="269" y="3078"/>
                  </a:lnTo>
                  <a:lnTo>
                    <a:pt x="257" y="3058"/>
                  </a:lnTo>
                  <a:lnTo>
                    <a:pt x="247" y="3038"/>
                  </a:lnTo>
                  <a:lnTo>
                    <a:pt x="236" y="3017"/>
                  </a:lnTo>
                  <a:lnTo>
                    <a:pt x="225" y="2996"/>
                  </a:lnTo>
                  <a:lnTo>
                    <a:pt x="216" y="2973"/>
                  </a:lnTo>
                  <a:lnTo>
                    <a:pt x="206" y="2949"/>
                  </a:lnTo>
                  <a:lnTo>
                    <a:pt x="196" y="2925"/>
                  </a:lnTo>
                  <a:lnTo>
                    <a:pt x="186" y="2901"/>
                  </a:lnTo>
                  <a:lnTo>
                    <a:pt x="177" y="2875"/>
                  </a:lnTo>
                  <a:lnTo>
                    <a:pt x="160" y="2822"/>
                  </a:lnTo>
                  <a:lnTo>
                    <a:pt x="142" y="2766"/>
                  </a:lnTo>
                  <a:lnTo>
                    <a:pt x="128" y="2712"/>
                  </a:lnTo>
                  <a:lnTo>
                    <a:pt x="113" y="2655"/>
                  </a:lnTo>
                  <a:lnTo>
                    <a:pt x="100" y="2597"/>
                  </a:lnTo>
                  <a:lnTo>
                    <a:pt x="86" y="2535"/>
                  </a:lnTo>
                  <a:lnTo>
                    <a:pt x="75" y="2472"/>
                  </a:lnTo>
                  <a:lnTo>
                    <a:pt x="64" y="2407"/>
                  </a:lnTo>
                  <a:lnTo>
                    <a:pt x="53" y="2339"/>
                  </a:lnTo>
                  <a:lnTo>
                    <a:pt x="44" y="2270"/>
                  </a:lnTo>
                  <a:lnTo>
                    <a:pt x="36" y="2200"/>
                  </a:lnTo>
                  <a:lnTo>
                    <a:pt x="28" y="2127"/>
                  </a:lnTo>
                  <a:lnTo>
                    <a:pt x="22" y="2052"/>
                  </a:lnTo>
                  <a:lnTo>
                    <a:pt x="16" y="1977"/>
                  </a:lnTo>
                  <a:lnTo>
                    <a:pt x="12" y="1901"/>
                  </a:lnTo>
                  <a:lnTo>
                    <a:pt x="9" y="1822"/>
                  </a:lnTo>
                  <a:lnTo>
                    <a:pt x="7" y="1743"/>
                  </a:lnTo>
                  <a:lnTo>
                    <a:pt x="7" y="1663"/>
                  </a:lnTo>
                  <a:lnTo>
                    <a:pt x="7" y="1662"/>
                  </a:lnTo>
                  <a:lnTo>
                    <a:pt x="6" y="1662"/>
                  </a:lnTo>
                  <a:lnTo>
                    <a:pt x="6" y="1659"/>
                  </a:lnTo>
                  <a:lnTo>
                    <a:pt x="6" y="1657"/>
                  </a:lnTo>
                  <a:lnTo>
                    <a:pt x="5" y="1623"/>
                  </a:lnTo>
                  <a:lnTo>
                    <a:pt x="3" y="1590"/>
                  </a:lnTo>
                  <a:lnTo>
                    <a:pt x="2" y="1557"/>
                  </a:lnTo>
                  <a:lnTo>
                    <a:pt x="1" y="1524"/>
                  </a:lnTo>
                  <a:lnTo>
                    <a:pt x="1" y="1492"/>
                  </a:lnTo>
                  <a:lnTo>
                    <a:pt x="0" y="1460"/>
                  </a:lnTo>
                  <a:lnTo>
                    <a:pt x="0" y="1428"/>
                  </a:lnTo>
                  <a:lnTo>
                    <a:pt x="0" y="1397"/>
                  </a:lnTo>
                  <a:lnTo>
                    <a:pt x="0" y="1328"/>
                  </a:lnTo>
                  <a:lnTo>
                    <a:pt x="2" y="1261"/>
                  </a:lnTo>
                  <a:lnTo>
                    <a:pt x="4" y="1194"/>
                  </a:lnTo>
                  <a:lnTo>
                    <a:pt x="7" y="1128"/>
                  </a:lnTo>
                  <a:lnTo>
                    <a:pt x="10" y="1063"/>
                  </a:lnTo>
                  <a:lnTo>
                    <a:pt x="15" y="999"/>
                  </a:lnTo>
                  <a:lnTo>
                    <a:pt x="22" y="937"/>
                  </a:lnTo>
                  <a:lnTo>
                    <a:pt x="28" y="876"/>
                  </a:lnTo>
                  <a:lnTo>
                    <a:pt x="35" y="817"/>
                  </a:lnTo>
                  <a:lnTo>
                    <a:pt x="42" y="760"/>
                  </a:lnTo>
                  <a:lnTo>
                    <a:pt x="50" y="704"/>
                  </a:lnTo>
                  <a:lnTo>
                    <a:pt x="60" y="649"/>
                  </a:lnTo>
                  <a:lnTo>
                    <a:pt x="70" y="597"/>
                  </a:lnTo>
                  <a:lnTo>
                    <a:pt x="80" y="546"/>
                  </a:lnTo>
                  <a:lnTo>
                    <a:pt x="92" y="498"/>
                  </a:lnTo>
                  <a:lnTo>
                    <a:pt x="103" y="450"/>
                  </a:lnTo>
                  <a:lnTo>
                    <a:pt x="116" y="401"/>
                  </a:lnTo>
                  <a:lnTo>
                    <a:pt x="132" y="354"/>
                  </a:lnTo>
                  <a:lnTo>
                    <a:pt x="147" y="308"/>
                  </a:lnTo>
                  <a:lnTo>
                    <a:pt x="164" y="266"/>
                  </a:lnTo>
                  <a:lnTo>
                    <a:pt x="172" y="246"/>
                  </a:lnTo>
                  <a:lnTo>
                    <a:pt x="181" y="227"/>
                  </a:lnTo>
                  <a:lnTo>
                    <a:pt x="190" y="208"/>
                  </a:lnTo>
                  <a:lnTo>
                    <a:pt x="200" y="190"/>
                  </a:lnTo>
                  <a:lnTo>
                    <a:pt x="209" y="173"/>
                  </a:lnTo>
                  <a:lnTo>
                    <a:pt x="218" y="157"/>
                  </a:lnTo>
                  <a:lnTo>
                    <a:pt x="229" y="141"/>
                  </a:lnTo>
                  <a:lnTo>
                    <a:pt x="239" y="126"/>
                  </a:lnTo>
                  <a:lnTo>
                    <a:pt x="248" y="111"/>
                  </a:lnTo>
                  <a:lnTo>
                    <a:pt x="259" y="98"/>
                  </a:lnTo>
                  <a:lnTo>
                    <a:pt x="270" y="86"/>
                  </a:lnTo>
                  <a:lnTo>
                    <a:pt x="280" y="74"/>
                  </a:lnTo>
                  <a:lnTo>
                    <a:pt x="291" y="63"/>
                  </a:lnTo>
                  <a:lnTo>
                    <a:pt x="303" y="53"/>
                  </a:lnTo>
                  <a:lnTo>
                    <a:pt x="314" y="43"/>
                  </a:lnTo>
                  <a:lnTo>
                    <a:pt x="325" y="35"/>
                  </a:lnTo>
                  <a:lnTo>
                    <a:pt x="337" y="28"/>
                  </a:lnTo>
                  <a:lnTo>
                    <a:pt x="348" y="21"/>
                  </a:lnTo>
                  <a:lnTo>
                    <a:pt x="360" y="15"/>
                  </a:lnTo>
                  <a:lnTo>
                    <a:pt x="373" y="10"/>
                  </a:lnTo>
                  <a:lnTo>
                    <a:pt x="385" y="6"/>
                  </a:lnTo>
                  <a:lnTo>
                    <a:pt x="397" y="3"/>
                  </a:lnTo>
                  <a:lnTo>
                    <a:pt x="410" y="1"/>
                  </a:lnTo>
                  <a:lnTo>
                    <a:pt x="422" y="0"/>
                  </a:lnTo>
                  <a:lnTo>
                    <a:pt x="428" y="0"/>
                  </a:lnTo>
                  <a:lnTo>
                    <a:pt x="430" y="0"/>
                  </a:lnTo>
                  <a:close/>
                  <a:moveTo>
                    <a:pt x="431" y="171"/>
                  </a:moveTo>
                  <a:lnTo>
                    <a:pt x="430" y="171"/>
                  </a:lnTo>
                  <a:lnTo>
                    <a:pt x="425" y="172"/>
                  </a:lnTo>
                  <a:lnTo>
                    <a:pt x="420" y="173"/>
                  </a:lnTo>
                  <a:lnTo>
                    <a:pt x="415" y="175"/>
                  </a:lnTo>
                  <a:lnTo>
                    <a:pt x="410" y="178"/>
                  </a:lnTo>
                  <a:lnTo>
                    <a:pt x="401" y="186"/>
                  </a:lnTo>
                  <a:lnTo>
                    <a:pt x="390" y="195"/>
                  </a:lnTo>
                  <a:lnTo>
                    <a:pt x="380" y="207"/>
                  </a:lnTo>
                  <a:lnTo>
                    <a:pt x="370" y="223"/>
                  </a:lnTo>
                  <a:lnTo>
                    <a:pt x="359" y="240"/>
                  </a:lnTo>
                  <a:lnTo>
                    <a:pt x="349" y="260"/>
                  </a:lnTo>
                  <a:lnTo>
                    <a:pt x="339" y="281"/>
                  </a:lnTo>
                  <a:lnTo>
                    <a:pt x="328" y="306"/>
                  </a:lnTo>
                  <a:lnTo>
                    <a:pt x="318" y="333"/>
                  </a:lnTo>
                  <a:lnTo>
                    <a:pt x="308" y="361"/>
                  </a:lnTo>
                  <a:lnTo>
                    <a:pt x="298" y="392"/>
                  </a:lnTo>
                  <a:lnTo>
                    <a:pt x="287" y="424"/>
                  </a:lnTo>
                  <a:lnTo>
                    <a:pt x="278" y="459"/>
                  </a:lnTo>
                  <a:lnTo>
                    <a:pt x="268" y="495"/>
                  </a:lnTo>
                  <a:lnTo>
                    <a:pt x="257" y="538"/>
                  </a:lnTo>
                  <a:lnTo>
                    <a:pt x="246" y="584"/>
                  </a:lnTo>
                  <a:lnTo>
                    <a:pt x="237" y="632"/>
                  </a:lnTo>
                  <a:lnTo>
                    <a:pt x="228" y="682"/>
                  </a:lnTo>
                  <a:lnTo>
                    <a:pt x="219" y="734"/>
                  </a:lnTo>
                  <a:lnTo>
                    <a:pt x="211" y="786"/>
                  </a:lnTo>
                  <a:lnTo>
                    <a:pt x="204" y="842"/>
                  </a:lnTo>
                  <a:lnTo>
                    <a:pt x="197" y="898"/>
                  </a:lnTo>
                  <a:lnTo>
                    <a:pt x="191" y="957"/>
                  </a:lnTo>
                  <a:lnTo>
                    <a:pt x="186" y="1015"/>
                  </a:lnTo>
                  <a:lnTo>
                    <a:pt x="181" y="1076"/>
                  </a:lnTo>
                  <a:lnTo>
                    <a:pt x="178" y="1138"/>
                  </a:lnTo>
                  <a:lnTo>
                    <a:pt x="175" y="1201"/>
                  </a:lnTo>
                  <a:lnTo>
                    <a:pt x="173" y="1266"/>
                  </a:lnTo>
                  <a:lnTo>
                    <a:pt x="171" y="1331"/>
                  </a:lnTo>
                  <a:lnTo>
                    <a:pt x="171" y="1397"/>
                  </a:lnTo>
                  <a:lnTo>
                    <a:pt x="171" y="1429"/>
                  </a:lnTo>
                  <a:lnTo>
                    <a:pt x="171" y="1461"/>
                  </a:lnTo>
                  <a:lnTo>
                    <a:pt x="172" y="1492"/>
                  </a:lnTo>
                  <a:lnTo>
                    <a:pt x="173" y="1524"/>
                  </a:lnTo>
                  <a:lnTo>
                    <a:pt x="173" y="1554"/>
                  </a:lnTo>
                  <a:lnTo>
                    <a:pt x="174" y="1586"/>
                  </a:lnTo>
                  <a:lnTo>
                    <a:pt x="175" y="1617"/>
                  </a:lnTo>
                  <a:lnTo>
                    <a:pt x="177" y="1648"/>
                  </a:lnTo>
                  <a:lnTo>
                    <a:pt x="178" y="1659"/>
                  </a:lnTo>
                  <a:lnTo>
                    <a:pt x="178" y="1662"/>
                  </a:lnTo>
                  <a:lnTo>
                    <a:pt x="177" y="1662"/>
                  </a:lnTo>
                  <a:lnTo>
                    <a:pt x="178" y="1740"/>
                  </a:lnTo>
                  <a:lnTo>
                    <a:pt x="179" y="1816"/>
                  </a:lnTo>
                  <a:lnTo>
                    <a:pt x="182" y="1892"/>
                  </a:lnTo>
                  <a:lnTo>
                    <a:pt x="186" y="1965"/>
                  </a:lnTo>
                  <a:lnTo>
                    <a:pt x="191" y="2037"/>
                  </a:lnTo>
                  <a:lnTo>
                    <a:pt x="198" y="2108"/>
                  </a:lnTo>
                  <a:lnTo>
                    <a:pt x="205" y="2178"/>
                  </a:lnTo>
                  <a:lnTo>
                    <a:pt x="213" y="2246"/>
                  </a:lnTo>
                  <a:lnTo>
                    <a:pt x="221" y="2312"/>
                  </a:lnTo>
                  <a:lnTo>
                    <a:pt x="232" y="2376"/>
                  </a:lnTo>
                  <a:lnTo>
                    <a:pt x="242" y="2439"/>
                  </a:lnTo>
                  <a:lnTo>
                    <a:pt x="253" y="2499"/>
                  </a:lnTo>
                  <a:lnTo>
                    <a:pt x="266" y="2557"/>
                  </a:lnTo>
                  <a:lnTo>
                    <a:pt x="278" y="2613"/>
                  </a:lnTo>
                  <a:lnTo>
                    <a:pt x="292" y="2668"/>
                  </a:lnTo>
                  <a:lnTo>
                    <a:pt x="306" y="2719"/>
                  </a:lnTo>
                  <a:lnTo>
                    <a:pt x="319" y="2762"/>
                  </a:lnTo>
                  <a:lnTo>
                    <a:pt x="332" y="2802"/>
                  </a:lnTo>
                  <a:lnTo>
                    <a:pt x="344" y="2840"/>
                  </a:lnTo>
                  <a:lnTo>
                    <a:pt x="357" y="2876"/>
                  </a:lnTo>
                  <a:lnTo>
                    <a:pt x="371" y="2910"/>
                  </a:lnTo>
                  <a:lnTo>
                    <a:pt x="384" y="2941"/>
                  </a:lnTo>
                  <a:lnTo>
                    <a:pt x="396" y="2970"/>
                  </a:lnTo>
                  <a:lnTo>
                    <a:pt x="410" y="2996"/>
                  </a:lnTo>
                  <a:lnTo>
                    <a:pt x="423" y="3019"/>
                  </a:lnTo>
                  <a:lnTo>
                    <a:pt x="437" y="3040"/>
                  </a:lnTo>
                  <a:lnTo>
                    <a:pt x="449" y="3058"/>
                  </a:lnTo>
                  <a:lnTo>
                    <a:pt x="462" y="3073"/>
                  </a:lnTo>
                  <a:lnTo>
                    <a:pt x="469" y="3079"/>
                  </a:lnTo>
                  <a:lnTo>
                    <a:pt x="475" y="3085"/>
                  </a:lnTo>
                  <a:lnTo>
                    <a:pt x="481" y="3090"/>
                  </a:lnTo>
                  <a:lnTo>
                    <a:pt x="487" y="3095"/>
                  </a:lnTo>
                  <a:lnTo>
                    <a:pt x="493" y="3098"/>
                  </a:lnTo>
                  <a:lnTo>
                    <a:pt x="499" y="3100"/>
                  </a:lnTo>
                  <a:lnTo>
                    <a:pt x="506" y="3102"/>
                  </a:lnTo>
                  <a:lnTo>
                    <a:pt x="512" y="3103"/>
                  </a:lnTo>
                  <a:lnTo>
                    <a:pt x="515" y="3103"/>
                  </a:lnTo>
                  <a:lnTo>
                    <a:pt x="516" y="3103"/>
                  </a:lnTo>
                  <a:lnTo>
                    <a:pt x="521" y="3103"/>
                  </a:lnTo>
                  <a:lnTo>
                    <a:pt x="526" y="3101"/>
                  </a:lnTo>
                  <a:lnTo>
                    <a:pt x="531" y="3100"/>
                  </a:lnTo>
                  <a:lnTo>
                    <a:pt x="537" y="3097"/>
                  </a:lnTo>
                  <a:lnTo>
                    <a:pt x="541" y="3094"/>
                  </a:lnTo>
                  <a:lnTo>
                    <a:pt x="546" y="3089"/>
                  </a:lnTo>
                  <a:lnTo>
                    <a:pt x="551" y="3084"/>
                  </a:lnTo>
                  <a:lnTo>
                    <a:pt x="556" y="3079"/>
                  </a:lnTo>
                  <a:lnTo>
                    <a:pt x="566" y="3067"/>
                  </a:lnTo>
                  <a:lnTo>
                    <a:pt x="577" y="3052"/>
                  </a:lnTo>
                  <a:lnTo>
                    <a:pt x="587" y="3035"/>
                  </a:lnTo>
                  <a:lnTo>
                    <a:pt x="597" y="3015"/>
                  </a:lnTo>
                  <a:lnTo>
                    <a:pt x="608" y="2992"/>
                  </a:lnTo>
                  <a:lnTo>
                    <a:pt x="618" y="2969"/>
                  </a:lnTo>
                  <a:lnTo>
                    <a:pt x="628" y="2942"/>
                  </a:lnTo>
                  <a:lnTo>
                    <a:pt x="638" y="2913"/>
                  </a:lnTo>
                  <a:lnTo>
                    <a:pt x="649" y="2883"/>
                  </a:lnTo>
                  <a:lnTo>
                    <a:pt x="659" y="2850"/>
                  </a:lnTo>
                  <a:lnTo>
                    <a:pt x="668" y="2816"/>
                  </a:lnTo>
                  <a:lnTo>
                    <a:pt x="679" y="2779"/>
                  </a:lnTo>
                  <a:lnTo>
                    <a:pt x="690" y="2735"/>
                  </a:lnTo>
                  <a:lnTo>
                    <a:pt x="700" y="2689"/>
                  </a:lnTo>
                  <a:lnTo>
                    <a:pt x="710" y="2641"/>
                  </a:lnTo>
                  <a:lnTo>
                    <a:pt x="719" y="2591"/>
                  </a:lnTo>
                  <a:lnTo>
                    <a:pt x="728" y="2540"/>
                  </a:lnTo>
                  <a:lnTo>
                    <a:pt x="735" y="2486"/>
                  </a:lnTo>
                  <a:lnTo>
                    <a:pt x="744" y="2432"/>
                  </a:lnTo>
                  <a:lnTo>
                    <a:pt x="750" y="2375"/>
                  </a:lnTo>
                  <a:lnTo>
                    <a:pt x="756" y="2317"/>
                  </a:lnTo>
                  <a:lnTo>
                    <a:pt x="761" y="2258"/>
                  </a:lnTo>
                  <a:lnTo>
                    <a:pt x="765" y="2197"/>
                  </a:lnTo>
                  <a:lnTo>
                    <a:pt x="769" y="2135"/>
                  </a:lnTo>
                  <a:lnTo>
                    <a:pt x="772" y="2072"/>
                  </a:lnTo>
                  <a:lnTo>
                    <a:pt x="774" y="2007"/>
                  </a:lnTo>
                  <a:lnTo>
                    <a:pt x="775" y="1942"/>
                  </a:lnTo>
                  <a:lnTo>
                    <a:pt x="777" y="1876"/>
                  </a:lnTo>
                  <a:lnTo>
                    <a:pt x="775" y="1876"/>
                  </a:lnTo>
                  <a:lnTo>
                    <a:pt x="775" y="1844"/>
                  </a:lnTo>
                  <a:lnTo>
                    <a:pt x="775" y="1812"/>
                  </a:lnTo>
                  <a:lnTo>
                    <a:pt x="774" y="1781"/>
                  </a:lnTo>
                  <a:lnTo>
                    <a:pt x="774" y="1750"/>
                  </a:lnTo>
                  <a:lnTo>
                    <a:pt x="773" y="1718"/>
                  </a:lnTo>
                  <a:lnTo>
                    <a:pt x="772" y="1687"/>
                  </a:lnTo>
                  <a:lnTo>
                    <a:pt x="771" y="1657"/>
                  </a:lnTo>
                  <a:lnTo>
                    <a:pt x="769" y="1626"/>
                  </a:lnTo>
                  <a:lnTo>
                    <a:pt x="769" y="1620"/>
                  </a:lnTo>
                  <a:lnTo>
                    <a:pt x="769" y="1616"/>
                  </a:lnTo>
                  <a:lnTo>
                    <a:pt x="769" y="1612"/>
                  </a:lnTo>
                  <a:lnTo>
                    <a:pt x="769" y="1535"/>
                  </a:lnTo>
                  <a:lnTo>
                    <a:pt x="767" y="1459"/>
                  </a:lnTo>
                  <a:lnTo>
                    <a:pt x="764" y="1383"/>
                  </a:lnTo>
                  <a:lnTo>
                    <a:pt x="760" y="1309"/>
                  </a:lnTo>
                  <a:lnTo>
                    <a:pt x="755" y="1237"/>
                  </a:lnTo>
                  <a:lnTo>
                    <a:pt x="749" y="1166"/>
                  </a:lnTo>
                  <a:lnTo>
                    <a:pt x="741" y="1097"/>
                  </a:lnTo>
                  <a:lnTo>
                    <a:pt x="734" y="1029"/>
                  </a:lnTo>
                  <a:lnTo>
                    <a:pt x="725" y="963"/>
                  </a:lnTo>
                  <a:lnTo>
                    <a:pt x="715" y="898"/>
                  </a:lnTo>
                  <a:lnTo>
                    <a:pt x="704" y="836"/>
                  </a:lnTo>
                  <a:lnTo>
                    <a:pt x="693" y="775"/>
                  </a:lnTo>
                  <a:lnTo>
                    <a:pt x="681" y="717"/>
                  </a:lnTo>
                  <a:lnTo>
                    <a:pt x="668" y="661"/>
                  </a:lnTo>
                  <a:lnTo>
                    <a:pt x="655" y="607"/>
                  </a:lnTo>
                  <a:lnTo>
                    <a:pt x="641" y="556"/>
                  </a:lnTo>
                  <a:lnTo>
                    <a:pt x="628" y="513"/>
                  </a:lnTo>
                  <a:lnTo>
                    <a:pt x="615" y="473"/>
                  </a:lnTo>
                  <a:lnTo>
                    <a:pt x="602" y="435"/>
                  </a:lnTo>
                  <a:lnTo>
                    <a:pt x="589" y="399"/>
                  </a:lnTo>
                  <a:lnTo>
                    <a:pt x="576" y="365"/>
                  </a:lnTo>
                  <a:lnTo>
                    <a:pt x="563" y="334"/>
                  </a:lnTo>
                  <a:lnTo>
                    <a:pt x="550" y="305"/>
                  </a:lnTo>
                  <a:lnTo>
                    <a:pt x="537" y="279"/>
                  </a:lnTo>
                  <a:lnTo>
                    <a:pt x="523" y="256"/>
                  </a:lnTo>
                  <a:lnTo>
                    <a:pt x="511" y="235"/>
                  </a:lnTo>
                  <a:lnTo>
                    <a:pt x="497" y="216"/>
                  </a:lnTo>
                  <a:lnTo>
                    <a:pt x="485" y="202"/>
                  </a:lnTo>
                  <a:lnTo>
                    <a:pt x="473" y="190"/>
                  </a:lnTo>
                  <a:lnTo>
                    <a:pt x="459" y="180"/>
                  </a:lnTo>
                  <a:lnTo>
                    <a:pt x="453" y="177"/>
                  </a:lnTo>
                  <a:lnTo>
                    <a:pt x="448" y="174"/>
                  </a:lnTo>
                  <a:lnTo>
                    <a:pt x="442" y="172"/>
                  </a:lnTo>
                  <a:lnTo>
                    <a:pt x="436" y="171"/>
                  </a:lnTo>
                  <a:lnTo>
                    <a:pt x="431" y="17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6" name="Freeform 41"/>
            <p:cNvSpPr>
              <a:spLocks noChangeArrowheads="1"/>
            </p:cNvSpPr>
            <p:nvPr userDrawn="1"/>
          </p:nvSpPr>
          <p:spPr bwMode="auto">
            <a:xfrm>
              <a:off x="7475538" y="2085212"/>
              <a:ext cx="352425" cy="1720406"/>
            </a:xfrm>
            <a:custGeom>
              <a:avLst/>
              <a:gdLst>
                <a:gd name="T0" fmla="*/ 386 w 776"/>
                <a:gd name="T1" fmla="*/ 8 h 3102"/>
                <a:gd name="T2" fmla="*/ 444 w 776"/>
                <a:gd name="T3" fmla="*/ 48 h 3102"/>
                <a:gd name="T4" fmla="*/ 501 w 776"/>
                <a:gd name="T5" fmla="*/ 119 h 3102"/>
                <a:gd name="T6" fmla="*/ 556 w 776"/>
                <a:gd name="T7" fmla="*/ 220 h 3102"/>
                <a:gd name="T8" fmla="*/ 606 w 776"/>
                <a:gd name="T9" fmla="*/ 348 h 3102"/>
                <a:gd name="T10" fmla="*/ 652 w 776"/>
                <a:gd name="T11" fmla="*/ 499 h 3102"/>
                <a:gd name="T12" fmla="*/ 692 w 776"/>
                <a:gd name="T13" fmla="*/ 672 h 3102"/>
                <a:gd name="T14" fmla="*/ 724 w 776"/>
                <a:gd name="T15" fmla="*/ 864 h 3102"/>
                <a:gd name="T16" fmla="*/ 749 w 776"/>
                <a:gd name="T17" fmla="*/ 1073 h 3102"/>
                <a:gd name="T18" fmla="*/ 765 w 776"/>
                <a:gd name="T19" fmla="*/ 1296 h 3102"/>
                <a:gd name="T20" fmla="*/ 770 w 776"/>
                <a:gd name="T21" fmla="*/ 1530 h 3102"/>
                <a:gd name="T22" fmla="*/ 776 w 776"/>
                <a:gd name="T23" fmla="*/ 1765 h 3102"/>
                <a:gd name="T24" fmla="*/ 772 w 776"/>
                <a:gd name="T25" fmla="*/ 1991 h 3102"/>
                <a:gd name="T26" fmla="*/ 758 w 776"/>
                <a:gd name="T27" fmla="*/ 2203 h 3102"/>
                <a:gd name="T28" fmla="*/ 737 w 776"/>
                <a:gd name="T29" fmla="*/ 2401 h 3102"/>
                <a:gd name="T30" fmla="*/ 707 w 776"/>
                <a:gd name="T31" fmla="*/ 2580 h 3102"/>
                <a:gd name="T32" fmla="*/ 670 w 776"/>
                <a:gd name="T33" fmla="*/ 2737 h 3102"/>
                <a:gd name="T34" fmla="*/ 627 w 776"/>
                <a:gd name="T35" fmla="*/ 2870 h 3102"/>
                <a:gd name="T36" fmla="*/ 579 w 776"/>
                <a:gd name="T37" fmla="*/ 2977 h 3102"/>
                <a:gd name="T38" fmla="*/ 526 w 776"/>
                <a:gd name="T39" fmla="*/ 3052 h 3102"/>
                <a:gd name="T40" fmla="*/ 470 w 776"/>
                <a:gd name="T41" fmla="*/ 3094 h 3102"/>
                <a:gd name="T42" fmla="*/ 410 w 776"/>
                <a:gd name="T43" fmla="*/ 3100 h 3102"/>
                <a:gd name="T44" fmla="*/ 352 w 776"/>
                <a:gd name="T45" fmla="*/ 3071 h 3102"/>
                <a:gd name="T46" fmla="*/ 294 w 776"/>
                <a:gd name="T47" fmla="*/ 3011 h 3102"/>
                <a:gd name="T48" fmla="*/ 238 w 776"/>
                <a:gd name="T49" fmla="*/ 2919 h 3102"/>
                <a:gd name="T50" fmla="*/ 187 w 776"/>
                <a:gd name="T51" fmla="*/ 2800 h 3102"/>
                <a:gd name="T52" fmla="*/ 139 w 776"/>
                <a:gd name="T53" fmla="*/ 2656 h 3102"/>
                <a:gd name="T54" fmla="*/ 97 w 776"/>
                <a:gd name="T55" fmla="*/ 2490 h 3102"/>
                <a:gd name="T56" fmla="*/ 62 w 776"/>
                <a:gd name="T57" fmla="*/ 2304 h 3102"/>
                <a:gd name="T58" fmla="*/ 35 w 776"/>
                <a:gd name="T59" fmla="*/ 2100 h 3102"/>
                <a:gd name="T60" fmla="*/ 17 w 776"/>
                <a:gd name="T61" fmla="*/ 1882 h 3102"/>
                <a:gd name="T62" fmla="*/ 8 w 776"/>
                <a:gd name="T63" fmla="*/ 1652 h 3102"/>
                <a:gd name="T64" fmla="*/ 1 w 776"/>
                <a:gd name="T65" fmla="*/ 1415 h 3102"/>
                <a:gd name="T66" fmla="*/ 1 w 776"/>
                <a:gd name="T67" fmla="*/ 1186 h 3102"/>
                <a:gd name="T68" fmla="*/ 12 w 776"/>
                <a:gd name="T69" fmla="*/ 969 h 3102"/>
                <a:gd name="T70" fmla="*/ 31 w 776"/>
                <a:gd name="T71" fmla="*/ 765 h 3102"/>
                <a:gd name="T72" fmla="*/ 58 w 776"/>
                <a:gd name="T73" fmla="*/ 580 h 3102"/>
                <a:gd name="T74" fmla="*/ 93 w 776"/>
                <a:gd name="T75" fmla="*/ 415 h 3102"/>
                <a:gd name="T76" fmla="*/ 134 w 776"/>
                <a:gd name="T77" fmla="*/ 274 h 3102"/>
                <a:gd name="T78" fmla="*/ 181 w 776"/>
                <a:gd name="T79" fmla="*/ 158 h 3102"/>
                <a:gd name="T80" fmla="*/ 232 w 776"/>
                <a:gd name="T81" fmla="*/ 72 h 3102"/>
                <a:gd name="T82" fmla="*/ 288 w 776"/>
                <a:gd name="T83" fmla="*/ 18 h 3102"/>
                <a:gd name="T84" fmla="*/ 345 w 776"/>
                <a:gd name="T85" fmla="*/ 0 h 3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76" h="3102">
                  <a:moveTo>
                    <a:pt x="345" y="0"/>
                  </a:moveTo>
                  <a:lnTo>
                    <a:pt x="366" y="2"/>
                  </a:lnTo>
                  <a:lnTo>
                    <a:pt x="386" y="8"/>
                  </a:lnTo>
                  <a:lnTo>
                    <a:pt x="405" y="17"/>
                  </a:lnTo>
                  <a:lnTo>
                    <a:pt x="425" y="30"/>
                  </a:lnTo>
                  <a:lnTo>
                    <a:pt x="444" y="48"/>
                  </a:lnTo>
                  <a:lnTo>
                    <a:pt x="464" y="68"/>
                  </a:lnTo>
                  <a:lnTo>
                    <a:pt x="482" y="92"/>
                  </a:lnTo>
                  <a:lnTo>
                    <a:pt x="501" y="119"/>
                  </a:lnTo>
                  <a:lnTo>
                    <a:pt x="520" y="150"/>
                  </a:lnTo>
                  <a:lnTo>
                    <a:pt x="538" y="183"/>
                  </a:lnTo>
                  <a:lnTo>
                    <a:pt x="556" y="220"/>
                  </a:lnTo>
                  <a:lnTo>
                    <a:pt x="573" y="259"/>
                  </a:lnTo>
                  <a:lnTo>
                    <a:pt x="590" y="303"/>
                  </a:lnTo>
                  <a:lnTo>
                    <a:pt x="606" y="348"/>
                  </a:lnTo>
                  <a:lnTo>
                    <a:pt x="623" y="395"/>
                  </a:lnTo>
                  <a:lnTo>
                    <a:pt x="637" y="446"/>
                  </a:lnTo>
                  <a:lnTo>
                    <a:pt x="652" y="499"/>
                  </a:lnTo>
                  <a:lnTo>
                    <a:pt x="666" y="554"/>
                  </a:lnTo>
                  <a:lnTo>
                    <a:pt x="679" y="612"/>
                  </a:lnTo>
                  <a:lnTo>
                    <a:pt x="692" y="672"/>
                  </a:lnTo>
                  <a:lnTo>
                    <a:pt x="703" y="735"/>
                  </a:lnTo>
                  <a:lnTo>
                    <a:pt x="714" y="798"/>
                  </a:lnTo>
                  <a:lnTo>
                    <a:pt x="724" y="864"/>
                  </a:lnTo>
                  <a:lnTo>
                    <a:pt x="734" y="932"/>
                  </a:lnTo>
                  <a:lnTo>
                    <a:pt x="742" y="1001"/>
                  </a:lnTo>
                  <a:lnTo>
                    <a:pt x="749" y="1073"/>
                  </a:lnTo>
                  <a:lnTo>
                    <a:pt x="755" y="1146"/>
                  </a:lnTo>
                  <a:lnTo>
                    <a:pt x="761" y="1220"/>
                  </a:lnTo>
                  <a:lnTo>
                    <a:pt x="765" y="1296"/>
                  </a:lnTo>
                  <a:lnTo>
                    <a:pt x="768" y="1373"/>
                  </a:lnTo>
                  <a:lnTo>
                    <a:pt x="769" y="1451"/>
                  </a:lnTo>
                  <a:lnTo>
                    <a:pt x="770" y="1530"/>
                  </a:lnTo>
                  <a:lnTo>
                    <a:pt x="773" y="1610"/>
                  </a:lnTo>
                  <a:lnTo>
                    <a:pt x="775" y="1688"/>
                  </a:lnTo>
                  <a:lnTo>
                    <a:pt x="776" y="1765"/>
                  </a:lnTo>
                  <a:lnTo>
                    <a:pt x="776" y="1842"/>
                  </a:lnTo>
                  <a:lnTo>
                    <a:pt x="775" y="1917"/>
                  </a:lnTo>
                  <a:lnTo>
                    <a:pt x="772" y="1991"/>
                  </a:lnTo>
                  <a:lnTo>
                    <a:pt x="769" y="2063"/>
                  </a:lnTo>
                  <a:lnTo>
                    <a:pt x="765" y="2134"/>
                  </a:lnTo>
                  <a:lnTo>
                    <a:pt x="758" y="2203"/>
                  </a:lnTo>
                  <a:lnTo>
                    <a:pt x="752" y="2271"/>
                  </a:lnTo>
                  <a:lnTo>
                    <a:pt x="745" y="2337"/>
                  </a:lnTo>
                  <a:lnTo>
                    <a:pt x="737" y="2401"/>
                  </a:lnTo>
                  <a:lnTo>
                    <a:pt x="728" y="2463"/>
                  </a:lnTo>
                  <a:lnTo>
                    <a:pt x="717" y="2523"/>
                  </a:lnTo>
                  <a:lnTo>
                    <a:pt x="707" y="2580"/>
                  </a:lnTo>
                  <a:lnTo>
                    <a:pt x="696" y="2635"/>
                  </a:lnTo>
                  <a:lnTo>
                    <a:pt x="683" y="2688"/>
                  </a:lnTo>
                  <a:lnTo>
                    <a:pt x="670" y="2737"/>
                  </a:lnTo>
                  <a:lnTo>
                    <a:pt x="656" y="2785"/>
                  </a:lnTo>
                  <a:lnTo>
                    <a:pt x="642" y="2829"/>
                  </a:lnTo>
                  <a:lnTo>
                    <a:pt x="627" y="2870"/>
                  </a:lnTo>
                  <a:lnTo>
                    <a:pt x="611" y="2910"/>
                  </a:lnTo>
                  <a:lnTo>
                    <a:pt x="596" y="2945"/>
                  </a:lnTo>
                  <a:lnTo>
                    <a:pt x="579" y="2977"/>
                  </a:lnTo>
                  <a:lnTo>
                    <a:pt x="562" y="3005"/>
                  </a:lnTo>
                  <a:lnTo>
                    <a:pt x="544" y="3030"/>
                  </a:lnTo>
                  <a:lnTo>
                    <a:pt x="526" y="3052"/>
                  </a:lnTo>
                  <a:lnTo>
                    <a:pt x="508" y="3070"/>
                  </a:lnTo>
                  <a:lnTo>
                    <a:pt x="489" y="3084"/>
                  </a:lnTo>
                  <a:lnTo>
                    <a:pt x="470" y="3094"/>
                  </a:lnTo>
                  <a:lnTo>
                    <a:pt x="450" y="3100"/>
                  </a:lnTo>
                  <a:lnTo>
                    <a:pt x="431" y="3102"/>
                  </a:lnTo>
                  <a:lnTo>
                    <a:pt x="410" y="3100"/>
                  </a:lnTo>
                  <a:lnTo>
                    <a:pt x="391" y="3095"/>
                  </a:lnTo>
                  <a:lnTo>
                    <a:pt x="371" y="3085"/>
                  </a:lnTo>
                  <a:lnTo>
                    <a:pt x="352" y="3071"/>
                  </a:lnTo>
                  <a:lnTo>
                    <a:pt x="332" y="3055"/>
                  </a:lnTo>
                  <a:lnTo>
                    <a:pt x="312" y="3034"/>
                  </a:lnTo>
                  <a:lnTo>
                    <a:pt x="294" y="3011"/>
                  </a:lnTo>
                  <a:lnTo>
                    <a:pt x="275" y="2983"/>
                  </a:lnTo>
                  <a:lnTo>
                    <a:pt x="257" y="2953"/>
                  </a:lnTo>
                  <a:lnTo>
                    <a:pt x="238" y="2919"/>
                  </a:lnTo>
                  <a:lnTo>
                    <a:pt x="221" y="2883"/>
                  </a:lnTo>
                  <a:lnTo>
                    <a:pt x="203" y="2843"/>
                  </a:lnTo>
                  <a:lnTo>
                    <a:pt x="187" y="2800"/>
                  </a:lnTo>
                  <a:lnTo>
                    <a:pt x="170" y="2755"/>
                  </a:lnTo>
                  <a:lnTo>
                    <a:pt x="155" y="2708"/>
                  </a:lnTo>
                  <a:lnTo>
                    <a:pt x="139" y="2656"/>
                  </a:lnTo>
                  <a:lnTo>
                    <a:pt x="125" y="2603"/>
                  </a:lnTo>
                  <a:lnTo>
                    <a:pt x="111" y="2548"/>
                  </a:lnTo>
                  <a:lnTo>
                    <a:pt x="97" y="2490"/>
                  </a:lnTo>
                  <a:lnTo>
                    <a:pt x="85" y="2430"/>
                  </a:lnTo>
                  <a:lnTo>
                    <a:pt x="74" y="2368"/>
                  </a:lnTo>
                  <a:lnTo>
                    <a:pt x="62" y="2304"/>
                  </a:lnTo>
                  <a:lnTo>
                    <a:pt x="52" y="2239"/>
                  </a:lnTo>
                  <a:lnTo>
                    <a:pt x="44" y="2170"/>
                  </a:lnTo>
                  <a:lnTo>
                    <a:pt x="35" y="2100"/>
                  </a:lnTo>
                  <a:lnTo>
                    <a:pt x="28" y="2029"/>
                  </a:lnTo>
                  <a:lnTo>
                    <a:pt x="22" y="1957"/>
                  </a:lnTo>
                  <a:lnTo>
                    <a:pt x="17" y="1882"/>
                  </a:lnTo>
                  <a:lnTo>
                    <a:pt x="12" y="1807"/>
                  </a:lnTo>
                  <a:lnTo>
                    <a:pt x="10" y="1729"/>
                  </a:lnTo>
                  <a:lnTo>
                    <a:pt x="8" y="1652"/>
                  </a:lnTo>
                  <a:lnTo>
                    <a:pt x="7" y="1573"/>
                  </a:lnTo>
                  <a:lnTo>
                    <a:pt x="3" y="1493"/>
                  </a:lnTo>
                  <a:lnTo>
                    <a:pt x="1" y="1415"/>
                  </a:lnTo>
                  <a:lnTo>
                    <a:pt x="0" y="1338"/>
                  </a:lnTo>
                  <a:lnTo>
                    <a:pt x="0" y="1261"/>
                  </a:lnTo>
                  <a:lnTo>
                    <a:pt x="1" y="1186"/>
                  </a:lnTo>
                  <a:lnTo>
                    <a:pt x="5" y="1112"/>
                  </a:lnTo>
                  <a:lnTo>
                    <a:pt x="8" y="1039"/>
                  </a:lnTo>
                  <a:lnTo>
                    <a:pt x="12" y="969"/>
                  </a:lnTo>
                  <a:lnTo>
                    <a:pt x="17" y="898"/>
                  </a:lnTo>
                  <a:lnTo>
                    <a:pt x="24" y="831"/>
                  </a:lnTo>
                  <a:lnTo>
                    <a:pt x="31" y="765"/>
                  </a:lnTo>
                  <a:lnTo>
                    <a:pt x="40" y="702"/>
                  </a:lnTo>
                  <a:lnTo>
                    <a:pt x="49" y="640"/>
                  </a:lnTo>
                  <a:lnTo>
                    <a:pt x="58" y="580"/>
                  </a:lnTo>
                  <a:lnTo>
                    <a:pt x="69" y="522"/>
                  </a:lnTo>
                  <a:lnTo>
                    <a:pt x="81" y="468"/>
                  </a:lnTo>
                  <a:lnTo>
                    <a:pt x="93" y="415"/>
                  </a:lnTo>
                  <a:lnTo>
                    <a:pt x="106" y="364"/>
                  </a:lnTo>
                  <a:lnTo>
                    <a:pt x="120" y="318"/>
                  </a:lnTo>
                  <a:lnTo>
                    <a:pt x="134" y="274"/>
                  </a:lnTo>
                  <a:lnTo>
                    <a:pt x="149" y="231"/>
                  </a:lnTo>
                  <a:lnTo>
                    <a:pt x="164" y="193"/>
                  </a:lnTo>
                  <a:lnTo>
                    <a:pt x="181" y="158"/>
                  </a:lnTo>
                  <a:lnTo>
                    <a:pt x="197" y="126"/>
                  </a:lnTo>
                  <a:lnTo>
                    <a:pt x="215" y="97"/>
                  </a:lnTo>
                  <a:lnTo>
                    <a:pt x="232" y="72"/>
                  </a:lnTo>
                  <a:lnTo>
                    <a:pt x="250" y="50"/>
                  </a:lnTo>
                  <a:lnTo>
                    <a:pt x="268" y="33"/>
                  </a:lnTo>
                  <a:lnTo>
                    <a:pt x="288" y="18"/>
                  </a:lnTo>
                  <a:lnTo>
                    <a:pt x="306" y="8"/>
                  </a:lnTo>
                  <a:lnTo>
                    <a:pt x="326" y="2"/>
                  </a:lnTo>
                  <a:lnTo>
                    <a:pt x="34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7" name="Freeform 42"/>
            <p:cNvSpPr>
              <a:spLocks noChangeArrowheads="1"/>
            </p:cNvSpPr>
            <p:nvPr userDrawn="1"/>
          </p:nvSpPr>
          <p:spPr bwMode="auto">
            <a:xfrm>
              <a:off x="6200775" y="1020029"/>
              <a:ext cx="704850" cy="1571817"/>
            </a:xfrm>
            <a:custGeom>
              <a:avLst/>
              <a:gdLst>
                <a:gd name="T0" fmla="*/ 282 w 1561"/>
                <a:gd name="T1" fmla="*/ 0 h 2825"/>
                <a:gd name="T2" fmla="*/ 394 w 1561"/>
                <a:gd name="T3" fmla="*/ 31 h 2825"/>
                <a:gd name="T4" fmla="*/ 510 w 1561"/>
                <a:gd name="T5" fmla="*/ 102 h 2825"/>
                <a:gd name="T6" fmla="*/ 648 w 1561"/>
                <a:gd name="T7" fmla="*/ 230 h 2825"/>
                <a:gd name="T8" fmla="*/ 795 w 1561"/>
                <a:gd name="T9" fmla="*/ 405 h 2825"/>
                <a:gd name="T10" fmla="*/ 946 w 1561"/>
                <a:gd name="T11" fmla="*/ 623 h 2825"/>
                <a:gd name="T12" fmla="*/ 1122 w 1561"/>
                <a:gd name="T13" fmla="*/ 920 h 2825"/>
                <a:gd name="T14" fmla="*/ 1288 w 1561"/>
                <a:gd name="T15" fmla="*/ 1258 h 2825"/>
                <a:gd name="T16" fmla="*/ 1408 w 1561"/>
                <a:gd name="T17" fmla="*/ 1593 h 2825"/>
                <a:gd name="T18" fmla="*/ 1507 w 1561"/>
                <a:gd name="T19" fmla="*/ 1962 h 2825"/>
                <a:gd name="T20" fmla="*/ 1557 w 1561"/>
                <a:gd name="T21" fmla="*/ 2288 h 2825"/>
                <a:gd name="T22" fmla="*/ 1556 w 1561"/>
                <a:gd name="T23" fmla="*/ 2510 h 2825"/>
                <a:gd name="T24" fmla="*/ 1533 w 1561"/>
                <a:gd name="T25" fmla="*/ 2629 h 2825"/>
                <a:gd name="T26" fmla="*/ 1491 w 1561"/>
                <a:gd name="T27" fmla="*/ 2723 h 2825"/>
                <a:gd name="T28" fmla="*/ 1431 w 1561"/>
                <a:gd name="T29" fmla="*/ 2788 h 2825"/>
                <a:gd name="T30" fmla="*/ 1389 w 1561"/>
                <a:gd name="T31" fmla="*/ 2810 h 2825"/>
                <a:gd name="T32" fmla="*/ 1312 w 1561"/>
                <a:gd name="T33" fmla="*/ 2825 h 2825"/>
                <a:gd name="T34" fmla="*/ 1196 w 1561"/>
                <a:gd name="T35" fmla="*/ 2802 h 2825"/>
                <a:gd name="T36" fmla="*/ 1081 w 1561"/>
                <a:gd name="T37" fmla="*/ 2740 h 2825"/>
                <a:gd name="T38" fmla="*/ 938 w 1561"/>
                <a:gd name="T39" fmla="*/ 2620 h 2825"/>
                <a:gd name="T40" fmla="*/ 788 w 1561"/>
                <a:gd name="T41" fmla="*/ 2452 h 2825"/>
                <a:gd name="T42" fmla="*/ 634 w 1561"/>
                <a:gd name="T43" fmla="*/ 2242 h 2825"/>
                <a:gd name="T44" fmla="*/ 486 w 1561"/>
                <a:gd name="T45" fmla="*/ 1995 h 2825"/>
                <a:gd name="T46" fmla="*/ 349 w 1561"/>
                <a:gd name="T47" fmla="*/ 1717 h 2825"/>
                <a:gd name="T48" fmla="*/ 260 w 1561"/>
                <a:gd name="T49" fmla="*/ 1514 h 2825"/>
                <a:gd name="T50" fmla="*/ 171 w 1561"/>
                <a:gd name="T51" fmla="*/ 1290 h 2825"/>
                <a:gd name="T52" fmla="*/ 66 w 1561"/>
                <a:gd name="T53" fmla="*/ 941 h 2825"/>
                <a:gd name="T54" fmla="*/ 10 w 1561"/>
                <a:gd name="T55" fmla="*/ 630 h 2825"/>
                <a:gd name="T56" fmla="*/ 5 w 1561"/>
                <a:gd name="T57" fmla="*/ 353 h 2825"/>
                <a:gd name="T58" fmla="*/ 24 w 1561"/>
                <a:gd name="T59" fmla="*/ 236 h 2825"/>
                <a:gd name="T60" fmla="*/ 58 w 1561"/>
                <a:gd name="T61" fmla="*/ 140 h 2825"/>
                <a:gd name="T62" fmla="*/ 108 w 1561"/>
                <a:gd name="T63" fmla="*/ 67 h 2825"/>
                <a:gd name="T64" fmla="*/ 172 w 1561"/>
                <a:gd name="T65" fmla="*/ 20 h 2825"/>
                <a:gd name="T66" fmla="*/ 293 w 1561"/>
                <a:gd name="T67" fmla="*/ 175 h 2825"/>
                <a:gd name="T68" fmla="*/ 248 w 1561"/>
                <a:gd name="T69" fmla="*/ 174 h 2825"/>
                <a:gd name="T70" fmla="*/ 214 w 1561"/>
                <a:gd name="T71" fmla="*/ 203 h 2825"/>
                <a:gd name="T72" fmla="*/ 178 w 1561"/>
                <a:gd name="T73" fmla="*/ 314 h 2825"/>
                <a:gd name="T74" fmla="*/ 172 w 1561"/>
                <a:gd name="T75" fmla="*/ 493 h 2825"/>
                <a:gd name="T76" fmla="*/ 201 w 1561"/>
                <a:gd name="T77" fmla="*/ 755 h 2825"/>
                <a:gd name="T78" fmla="*/ 277 w 1561"/>
                <a:gd name="T79" fmla="*/ 1065 h 2825"/>
                <a:gd name="T80" fmla="*/ 385 w 1561"/>
                <a:gd name="T81" fmla="*/ 1372 h 2825"/>
                <a:gd name="T82" fmla="*/ 450 w 1561"/>
                <a:gd name="T83" fmla="*/ 1520 h 2825"/>
                <a:gd name="T84" fmla="*/ 545 w 1561"/>
                <a:gd name="T85" fmla="*/ 1734 h 2825"/>
                <a:gd name="T86" fmla="*/ 676 w 1561"/>
                <a:gd name="T87" fmla="*/ 1986 h 2825"/>
                <a:gd name="T88" fmla="*/ 816 w 1561"/>
                <a:gd name="T89" fmla="*/ 2207 h 2825"/>
                <a:gd name="T90" fmla="*/ 956 w 1561"/>
                <a:gd name="T91" fmla="*/ 2391 h 2825"/>
                <a:gd name="T92" fmla="*/ 1093 w 1561"/>
                <a:gd name="T93" fmla="*/ 2531 h 2825"/>
                <a:gd name="T94" fmla="*/ 1205 w 1561"/>
                <a:gd name="T95" fmla="*/ 2616 h 2825"/>
                <a:gd name="T96" fmla="*/ 1278 w 1561"/>
                <a:gd name="T97" fmla="*/ 2649 h 2825"/>
                <a:gd name="T98" fmla="*/ 1327 w 1561"/>
                <a:gd name="T99" fmla="*/ 2651 h 2825"/>
                <a:gd name="T100" fmla="*/ 1354 w 1561"/>
                <a:gd name="T101" fmla="*/ 2630 h 2825"/>
                <a:gd name="T102" fmla="*/ 1384 w 1561"/>
                <a:gd name="T103" fmla="*/ 2548 h 2825"/>
                <a:gd name="T104" fmla="*/ 1391 w 1561"/>
                <a:gd name="T105" fmla="*/ 2368 h 2825"/>
                <a:gd name="T106" fmla="*/ 1360 w 1561"/>
                <a:gd name="T107" fmla="*/ 2101 h 2825"/>
                <a:gd name="T108" fmla="*/ 1281 w 1561"/>
                <a:gd name="T109" fmla="*/ 1763 h 2825"/>
                <a:gd name="T110" fmla="*/ 1156 w 1561"/>
                <a:gd name="T111" fmla="*/ 1390 h 2825"/>
                <a:gd name="T112" fmla="*/ 1020 w 1561"/>
                <a:gd name="T113" fmla="*/ 1091 h 2825"/>
                <a:gd name="T114" fmla="*/ 739 w 1561"/>
                <a:gd name="T115" fmla="*/ 617 h 2825"/>
                <a:gd name="T116" fmla="*/ 601 w 1561"/>
                <a:gd name="T117" fmla="*/ 434 h 2825"/>
                <a:gd name="T118" fmla="*/ 469 w 1561"/>
                <a:gd name="T119" fmla="*/ 293 h 2825"/>
                <a:gd name="T120" fmla="*/ 339 w 1561"/>
                <a:gd name="T121" fmla="*/ 194 h 2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61" h="2825">
                  <a:moveTo>
                    <a:pt x="190" y="12"/>
                  </a:moveTo>
                  <a:lnTo>
                    <a:pt x="208" y="7"/>
                  </a:lnTo>
                  <a:lnTo>
                    <a:pt x="226" y="3"/>
                  </a:lnTo>
                  <a:lnTo>
                    <a:pt x="244" y="1"/>
                  </a:lnTo>
                  <a:lnTo>
                    <a:pt x="263" y="0"/>
                  </a:lnTo>
                  <a:lnTo>
                    <a:pt x="282" y="0"/>
                  </a:lnTo>
                  <a:lnTo>
                    <a:pt x="302" y="2"/>
                  </a:lnTo>
                  <a:lnTo>
                    <a:pt x="320" y="6"/>
                  </a:lnTo>
                  <a:lnTo>
                    <a:pt x="341" y="10"/>
                  </a:lnTo>
                  <a:lnTo>
                    <a:pt x="358" y="16"/>
                  </a:lnTo>
                  <a:lnTo>
                    <a:pt x="376" y="23"/>
                  </a:lnTo>
                  <a:lnTo>
                    <a:pt x="394" y="31"/>
                  </a:lnTo>
                  <a:lnTo>
                    <a:pt x="412" y="40"/>
                  </a:lnTo>
                  <a:lnTo>
                    <a:pt x="430" y="49"/>
                  </a:lnTo>
                  <a:lnTo>
                    <a:pt x="450" y="61"/>
                  </a:lnTo>
                  <a:lnTo>
                    <a:pt x="468" y="73"/>
                  </a:lnTo>
                  <a:lnTo>
                    <a:pt x="488" y="87"/>
                  </a:lnTo>
                  <a:lnTo>
                    <a:pt x="510" y="102"/>
                  </a:lnTo>
                  <a:lnTo>
                    <a:pt x="531" y="121"/>
                  </a:lnTo>
                  <a:lnTo>
                    <a:pt x="554" y="139"/>
                  </a:lnTo>
                  <a:lnTo>
                    <a:pt x="578" y="160"/>
                  </a:lnTo>
                  <a:lnTo>
                    <a:pt x="600" y="182"/>
                  </a:lnTo>
                  <a:lnTo>
                    <a:pt x="624" y="205"/>
                  </a:lnTo>
                  <a:lnTo>
                    <a:pt x="648" y="230"/>
                  </a:lnTo>
                  <a:lnTo>
                    <a:pt x="672" y="257"/>
                  </a:lnTo>
                  <a:lnTo>
                    <a:pt x="696" y="283"/>
                  </a:lnTo>
                  <a:lnTo>
                    <a:pt x="721" y="312"/>
                  </a:lnTo>
                  <a:lnTo>
                    <a:pt x="745" y="342"/>
                  </a:lnTo>
                  <a:lnTo>
                    <a:pt x="770" y="373"/>
                  </a:lnTo>
                  <a:lnTo>
                    <a:pt x="795" y="405"/>
                  </a:lnTo>
                  <a:lnTo>
                    <a:pt x="821" y="439"/>
                  </a:lnTo>
                  <a:lnTo>
                    <a:pt x="845" y="473"/>
                  </a:lnTo>
                  <a:lnTo>
                    <a:pt x="871" y="509"/>
                  </a:lnTo>
                  <a:lnTo>
                    <a:pt x="896" y="545"/>
                  </a:lnTo>
                  <a:lnTo>
                    <a:pt x="922" y="583"/>
                  </a:lnTo>
                  <a:lnTo>
                    <a:pt x="946" y="623"/>
                  </a:lnTo>
                  <a:lnTo>
                    <a:pt x="972" y="662"/>
                  </a:lnTo>
                  <a:lnTo>
                    <a:pt x="997" y="703"/>
                  </a:lnTo>
                  <a:lnTo>
                    <a:pt x="1023" y="744"/>
                  </a:lnTo>
                  <a:lnTo>
                    <a:pt x="1047" y="787"/>
                  </a:lnTo>
                  <a:lnTo>
                    <a:pt x="1073" y="830"/>
                  </a:lnTo>
                  <a:lnTo>
                    <a:pt x="1122" y="920"/>
                  </a:lnTo>
                  <a:lnTo>
                    <a:pt x="1172" y="1012"/>
                  </a:lnTo>
                  <a:lnTo>
                    <a:pt x="1219" y="1108"/>
                  </a:lnTo>
                  <a:lnTo>
                    <a:pt x="1267" y="1206"/>
                  </a:lnTo>
                  <a:lnTo>
                    <a:pt x="1269" y="1210"/>
                  </a:lnTo>
                  <a:lnTo>
                    <a:pt x="1288" y="1258"/>
                  </a:lnTo>
                  <a:lnTo>
                    <a:pt x="1290" y="1264"/>
                  </a:lnTo>
                  <a:lnTo>
                    <a:pt x="1316" y="1331"/>
                  </a:lnTo>
                  <a:lnTo>
                    <a:pt x="1341" y="1397"/>
                  </a:lnTo>
                  <a:lnTo>
                    <a:pt x="1365" y="1463"/>
                  </a:lnTo>
                  <a:lnTo>
                    <a:pt x="1387" y="1528"/>
                  </a:lnTo>
                  <a:lnTo>
                    <a:pt x="1408" y="1593"/>
                  </a:lnTo>
                  <a:lnTo>
                    <a:pt x="1428" y="1657"/>
                  </a:lnTo>
                  <a:lnTo>
                    <a:pt x="1447" y="1719"/>
                  </a:lnTo>
                  <a:lnTo>
                    <a:pt x="1463" y="1782"/>
                  </a:lnTo>
                  <a:lnTo>
                    <a:pt x="1480" y="1843"/>
                  </a:lnTo>
                  <a:lnTo>
                    <a:pt x="1494" y="1903"/>
                  </a:lnTo>
                  <a:lnTo>
                    <a:pt x="1507" y="1962"/>
                  </a:lnTo>
                  <a:lnTo>
                    <a:pt x="1519" y="2018"/>
                  </a:lnTo>
                  <a:lnTo>
                    <a:pt x="1529" y="2075"/>
                  </a:lnTo>
                  <a:lnTo>
                    <a:pt x="1539" y="2129"/>
                  </a:lnTo>
                  <a:lnTo>
                    <a:pt x="1546" y="2182"/>
                  </a:lnTo>
                  <a:lnTo>
                    <a:pt x="1552" y="2233"/>
                  </a:lnTo>
                  <a:lnTo>
                    <a:pt x="1557" y="2288"/>
                  </a:lnTo>
                  <a:lnTo>
                    <a:pt x="1560" y="2341"/>
                  </a:lnTo>
                  <a:lnTo>
                    <a:pt x="1561" y="2393"/>
                  </a:lnTo>
                  <a:lnTo>
                    <a:pt x="1561" y="2441"/>
                  </a:lnTo>
                  <a:lnTo>
                    <a:pt x="1560" y="2465"/>
                  </a:lnTo>
                  <a:lnTo>
                    <a:pt x="1558" y="2487"/>
                  </a:lnTo>
                  <a:lnTo>
                    <a:pt x="1556" y="2510"/>
                  </a:lnTo>
                  <a:lnTo>
                    <a:pt x="1554" y="2531"/>
                  </a:lnTo>
                  <a:lnTo>
                    <a:pt x="1551" y="2552"/>
                  </a:lnTo>
                  <a:lnTo>
                    <a:pt x="1547" y="2572"/>
                  </a:lnTo>
                  <a:lnTo>
                    <a:pt x="1543" y="2592"/>
                  </a:lnTo>
                  <a:lnTo>
                    <a:pt x="1539" y="2611"/>
                  </a:lnTo>
                  <a:lnTo>
                    <a:pt x="1533" y="2629"/>
                  </a:lnTo>
                  <a:lnTo>
                    <a:pt x="1528" y="2646"/>
                  </a:lnTo>
                  <a:lnTo>
                    <a:pt x="1521" y="2664"/>
                  </a:lnTo>
                  <a:lnTo>
                    <a:pt x="1515" y="2679"/>
                  </a:lnTo>
                  <a:lnTo>
                    <a:pt x="1508" y="2695"/>
                  </a:lnTo>
                  <a:lnTo>
                    <a:pt x="1500" y="2709"/>
                  </a:lnTo>
                  <a:lnTo>
                    <a:pt x="1491" y="2723"/>
                  </a:lnTo>
                  <a:lnTo>
                    <a:pt x="1483" y="2736"/>
                  </a:lnTo>
                  <a:lnTo>
                    <a:pt x="1474" y="2748"/>
                  </a:lnTo>
                  <a:lnTo>
                    <a:pt x="1463" y="2760"/>
                  </a:lnTo>
                  <a:lnTo>
                    <a:pt x="1453" y="2770"/>
                  </a:lnTo>
                  <a:lnTo>
                    <a:pt x="1443" y="2779"/>
                  </a:lnTo>
                  <a:lnTo>
                    <a:pt x="1431" y="2788"/>
                  </a:lnTo>
                  <a:lnTo>
                    <a:pt x="1419" y="2796"/>
                  </a:lnTo>
                  <a:lnTo>
                    <a:pt x="1407" y="2803"/>
                  </a:lnTo>
                  <a:lnTo>
                    <a:pt x="1393" y="2809"/>
                  </a:lnTo>
                  <a:lnTo>
                    <a:pt x="1391" y="2810"/>
                  </a:lnTo>
                  <a:lnTo>
                    <a:pt x="1390" y="2810"/>
                  </a:lnTo>
                  <a:lnTo>
                    <a:pt x="1389" y="2810"/>
                  </a:lnTo>
                  <a:lnTo>
                    <a:pt x="1387" y="2811"/>
                  </a:lnTo>
                  <a:lnTo>
                    <a:pt x="1385" y="2812"/>
                  </a:lnTo>
                  <a:lnTo>
                    <a:pt x="1368" y="2817"/>
                  </a:lnTo>
                  <a:lnTo>
                    <a:pt x="1350" y="2821"/>
                  </a:lnTo>
                  <a:lnTo>
                    <a:pt x="1332" y="2825"/>
                  </a:lnTo>
                  <a:lnTo>
                    <a:pt x="1312" y="2825"/>
                  </a:lnTo>
                  <a:lnTo>
                    <a:pt x="1292" y="2825"/>
                  </a:lnTo>
                  <a:lnTo>
                    <a:pt x="1273" y="2822"/>
                  </a:lnTo>
                  <a:lnTo>
                    <a:pt x="1253" y="2819"/>
                  </a:lnTo>
                  <a:lnTo>
                    <a:pt x="1233" y="2814"/>
                  </a:lnTo>
                  <a:lnTo>
                    <a:pt x="1214" y="2809"/>
                  </a:lnTo>
                  <a:lnTo>
                    <a:pt x="1196" y="2802"/>
                  </a:lnTo>
                  <a:lnTo>
                    <a:pt x="1177" y="2795"/>
                  </a:lnTo>
                  <a:lnTo>
                    <a:pt x="1159" y="2785"/>
                  </a:lnTo>
                  <a:lnTo>
                    <a:pt x="1139" y="2775"/>
                  </a:lnTo>
                  <a:lnTo>
                    <a:pt x="1120" y="2765"/>
                  </a:lnTo>
                  <a:lnTo>
                    <a:pt x="1101" y="2752"/>
                  </a:lnTo>
                  <a:lnTo>
                    <a:pt x="1081" y="2740"/>
                  </a:lnTo>
                  <a:lnTo>
                    <a:pt x="1058" y="2723"/>
                  </a:lnTo>
                  <a:lnTo>
                    <a:pt x="1035" y="2706"/>
                  </a:lnTo>
                  <a:lnTo>
                    <a:pt x="1011" y="2686"/>
                  </a:lnTo>
                  <a:lnTo>
                    <a:pt x="988" y="2666"/>
                  </a:lnTo>
                  <a:lnTo>
                    <a:pt x="963" y="2644"/>
                  </a:lnTo>
                  <a:lnTo>
                    <a:pt x="938" y="2620"/>
                  </a:lnTo>
                  <a:lnTo>
                    <a:pt x="913" y="2596"/>
                  </a:lnTo>
                  <a:lnTo>
                    <a:pt x="889" y="2570"/>
                  </a:lnTo>
                  <a:lnTo>
                    <a:pt x="864" y="2542"/>
                  </a:lnTo>
                  <a:lnTo>
                    <a:pt x="838" y="2513"/>
                  </a:lnTo>
                  <a:lnTo>
                    <a:pt x="812" y="2483"/>
                  </a:lnTo>
                  <a:lnTo>
                    <a:pt x="788" y="2452"/>
                  </a:lnTo>
                  <a:lnTo>
                    <a:pt x="762" y="2420"/>
                  </a:lnTo>
                  <a:lnTo>
                    <a:pt x="736" y="2387"/>
                  </a:lnTo>
                  <a:lnTo>
                    <a:pt x="710" y="2352"/>
                  </a:lnTo>
                  <a:lnTo>
                    <a:pt x="686" y="2316"/>
                  </a:lnTo>
                  <a:lnTo>
                    <a:pt x="660" y="2280"/>
                  </a:lnTo>
                  <a:lnTo>
                    <a:pt x="634" y="2242"/>
                  </a:lnTo>
                  <a:lnTo>
                    <a:pt x="610" y="2204"/>
                  </a:lnTo>
                  <a:lnTo>
                    <a:pt x="585" y="2164"/>
                  </a:lnTo>
                  <a:lnTo>
                    <a:pt x="559" y="2122"/>
                  </a:lnTo>
                  <a:lnTo>
                    <a:pt x="534" y="2081"/>
                  </a:lnTo>
                  <a:lnTo>
                    <a:pt x="511" y="2039"/>
                  </a:lnTo>
                  <a:lnTo>
                    <a:pt x="486" y="1995"/>
                  </a:lnTo>
                  <a:lnTo>
                    <a:pt x="462" y="1950"/>
                  </a:lnTo>
                  <a:lnTo>
                    <a:pt x="439" y="1906"/>
                  </a:lnTo>
                  <a:lnTo>
                    <a:pt x="416" y="1860"/>
                  </a:lnTo>
                  <a:lnTo>
                    <a:pt x="393" y="1812"/>
                  </a:lnTo>
                  <a:lnTo>
                    <a:pt x="371" y="1765"/>
                  </a:lnTo>
                  <a:lnTo>
                    <a:pt x="349" y="1717"/>
                  </a:lnTo>
                  <a:lnTo>
                    <a:pt x="328" y="1668"/>
                  </a:lnTo>
                  <a:lnTo>
                    <a:pt x="307" y="1618"/>
                  </a:lnTo>
                  <a:lnTo>
                    <a:pt x="295" y="1593"/>
                  </a:lnTo>
                  <a:lnTo>
                    <a:pt x="283" y="1566"/>
                  </a:lnTo>
                  <a:lnTo>
                    <a:pt x="272" y="1540"/>
                  </a:lnTo>
                  <a:lnTo>
                    <a:pt x="260" y="1514"/>
                  </a:lnTo>
                  <a:lnTo>
                    <a:pt x="249" y="1489"/>
                  </a:lnTo>
                  <a:lnTo>
                    <a:pt x="238" y="1463"/>
                  </a:lnTo>
                  <a:lnTo>
                    <a:pt x="227" y="1437"/>
                  </a:lnTo>
                  <a:lnTo>
                    <a:pt x="217" y="1411"/>
                  </a:lnTo>
                  <a:lnTo>
                    <a:pt x="193" y="1350"/>
                  </a:lnTo>
                  <a:lnTo>
                    <a:pt x="171" y="1290"/>
                  </a:lnTo>
                  <a:lnTo>
                    <a:pt x="150" y="1230"/>
                  </a:lnTo>
                  <a:lnTo>
                    <a:pt x="131" y="1170"/>
                  </a:lnTo>
                  <a:lnTo>
                    <a:pt x="112" y="1112"/>
                  </a:lnTo>
                  <a:lnTo>
                    <a:pt x="96" y="1055"/>
                  </a:lnTo>
                  <a:lnTo>
                    <a:pt x="80" y="997"/>
                  </a:lnTo>
                  <a:lnTo>
                    <a:pt x="66" y="941"/>
                  </a:lnTo>
                  <a:lnTo>
                    <a:pt x="53" y="887"/>
                  </a:lnTo>
                  <a:lnTo>
                    <a:pt x="42" y="833"/>
                  </a:lnTo>
                  <a:lnTo>
                    <a:pt x="32" y="780"/>
                  </a:lnTo>
                  <a:lnTo>
                    <a:pt x="23" y="729"/>
                  </a:lnTo>
                  <a:lnTo>
                    <a:pt x="16" y="678"/>
                  </a:lnTo>
                  <a:lnTo>
                    <a:pt x="10" y="630"/>
                  </a:lnTo>
                  <a:lnTo>
                    <a:pt x="6" y="583"/>
                  </a:lnTo>
                  <a:lnTo>
                    <a:pt x="3" y="537"/>
                  </a:lnTo>
                  <a:lnTo>
                    <a:pt x="1" y="489"/>
                  </a:lnTo>
                  <a:lnTo>
                    <a:pt x="0" y="441"/>
                  </a:lnTo>
                  <a:lnTo>
                    <a:pt x="2" y="396"/>
                  </a:lnTo>
                  <a:lnTo>
                    <a:pt x="5" y="353"/>
                  </a:lnTo>
                  <a:lnTo>
                    <a:pt x="7" y="332"/>
                  </a:lnTo>
                  <a:lnTo>
                    <a:pt x="9" y="312"/>
                  </a:lnTo>
                  <a:lnTo>
                    <a:pt x="12" y="292"/>
                  </a:lnTo>
                  <a:lnTo>
                    <a:pt x="16" y="273"/>
                  </a:lnTo>
                  <a:lnTo>
                    <a:pt x="19" y="255"/>
                  </a:lnTo>
                  <a:lnTo>
                    <a:pt x="24" y="236"/>
                  </a:lnTo>
                  <a:lnTo>
                    <a:pt x="29" y="219"/>
                  </a:lnTo>
                  <a:lnTo>
                    <a:pt x="34" y="201"/>
                  </a:lnTo>
                  <a:lnTo>
                    <a:pt x="40" y="186"/>
                  </a:lnTo>
                  <a:lnTo>
                    <a:pt x="45" y="169"/>
                  </a:lnTo>
                  <a:lnTo>
                    <a:pt x="52" y="155"/>
                  </a:lnTo>
                  <a:lnTo>
                    <a:pt x="58" y="140"/>
                  </a:lnTo>
                  <a:lnTo>
                    <a:pt x="66" y="126"/>
                  </a:lnTo>
                  <a:lnTo>
                    <a:pt x="74" y="113"/>
                  </a:lnTo>
                  <a:lnTo>
                    <a:pt x="81" y="101"/>
                  </a:lnTo>
                  <a:lnTo>
                    <a:pt x="90" y="89"/>
                  </a:lnTo>
                  <a:lnTo>
                    <a:pt x="99" y="77"/>
                  </a:lnTo>
                  <a:lnTo>
                    <a:pt x="108" y="67"/>
                  </a:lnTo>
                  <a:lnTo>
                    <a:pt x="117" y="58"/>
                  </a:lnTo>
                  <a:lnTo>
                    <a:pt x="127" y="48"/>
                  </a:lnTo>
                  <a:lnTo>
                    <a:pt x="138" y="40"/>
                  </a:lnTo>
                  <a:lnTo>
                    <a:pt x="149" y="33"/>
                  </a:lnTo>
                  <a:lnTo>
                    <a:pt x="160" y="26"/>
                  </a:lnTo>
                  <a:lnTo>
                    <a:pt x="172" y="20"/>
                  </a:lnTo>
                  <a:lnTo>
                    <a:pt x="175" y="19"/>
                  </a:lnTo>
                  <a:lnTo>
                    <a:pt x="181" y="15"/>
                  </a:lnTo>
                  <a:lnTo>
                    <a:pt x="186" y="14"/>
                  </a:lnTo>
                  <a:lnTo>
                    <a:pt x="190" y="12"/>
                  </a:lnTo>
                  <a:close/>
                  <a:moveTo>
                    <a:pt x="293" y="175"/>
                  </a:moveTo>
                  <a:lnTo>
                    <a:pt x="280" y="172"/>
                  </a:lnTo>
                  <a:lnTo>
                    <a:pt x="269" y="171"/>
                  </a:lnTo>
                  <a:lnTo>
                    <a:pt x="257" y="171"/>
                  </a:lnTo>
                  <a:lnTo>
                    <a:pt x="248" y="173"/>
                  </a:lnTo>
                  <a:lnTo>
                    <a:pt x="248" y="174"/>
                  </a:lnTo>
                  <a:lnTo>
                    <a:pt x="243" y="175"/>
                  </a:lnTo>
                  <a:lnTo>
                    <a:pt x="238" y="179"/>
                  </a:lnTo>
                  <a:lnTo>
                    <a:pt x="233" y="182"/>
                  </a:lnTo>
                  <a:lnTo>
                    <a:pt x="227" y="187"/>
                  </a:lnTo>
                  <a:lnTo>
                    <a:pt x="223" y="192"/>
                  </a:lnTo>
                  <a:lnTo>
                    <a:pt x="214" y="203"/>
                  </a:lnTo>
                  <a:lnTo>
                    <a:pt x="207" y="216"/>
                  </a:lnTo>
                  <a:lnTo>
                    <a:pt x="200" y="232"/>
                  </a:lnTo>
                  <a:lnTo>
                    <a:pt x="193" y="249"/>
                  </a:lnTo>
                  <a:lnTo>
                    <a:pt x="187" y="269"/>
                  </a:lnTo>
                  <a:lnTo>
                    <a:pt x="182" y="291"/>
                  </a:lnTo>
                  <a:lnTo>
                    <a:pt x="178" y="314"/>
                  </a:lnTo>
                  <a:lnTo>
                    <a:pt x="175" y="340"/>
                  </a:lnTo>
                  <a:lnTo>
                    <a:pt x="173" y="367"/>
                  </a:lnTo>
                  <a:lnTo>
                    <a:pt x="171" y="396"/>
                  </a:lnTo>
                  <a:lnTo>
                    <a:pt x="171" y="427"/>
                  </a:lnTo>
                  <a:lnTo>
                    <a:pt x="171" y="459"/>
                  </a:lnTo>
                  <a:lnTo>
                    <a:pt x="172" y="493"/>
                  </a:lnTo>
                  <a:lnTo>
                    <a:pt x="173" y="528"/>
                  </a:lnTo>
                  <a:lnTo>
                    <a:pt x="176" y="570"/>
                  </a:lnTo>
                  <a:lnTo>
                    <a:pt x="180" y="614"/>
                  </a:lnTo>
                  <a:lnTo>
                    <a:pt x="186" y="660"/>
                  </a:lnTo>
                  <a:lnTo>
                    <a:pt x="192" y="706"/>
                  </a:lnTo>
                  <a:lnTo>
                    <a:pt x="201" y="755"/>
                  </a:lnTo>
                  <a:lnTo>
                    <a:pt x="210" y="803"/>
                  </a:lnTo>
                  <a:lnTo>
                    <a:pt x="221" y="854"/>
                  </a:lnTo>
                  <a:lnTo>
                    <a:pt x="233" y="905"/>
                  </a:lnTo>
                  <a:lnTo>
                    <a:pt x="246" y="958"/>
                  </a:lnTo>
                  <a:lnTo>
                    <a:pt x="260" y="1011"/>
                  </a:lnTo>
                  <a:lnTo>
                    <a:pt x="277" y="1065"/>
                  </a:lnTo>
                  <a:lnTo>
                    <a:pt x="293" y="1121"/>
                  </a:lnTo>
                  <a:lnTo>
                    <a:pt x="312" y="1176"/>
                  </a:lnTo>
                  <a:lnTo>
                    <a:pt x="332" y="1233"/>
                  </a:lnTo>
                  <a:lnTo>
                    <a:pt x="353" y="1290"/>
                  </a:lnTo>
                  <a:lnTo>
                    <a:pt x="376" y="1347"/>
                  </a:lnTo>
                  <a:lnTo>
                    <a:pt x="385" y="1372"/>
                  </a:lnTo>
                  <a:lnTo>
                    <a:pt x="395" y="1397"/>
                  </a:lnTo>
                  <a:lnTo>
                    <a:pt x="406" y="1422"/>
                  </a:lnTo>
                  <a:lnTo>
                    <a:pt x="417" y="1446"/>
                  </a:lnTo>
                  <a:lnTo>
                    <a:pt x="427" y="1471"/>
                  </a:lnTo>
                  <a:lnTo>
                    <a:pt x="439" y="1496"/>
                  </a:lnTo>
                  <a:lnTo>
                    <a:pt x="450" y="1520"/>
                  </a:lnTo>
                  <a:lnTo>
                    <a:pt x="462" y="1546"/>
                  </a:lnTo>
                  <a:lnTo>
                    <a:pt x="463" y="1550"/>
                  </a:lnTo>
                  <a:lnTo>
                    <a:pt x="483" y="1597"/>
                  </a:lnTo>
                  <a:lnTo>
                    <a:pt x="503" y="1643"/>
                  </a:lnTo>
                  <a:lnTo>
                    <a:pt x="524" y="1689"/>
                  </a:lnTo>
                  <a:lnTo>
                    <a:pt x="545" y="1734"/>
                  </a:lnTo>
                  <a:lnTo>
                    <a:pt x="565" y="1778"/>
                  </a:lnTo>
                  <a:lnTo>
                    <a:pt x="587" y="1821"/>
                  </a:lnTo>
                  <a:lnTo>
                    <a:pt x="610" y="1864"/>
                  </a:lnTo>
                  <a:lnTo>
                    <a:pt x="631" y="1905"/>
                  </a:lnTo>
                  <a:lnTo>
                    <a:pt x="654" y="1946"/>
                  </a:lnTo>
                  <a:lnTo>
                    <a:pt x="676" y="1986"/>
                  </a:lnTo>
                  <a:lnTo>
                    <a:pt x="699" y="2026"/>
                  </a:lnTo>
                  <a:lnTo>
                    <a:pt x="722" y="2064"/>
                  </a:lnTo>
                  <a:lnTo>
                    <a:pt x="745" y="2101"/>
                  </a:lnTo>
                  <a:lnTo>
                    <a:pt x="769" y="2137"/>
                  </a:lnTo>
                  <a:lnTo>
                    <a:pt x="792" y="2173"/>
                  </a:lnTo>
                  <a:lnTo>
                    <a:pt x="816" y="2207"/>
                  </a:lnTo>
                  <a:lnTo>
                    <a:pt x="839" y="2240"/>
                  </a:lnTo>
                  <a:lnTo>
                    <a:pt x="863" y="2272"/>
                  </a:lnTo>
                  <a:lnTo>
                    <a:pt x="886" y="2304"/>
                  </a:lnTo>
                  <a:lnTo>
                    <a:pt x="909" y="2334"/>
                  </a:lnTo>
                  <a:lnTo>
                    <a:pt x="933" y="2363"/>
                  </a:lnTo>
                  <a:lnTo>
                    <a:pt x="956" y="2391"/>
                  </a:lnTo>
                  <a:lnTo>
                    <a:pt x="979" y="2417"/>
                  </a:lnTo>
                  <a:lnTo>
                    <a:pt x="1002" y="2442"/>
                  </a:lnTo>
                  <a:lnTo>
                    <a:pt x="1025" y="2467"/>
                  </a:lnTo>
                  <a:lnTo>
                    <a:pt x="1047" y="2489"/>
                  </a:lnTo>
                  <a:lnTo>
                    <a:pt x="1070" y="2511"/>
                  </a:lnTo>
                  <a:lnTo>
                    <a:pt x="1093" y="2531"/>
                  </a:lnTo>
                  <a:lnTo>
                    <a:pt x="1114" y="2550"/>
                  </a:lnTo>
                  <a:lnTo>
                    <a:pt x="1136" y="2568"/>
                  </a:lnTo>
                  <a:lnTo>
                    <a:pt x="1156" y="2583"/>
                  </a:lnTo>
                  <a:lnTo>
                    <a:pt x="1177" y="2599"/>
                  </a:lnTo>
                  <a:lnTo>
                    <a:pt x="1191" y="2608"/>
                  </a:lnTo>
                  <a:lnTo>
                    <a:pt x="1205" y="2616"/>
                  </a:lnTo>
                  <a:lnTo>
                    <a:pt x="1218" y="2623"/>
                  </a:lnTo>
                  <a:lnTo>
                    <a:pt x="1231" y="2631"/>
                  </a:lnTo>
                  <a:lnTo>
                    <a:pt x="1243" y="2637"/>
                  </a:lnTo>
                  <a:lnTo>
                    <a:pt x="1255" y="2642"/>
                  </a:lnTo>
                  <a:lnTo>
                    <a:pt x="1267" y="2646"/>
                  </a:lnTo>
                  <a:lnTo>
                    <a:pt x="1278" y="2649"/>
                  </a:lnTo>
                  <a:lnTo>
                    <a:pt x="1292" y="2652"/>
                  </a:lnTo>
                  <a:lnTo>
                    <a:pt x="1306" y="2654"/>
                  </a:lnTo>
                  <a:lnTo>
                    <a:pt x="1312" y="2654"/>
                  </a:lnTo>
                  <a:lnTo>
                    <a:pt x="1317" y="2653"/>
                  </a:lnTo>
                  <a:lnTo>
                    <a:pt x="1322" y="2652"/>
                  </a:lnTo>
                  <a:lnTo>
                    <a:pt x="1327" y="2651"/>
                  </a:lnTo>
                  <a:lnTo>
                    <a:pt x="1328" y="2650"/>
                  </a:lnTo>
                  <a:lnTo>
                    <a:pt x="1334" y="2648"/>
                  </a:lnTo>
                  <a:lnTo>
                    <a:pt x="1340" y="2644"/>
                  </a:lnTo>
                  <a:lnTo>
                    <a:pt x="1345" y="2640"/>
                  </a:lnTo>
                  <a:lnTo>
                    <a:pt x="1349" y="2635"/>
                  </a:lnTo>
                  <a:lnTo>
                    <a:pt x="1354" y="2630"/>
                  </a:lnTo>
                  <a:lnTo>
                    <a:pt x="1358" y="2623"/>
                  </a:lnTo>
                  <a:lnTo>
                    <a:pt x="1362" y="2616"/>
                  </a:lnTo>
                  <a:lnTo>
                    <a:pt x="1367" y="2608"/>
                  </a:lnTo>
                  <a:lnTo>
                    <a:pt x="1374" y="2591"/>
                  </a:lnTo>
                  <a:lnTo>
                    <a:pt x="1379" y="2571"/>
                  </a:lnTo>
                  <a:lnTo>
                    <a:pt x="1384" y="2548"/>
                  </a:lnTo>
                  <a:lnTo>
                    <a:pt x="1388" y="2523"/>
                  </a:lnTo>
                  <a:lnTo>
                    <a:pt x="1390" y="2497"/>
                  </a:lnTo>
                  <a:lnTo>
                    <a:pt x="1392" y="2468"/>
                  </a:lnTo>
                  <a:lnTo>
                    <a:pt x="1393" y="2437"/>
                  </a:lnTo>
                  <a:lnTo>
                    <a:pt x="1393" y="2403"/>
                  </a:lnTo>
                  <a:lnTo>
                    <a:pt x="1391" y="2368"/>
                  </a:lnTo>
                  <a:lnTo>
                    <a:pt x="1389" y="2331"/>
                  </a:lnTo>
                  <a:lnTo>
                    <a:pt x="1386" y="2292"/>
                  </a:lnTo>
                  <a:lnTo>
                    <a:pt x="1382" y="2250"/>
                  </a:lnTo>
                  <a:lnTo>
                    <a:pt x="1377" y="2203"/>
                  </a:lnTo>
                  <a:lnTo>
                    <a:pt x="1370" y="2152"/>
                  </a:lnTo>
                  <a:lnTo>
                    <a:pt x="1360" y="2101"/>
                  </a:lnTo>
                  <a:lnTo>
                    <a:pt x="1351" y="2047"/>
                  </a:lnTo>
                  <a:lnTo>
                    <a:pt x="1340" y="1993"/>
                  </a:lnTo>
                  <a:lnTo>
                    <a:pt x="1326" y="1937"/>
                  </a:lnTo>
                  <a:lnTo>
                    <a:pt x="1313" y="1880"/>
                  </a:lnTo>
                  <a:lnTo>
                    <a:pt x="1298" y="1821"/>
                  </a:lnTo>
                  <a:lnTo>
                    <a:pt x="1281" y="1763"/>
                  </a:lnTo>
                  <a:lnTo>
                    <a:pt x="1264" y="1702"/>
                  </a:lnTo>
                  <a:lnTo>
                    <a:pt x="1244" y="1641"/>
                  </a:lnTo>
                  <a:lnTo>
                    <a:pt x="1224" y="1579"/>
                  </a:lnTo>
                  <a:lnTo>
                    <a:pt x="1203" y="1516"/>
                  </a:lnTo>
                  <a:lnTo>
                    <a:pt x="1180" y="1453"/>
                  </a:lnTo>
                  <a:lnTo>
                    <a:pt x="1156" y="1390"/>
                  </a:lnTo>
                  <a:lnTo>
                    <a:pt x="1132" y="1326"/>
                  </a:lnTo>
                  <a:lnTo>
                    <a:pt x="1130" y="1322"/>
                  </a:lnTo>
                  <a:lnTo>
                    <a:pt x="1111" y="1274"/>
                  </a:lnTo>
                  <a:lnTo>
                    <a:pt x="1066" y="1181"/>
                  </a:lnTo>
                  <a:lnTo>
                    <a:pt x="1020" y="1091"/>
                  </a:lnTo>
                  <a:lnTo>
                    <a:pt x="974" y="1004"/>
                  </a:lnTo>
                  <a:lnTo>
                    <a:pt x="928" y="920"/>
                  </a:lnTo>
                  <a:lnTo>
                    <a:pt x="880" y="838"/>
                  </a:lnTo>
                  <a:lnTo>
                    <a:pt x="833" y="761"/>
                  </a:lnTo>
                  <a:lnTo>
                    <a:pt x="786" y="687"/>
                  </a:lnTo>
                  <a:lnTo>
                    <a:pt x="739" y="617"/>
                  </a:lnTo>
                  <a:lnTo>
                    <a:pt x="716" y="584"/>
                  </a:lnTo>
                  <a:lnTo>
                    <a:pt x="693" y="551"/>
                  </a:lnTo>
                  <a:lnTo>
                    <a:pt x="669" y="521"/>
                  </a:lnTo>
                  <a:lnTo>
                    <a:pt x="647" y="491"/>
                  </a:lnTo>
                  <a:lnTo>
                    <a:pt x="624" y="462"/>
                  </a:lnTo>
                  <a:lnTo>
                    <a:pt x="601" y="434"/>
                  </a:lnTo>
                  <a:lnTo>
                    <a:pt x="579" y="407"/>
                  </a:lnTo>
                  <a:lnTo>
                    <a:pt x="556" y="381"/>
                  </a:lnTo>
                  <a:lnTo>
                    <a:pt x="534" y="358"/>
                  </a:lnTo>
                  <a:lnTo>
                    <a:pt x="513" y="335"/>
                  </a:lnTo>
                  <a:lnTo>
                    <a:pt x="491" y="313"/>
                  </a:lnTo>
                  <a:lnTo>
                    <a:pt x="469" y="293"/>
                  </a:lnTo>
                  <a:lnTo>
                    <a:pt x="449" y="274"/>
                  </a:lnTo>
                  <a:lnTo>
                    <a:pt x="428" y="257"/>
                  </a:lnTo>
                  <a:lnTo>
                    <a:pt x="409" y="240"/>
                  </a:lnTo>
                  <a:lnTo>
                    <a:pt x="388" y="226"/>
                  </a:lnTo>
                  <a:lnTo>
                    <a:pt x="362" y="208"/>
                  </a:lnTo>
                  <a:lnTo>
                    <a:pt x="339" y="194"/>
                  </a:lnTo>
                  <a:lnTo>
                    <a:pt x="326" y="189"/>
                  </a:lnTo>
                  <a:lnTo>
                    <a:pt x="315" y="183"/>
                  </a:lnTo>
                  <a:lnTo>
                    <a:pt x="305" y="179"/>
                  </a:lnTo>
                  <a:lnTo>
                    <a:pt x="293" y="17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8" name="Freeform 43"/>
            <p:cNvSpPr>
              <a:spLocks noChangeArrowheads="1"/>
            </p:cNvSpPr>
            <p:nvPr userDrawn="1"/>
          </p:nvSpPr>
          <p:spPr bwMode="auto">
            <a:xfrm>
              <a:off x="6237288" y="1073736"/>
              <a:ext cx="625475" cy="1462613"/>
            </a:xfrm>
            <a:custGeom>
              <a:avLst/>
              <a:gdLst>
                <a:gd name="T0" fmla="*/ 172 w 1392"/>
                <a:gd name="T1" fmla="*/ 0 h 2653"/>
                <a:gd name="T2" fmla="*/ 243 w 1392"/>
                <a:gd name="T3" fmla="*/ 11 h 2653"/>
                <a:gd name="T4" fmla="*/ 324 w 1392"/>
                <a:gd name="T5" fmla="*/ 50 h 2653"/>
                <a:gd name="T6" fmla="*/ 411 w 1392"/>
                <a:gd name="T7" fmla="*/ 117 h 2653"/>
                <a:gd name="T8" fmla="*/ 505 w 1392"/>
                <a:gd name="T9" fmla="*/ 207 h 2653"/>
                <a:gd name="T10" fmla="*/ 603 w 1392"/>
                <a:gd name="T11" fmla="*/ 320 h 2653"/>
                <a:gd name="T12" fmla="*/ 704 w 1392"/>
                <a:gd name="T13" fmla="*/ 453 h 2653"/>
                <a:gd name="T14" fmla="*/ 805 w 1392"/>
                <a:gd name="T15" fmla="*/ 606 h 2653"/>
                <a:gd name="T16" fmla="*/ 907 w 1392"/>
                <a:gd name="T17" fmla="*/ 775 h 2653"/>
                <a:gd name="T18" fmla="*/ 1008 w 1392"/>
                <a:gd name="T19" fmla="*/ 959 h 2653"/>
                <a:gd name="T20" fmla="*/ 1104 w 1392"/>
                <a:gd name="T21" fmla="*/ 1156 h 2653"/>
                <a:gd name="T22" fmla="*/ 1183 w 1392"/>
                <a:gd name="T23" fmla="*/ 1358 h 2653"/>
                <a:gd name="T24" fmla="*/ 1249 w 1392"/>
                <a:gd name="T25" fmla="*/ 1555 h 2653"/>
                <a:gd name="T26" fmla="*/ 1303 w 1392"/>
                <a:gd name="T27" fmla="*/ 1744 h 2653"/>
                <a:gd name="T28" fmla="*/ 1344 w 1392"/>
                <a:gd name="T29" fmla="*/ 1922 h 2653"/>
                <a:gd name="T30" fmla="*/ 1373 w 1392"/>
                <a:gd name="T31" fmla="*/ 2088 h 2653"/>
                <a:gd name="T32" fmla="*/ 1389 w 1392"/>
                <a:gd name="T33" fmla="*/ 2238 h 2653"/>
                <a:gd name="T34" fmla="*/ 1391 w 1392"/>
                <a:gd name="T35" fmla="*/ 2368 h 2653"/>
                <a:gd name="T36" fmla="*/ 1379 w 1392"/>
                <a:gd name="T37" fmla="*/ 2478 h 2653"/>
                <a:gd name="T38" fmla="*/ 1353 w 1392"/>
                <a:gd name="T39" fmla="*/ 2563 h 2653"/>
                <a:gd name="T40" fmla="*/ 1310 w 1392"/>
                <a:gd name="T41" fmla="*/ 2622 h 2653"/>
                <a:gd name="T42" fmla="*/ 1254 w 1392"/>
                <a:gd name="T43" fmla="*/ 2651 h 2653"/>
                <a:gd name="T44" fmla="*/ 1184 w 1392"/>
                <a:gd name="T45" fmla="*/ 2649 h 2653"/>
                <a:gd name="T46" fmla="*/ 1103 w 1392"/>
                <a:gd name="T47" fmla="*/ 2619 h 2653"/>
                <a:gd name="T48" fmla="*/ 1014 w 1392"/>
                <a:gd name="T49" fmla="*/ 2561 h 2653"/>
                <a:gd name="T50" fmla="*/ 918 w 1392"/>
                <a:gd name="T51" fmla="*/ 2479 h 2653"/>
                <a:gd name="T52" fmla="*/ 819 w 1392"/>
                <a:gd name="T53" fmla="*/ 2374 h 2653"/>
                <a:gd name="T54" fmla="*/ 716 w 1392"/>
                <a:gd name="T55" fmla="*/ 2247 h 2653"/>
                <a:gd name="T56" fmla="*/ 614 w 1392"/>
                <a:gd name="T57" fmla="*/ 2100 h 2653"/>
                <a:gd name="T58" fmla="*/ 514 w 1392"/>
                <a:gd name="T59" fmla="*/ 1937 h 2653"/>
                <a:gd name="T60" fmla="*/ 417 w 1392"/>
                <a:gd name="T61" fmla="*/ 1757 h 2653"/>
                <a:gd name="T62" fmla="*/ 328 w 1392"/>
                <a:gd name="T63" fmla="*/ 1563 h 2653"/>
                <a:gd name="T64" fmla="*/ 239 w 1392"/>
                <a:gd name="T65" fmla="*/ 1361 h 2653"/>
                <a:gd name="T66" fmla="*/ 162 w 1392"/>
                <a:gd name="T67" fmla="*/ 1163 h 2653"/>
                <a:gd name="T68" fmla="*/ 100 w 1392"/>
                <a:gd name="T69" fmla="*/ 972 h 2653"/>
                <a:gd name="T70" fmla="*/ 53 w 1392"/>
                <a:gd name="T71" fmla="*/ 789 h 2653"/>
                <a:gd name="T72" fmla="*/ 21 w 1392"/>
                <a:gd name="T73" fmla="*/ 619 h 2653"/>
                <a:gd name="T74" fmla="*/ 4 w 1392"/>
                <a:gd name="T75" fmla="*/ 463 h 2653"/>
                <a:gd name="T76" fmla="*/ 1 w 1392"/>
                <a:gd name="T77" fmla="*/ 326 h 2653"/>
                <a:gd name="T78" fmla="*/ 13 w 1392"/>
                <a:gd name="T79" fmla="*/ 210 h 2653"/>
                <a:gd name="T80" fmla="*/ 37 w 1392"/>
                <a:gd name="T81" fmla="*/ 116 h 2653"/>
                <a:gd name="T82" fmla="*/ 76 w 1392"/>
                <a:gd name="T83" fmla="*/ 48 h 2653"/>
                <a:gd name="T84" fmla="*/ 130 w 1392"/>
                <a:gd name="T85" fmla="*/ 9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92" h="2653">
                  <a:moveTo>
                    <a:pt x="130" y="9"/>
                  </a:moveTo>
                  <a:lnTo>
                    <a:pt x="151" y="3"/>
                  </a:lnTo>
                  <a:lnTo>
                    <a:pt x="172" y="0"/>
                  </a:lnTo>
                  <a:lnTo>
                    <a:pt x="195" y="1"/>
                  </a:lnTo>
                  <a:lnTo>
                    <a:pt x="219" y="4"/>
                  </a:lnTo>
                  <a:lnTo>
                    <a:pt x="243" y="11"/>
                  </a:lnTo>
                  <a:lnTo>
                    <a:pt x="269" y="21"/>
                  </a:lnTo>
                  <a:lnTo>
                    <a:pt x="296" y="35"/>
                  </a:lnTo>
                  <a:lnTo>
                    <a:pt x="324" y="50"/>
                  </a:lnTo>
                  <a:lnTo>
                    <a:pt x="353" y="70"/>
                  </a:lnTo>
                  <a:lnTo>
                    <a:pt x="381" y="91"/>
                  </a:lnTo>
                  <a:lnTo>
                    <a:pt x="411" y="117"/>
                  </a:lnTo>
                  <a:lnTo>
                    <a:pt x="442" y="144"/>
                  </a:lnTo>
                  <a:lnTo>
                    <a:pt x="473" y="174"/>
                  </a:lnTo>
                  <a:lnTo>
                    <a:pt x="505" y="207"/>
                  </a:lnTo>
                  <a:lnTo>
                    <a:pt x="537" y="242"/>
                  </a:lnTo>
                  <a:lnTo>
                    <a:pt x="570" y="280"/>
                  </a:lnTo>
                  <a:lnTo>
                    <a:pt x="603" y="320"/>
                  </a:lnTo>
                  <a:lnTo>
                    <a:pt x="636" y="362"/>
                  </a:lnTo>
                  <a:lnTo>
                    <a:pt x="670" y="407"/>
                  </a:lnTo>
                  <a:lnTo>
                    <a:pt x="704" y="453"/>
                  </a:lnTo>
                  <a:lnTo>
                    <a:pt x="737" y="503"/>
                  </a:lnTo>
                  <a:lnTo>
                    <a:pt x="771" y="553"/>
                  </a:lnTo>
                  <a:lnTo>
                    <a:pt x="805" y="606"/>
                  </a:lnTo>
                  <a:lnTo>
                    <a:pt x="840" y="660"/>
                  </a:lnTo>
                  <a:lnTo>
                    <a:pt x="873" y="717"/>
                  </a:lnTo>
                  <a:lnTo>
                    <a:pt x="907" y="775"/>
                  </a:lnTo>
                  <a:lnTo>
                    <a:pt x="941" y="835"/>
                  </a:lnTo>
                  <a:lnTo>
                    <a:pt x="975" y="896"/>
                  </a:lnTo>
                  <a:lnTo>
                    <a:pt x="1008" y="959"/>
                  </a:lnTo>
                  <a:lnTo>
                    <a:pt x="1041" y="1023"/>
                  </a:lnTo>
                  <a:lnTo>
                    <a:pt x="1072" y="1089"/>
                  </a:lnTo>
                  <a:lnTo>
                    <a:pt x="1104" y="1156"/>
                  </a:lnTo>
                  <a:lnTo>
                    <a:pt x="1132" y="1224"/>
                  </a:lnTo>
                  <a:lnTo>
                    <a:pt x="1158" y="1291"/>
                  </a:lnTo>
                  <a:lnTo>
                    <a:pt x="1183" y="1358"/>
                  </a:lnTo>
                  <a:lnTo>
                    <a:pt x="1206" y="1424"/>
                  </a:lnTo>
                  <a:lnTo>
                    <a:pt x="1228" y="1490"/>
                  </a:lnTo>
                  <a:lnTo>
                    <a:pt x="1249" y="1555"/>
                  </a:lnTo>
                  <a:lnTo>
                    <a:pt x="1268" y="1619"/>
                  </a:lnTo>
                  <a:lnTo>
                    <a:pt x="1287" y="1682"/>
                  </a:lnTo>
                  <a:lnTo>
                    <a:pt x="1303" y="1744"/>
                  </a:lnTo>
                  <a:lnTo>
                    <a:pt x="1319" y="1805"/>
                  </a:lnTo>
                  <a:lnTo>
                    <a:pt x="1332" y="1864"/>
                  </a:lnTo>
                  <a:lnTo>
                    <a:pt x="1344" y="1922"/>
                  </a:lnTo>
                  <a:lnTo>
                    <a:pt x="1356" y="1979"/>
                  </a:lnTo>
                  <a:lnTo>
                    <a:pt x="1365" y="2034"/>
                  </a:lnTo>
                  <a:lnTo>
                    <a:pt x="1373" y="2088"/>
                  </a:lnTo>
                  <a:lnTo>
                    <a:pt x="1380" y="2140"/>
                  </a:lnTo>
                  <a:lnTo>
                    <a:pt x="1386" y="2189"/>
                  </a:lnTo>
                  <a:lnTo>
                    <a:pt x="1389" y="2238"/>
                  </a:lnTo>
                  <a:lnTo>
                    <a:pt x="1392" y="2283"/>
                  </a:lnTo>
                  <a:lnTo>
                    <a:pt x="1392" y="2327"/>
                  </a:lnTo>
                  <a:lnTo>
                    <a:pt x="1391" y="2368"/>
                  </a:lnTo>
                  <a:lnTo>
                    <a:pt x="1389" y="2408"/>
                  </a:lnTo>
                  <a:lnTo>
                    <a:pt x="1385" y="2444"/>
                  </a:lnTo>
                  <a:lnTo>
                    <a:pt x="1379" y="2478"/>
                  </a:lnTo>
                  <a:lnTo>
                    <a:pt x="1372" y="2509"/>
                  </a:lnTo>
                  <a:lnTo>
                    <a:pt x="1363" y="2537"/>
                  </a:lnTo>
                  <a:lnTo>
                    <a:pt x="1353" y="2563"/>
                  </a:lnTo>
                  <a:lnTo>
                    <a:pt x="1340" y="2586"/>
                  </a:lnTo>
                  <a:lnTo>
                    <a:pt x="1326" y="2606"/>
                  </a:lnTo>
                  <a:lnTo>
                    <a:pt x="1310" y="2622"/>
                  </a:lnTo>
                  <a:lnTo>
                    <a:pt x="1293" y="2634"/>
                  </a:lnTo>
                  <a:lnTo>
                    <a:pt x="1274" y="2645"/>
                  </a:lnTo>
                  <a:lnTo>
                    <a:pt x="1254" y="2651"/>
                  </a:lnTo>
                  <a:lnTo>
                    <a:pt x="1232" y="2653"/>
                  </a:lnTo>
                  <a:lnTo>
                    <a:pt x="1208" y="2653"/>
                  </a:lnTo>
                  <a:lnTo>
                    <a:pt x="1184" y="2649"/>
                  </a:lnTo>
                  <a:lnTo>
                    <a:pt x="1158" y="2643"/>
                  </a:lnTo>
                  <a:lnTo>
                    <a:pt x="1131" y="2632"/>
                  </a:lnTo>
                  <a:lnTo>
                    <a:pt x="1103" y="2619"/>
                  </a:lnTo>
                  <a:lnTo>
                    <a:pt x="1075" y="2602"/>
                  </a:lnTo>
                  <a:lnTo>
                    <a:pt x="1045" y="2584"/>
                  </a:lnTo>
                  <a:lnTo>
                    <a:pt x="1014" y="2561"/>
                  </a:lnTo>
                  <a:lnTo>
                    <a:pt x="983" y="2536"/>
                  </a:lnTo>
                  <a:lnTo>
                    <a:pt x="951" y="2509"/>
                  </a:lnTo>
                  <a:lnTo>
                    <a:pt x="918" y="2479"/>
                  </a:lnTo>
                  <a:lnTo>
                    <a:pt x="886" y="2446"/>
                  </a:lnTo>
                  <a:lnTo>
                    <a:pt x="852" y="2411"/>
                  </a:lnTo>
                  <a:lnTo>
                    <a:pt x="819" y="2374"/>
                  </a:lnTo>
                  <a:lnTo>
                    <a:pt x="785" y="2333"/>
                  </a:lnTo>
                  <a:lnTo>
                    <a:pt x="750" y="2291"/>
                  </a:lnTo>
                  <a:lnTo>
                    <a:pt x="716" y="2247"/>
                  </a:lnTo>
                  <a:lnTo>
                    <a:pt x="682" y="2199"/>
                  </a:lnTo>
                  <a:lnTo>
                    <a:pt x="648" y="2151"/>
                  </a:lnTo>
                  <a:lnTo>
                    <a:pt x="614" y="2100"/>
                  </a:lnTo>
                  <a:lnTo>
                    <a:pt x="580" y="2048"/>
                  </a:lnTo>
                  <a:lnTo>
                    <a:pt x="547" y="1993"/>
                  </a:lnTo>
                  <a:lnTo>
                    <a:pt x="514" y="1937"/>
                  </a:lnTo>
                  <a:lnTo>
                    <a:pt x="481" y="1878"/>
                  </a:lnTo>
                  <a:lnTo>
                    <a:pt x="449" y="1818"/>
                  </a:lnTo>
                  <a:lnTo>
                    <a:pt x="417" y="1757"/>
                  </a:lnTo>
                  <a:lnTo>
                    <a:pt x="388" y="1694"/>
                  </a:lnTo>
                  <a:lnTo>
                    <a:pt x="357" y="1629"/>
                  </a:lnTo>
                  <a:lnTo>
                    <a:pt x="328" y="1563"/>
                  </a:lnTo>
                  <a:lnTo>
                    <a:pt x="300" y="1496"/>
                  </a:lnTo>
                  <a:lnTo>
                    <a:pt x="269" y="1429"/>
                  </a:lnTo>
                  <a:lnTo>
                    <a:pt x="239" y="1361"/>
                  </a:lnTo>
                  <a:lnTo>
                    <a:pt x="212" y="1295"/>
                  </a:lnTo>
                  <a:lnTo>
                    <a:pt x="187" y="1228"/>
                  </a:lnTo>
                  <a:lnTo>
                    <a:pt x="162" y="1163"/>
                  </a:lnTo>
                  <a:lnTo>
                    <a:pt x="139" y="1098"/>
                  </a:lnTo>
                  <a:lnTo>
                    <a:pt x="119" y="1035"/>
                  </a:lnTo>
                  <a:lnTo>
                    <a:pt x="100" y="972"/>
                  </a:lnTo>
                  <a:lnTo>
                    <a:pt x="83" y="910"/>
                  </a:lnTo>
                  <a:lnTo>
                    <a:pt x="67" y="849"/>
                  </a:lnTo>
                  <a:lnTo>
                    <a:pt x="53" y="789"/>
                  </a:lnTo>
                  <a:lnTo>
                    <a:pt x="41" y="730"/>
                  </a:lnTo>
                  <a:lnTo>
                    <a:pt x="30" y="674"/>
                  </a:lnTo>
                  <a:lnTo>
                    <a:pt x="21" y="619"/>
                  </a:lnTo>
                  <a:lnTo>
                    <a:pt x="14" y="565"/>
                  </a:lnTo>
                  <a:lnTo>
                    <a:pt x="8" y="514"/>
                  </a:lnTo>
                  <a:lnTo>
                    <a:pt x="4" y="463"/>
                  </a:lnTo>
                  <a:lnTo>
                    <a:pt x="1" y="416"/>
                  </a:lnTo>
                  <a:lnTo>
                    <a:pt x="0" y="370"/>
                  </a:lnTo>
                  <a:lnTo>
                    <a:pt x="1" y="326"/>
                  </a:lnTo>
                  <a:lnTo>
                    <a:pt x="3" y="285"/>
                  </a:lnTo>
                  <a:lnTo>
                    <a:pt x="6" y="246"/>
                  </a:lnTo>
                  <a:lnTo>
                    <a:pt x="13" y="210"/>
                  </a:lnTo>
                  <a:lnTo>
                    <a:pt x="19" y="176"/>
                  </a:lnTo>
                  <a:lnTo>
                    <a:pt x="28" y="144"/>
                  </a:lnTo>
                  <a:lnTo>
                    <a:pt x="37" y="116"/>
                  </a:lnTo>
                  <a:lnTo>
                    <a:pt x="50" y="90"/>
                  </a:lnTo>
                  <a:lnTo>
                    <a:pt x="62" y="68"/>
                  </a:lnTo>
                  <a:lnTo>
                    <a:pt x="76" y="48"/>
                  </a:lnTo>
                  <a:lnTo>
                    <a:pt x="93" y="32"/>
                  </a:lnTo>
                  <a:lnTo>
                    <a:pt x="110" y="18"/>
                  </a:lnTo>
                  <a:lnTo>
                    <a:pt x="130" y="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59" name="Freeform 44"/>
            <p:cNvSpPr>
              <a:spLocks noChangeArrowheads="1"/>
            </p:cNvSpPr>
            <p:nvPr userDrawn="1"/>
          </p:nvSpPr>
          <p:spPr bwMode="auto">
            <a:xfrm>
              <a:off x="6064250" y="1340478"/>
              <a:ext cx="812800" cy="1231674"/>
            </a:xfrm>
            <a:custGeom>
              <a:avLst/>
              <a:gdLst>
                <a:gd name="T0" fmla="*/ 98 w 1811"/>
                <a:gd name="T1" fmla="*/ 40 h 2222"/>
                <a:gd name="T2" fmla="*/ 194 w 1811"/>
                <a:gd name="T3" fmla="*/ 3 h 2222"/>
                <a:gd name="T4" fmla="*/ 313 w 1811"/>
                <a:gd name="T5" fmla="*/ 11 h 2222"/>
                <a:gd name="T6" fmla="*/ 453 w 1811"/>
                <a:gd name="T7" fmla="*/ 63 h 2222"/>
                <a:gd name="T8" fmla="*/ 608 w 1811"/>
                <a:gd name="T9" fmla="*/ 158 h 2222"/>
                <a:gd name="T10" fmla="*/ 847 w 1811"/>
                <a:gd name="T11" fmla="*/ 355 h 2222"/>
                <a:gd name="T12" fmla="*/ 1100 w 1811"/>
                <a:gd name="T13" fmla="*/ 618 h 2222"/>
                <a:gd name="T14" fmla="*/ 1302 w 1811"/>
                <a:gd name="T15" fmla="*/ 868 h 2222"/>
                <a:gd name="T16" fmla="*/ 1447 w 1811"/>
                <a:gd name="T17" fmla="*/ 1074 h 2222"/>
                <a:gd name="T18" fmla="*/ 1622 w 1811"/>
                <a:gd name="T19" fmla="*/ 1371 h 2222"/>
                <a:gd name="T20" fmla="*/ 1744 w 1811"/>
                <a:gd name="T21" fmla="*/ 1639 h 2222"/>
                <a:gd name="T22" fmla="*/ 1807 w 1811"/>
                <a:gd name="T23" fmla="*/ 1893 h 2222"/>
                <a:gd name="T24" fmla="*/ 1808 w 1811"/>
                <a:gd name="T25" fmla="*/ 1998 h 2222"/>
                <a:gd name="T26" fmla="*/ 1789 w 1811"/>
                <a:gd name="T27" fmla="*/ 2087 h 2222"/>
                <a:gd name="T28" fmla="*/ 1747 w 1811"/>
                <a:gd name="T29" fmla="*/ 2155 h 2222"/>
                <a:gd name="T30" fmla="*/ 1713 w 1811"/>
                <a:gd name="T31" fmla="*/ 2186 h 2222"/>
                <a:gd name="T32" fmla="*/ 1669 w 1811"/>
                <a:gd name="T33" fmla="*/ 2209 h 2222"/>
                <a:gd name="T34" fmla="*/ 1609 w 1811"/>
                <a:gd name="T35" fmla="*/ 2222 h 2222"/>
                <a:gd name="T36" fmla="*/ 1473 w 1811"/>
                <a:gd name="T37" fmla="*/ 2200 h 2222"/>
                <a:gd name="T38" fmla="*/ 1302 w 1811"/>
                <a:gd name="T39" fmla="*/ 2120 h 2222"/>
                <a:gd name="T40" fmla="*/ 1133 w 1811"/>
                <a:gd name="T41" fmla="*/ 2003 h 2222"/>
                <a:gd name="T42" fmla="*/ 948 w 1811"/>
                <a:gd name="T43" fmla="*/ 1848 h 2222"/>
                <a:gd name="T44" fmla="*/ 775 w 1811"/>
                <a:gd name="T45" fmla="*/ 1674 h 2222"/>
                <a:gd name="T46" fmla="*/ 542 w 1811"/>
                <a:gd name="T47" fmla="*/ 1398 h 2222"/>
                <a:gd name="T48" fmla="*/ 436 w 1811"/>
                <a:gd name="T49" fmla="*/ 1255 h 2222"/>
                <a:gd name="T50" fmla="*/ 243 w 1811"/>
                <a:gd name="T51" fmla="*/ 952 h 2222"/>
                <a:gd name="T52" fmla="*/ 102 w 1811"/>
                <a:gd name="T53" fmla="*/ 671 h 2222"/>
                <a:gd name="T54" fmla="*/ 16 w 1811"/>
                <a:gd name="T55" fmla="*/ 411 h 2222"/>
                <a:gd name="T56" fmla="*/ 1 w 1811"/>
                <a:gd name="T57" fmla="*/ 294 h 2222"/>
                <a:gd name="T58" fmla="*/ 6 w 1811"/>
                <a:gd name="T59" fmla="*/ 194 h 2222"/>
                <a:gd name="T60" fmla="*/ 34 w 1811"/>
                <a:gd name="T61" fmla="*/ 113 h 2222"/>
                <a:gd name="T62" fmla="*/ 83 w 1811"/>
                <a:gd name="T63" fmla="*/ 50 h 2222"/>
                <a:gd name="T64" fmla="*/ 232 w 1811"/>
                <a:gd name="T65" fmla="*/ 171 h 2222"/>
                <a:gd name="T66" fmla="*/ 188 w 1811"/>
                <a:gd name="T67" fmla="*/ 187 h 2222"/>
                <a:gd name="T68" fmla="*/ 167 w 1811"/>
                <a:gd name="T69" fmla="*/ 244 h 2222"/>
                <a:gd name="T70" fmla="*/ 181 w 1811"/>
                <a:gd name="T71" fmla="*/ 377 h 2222"/>
                <a:gd name="T72" fmla="*/ 243 w 1811"/>
                <a:gd name="T73" fmla="*/ 566 h 2222"/>
                <a:gd name="T74" fmla="*/ 367 w 1811"/>
                <a:gd name="T75" fmla="*/ 825 h 2222"/>
                <a:gd name="T76" fmla="*/ 543 w 1811"/>
                <a:gd name="T77" fmla="*/ 1109 h 2222"/>
                <a:gd name="T78" fmla="*/ 676 w 1811"/>
                <a:gd name="T79" fmla="*/ 1293 h 2222"/>
                <a:gd name="T80" fmla="*/ 899 w 1811"/>
                <a:gd name="T81" fmla="*/ 1556 h 2222"/>
                <a:gd name="T82" fmla="*/ 1034 w 1811"/>
                <a:gd name="T83" fmla="*/ 1693 h 2222"/>
                <a:gd name="T84" fmla="*/ 1205 w 1811"/>
                <a:gd name="T85" fmla="*/ 1842 h 2222"/>
                <a:gd name="T86" fmla="*/ 1363 w 1811"/>
                <a:gd name="T87" fmla="*/ 1957 h 2222"/>
                <a:gd name="T88" fmla="*/ 1539 w 1811"/>
                <a:gd name="T89" fmla="*/ 2045 h 2222"/>
                <a:gd name="T90" fmla="*/ 1596 w 1811"/>
                <a:gd name="T91" fmla="*/ 2055 h 2222"/>
                <a:gd name="T92" fmla="*/ 1619 w 1811"/>
                <a:gd name="T93" fmla="*/ 2041 h 2222"/>
                <a:gd name="T94" fmla="*/ 1642 w 1811"/>
                <a:gd name="T95" fmla="*/ 1996 h 2222"/>
                <a:gd name="T96" fmla="*/ 1635 w 1811"/>
                <a:gd name="T97" fmla="*/ 1874 h 2222"/>
                <a:gd name="T98" fmla="*/ 1584 w 1811"/>
                <a:gd name="T99" fmla="*/ 1698 h 2222"/>
                <a:gd name="T100" fmla="*/ 1469 w 1811"/>
                <a:gd name="T101" fmla="*/ 1447 h 2222"/>
                <a:gd name="T102" fmla="*/ 1303 w 1811"/>
                <a:gd name="T103" fmla="*/ 1166 h 2222"/>
                <a:gd name="T104" fmla="*/ 1137 w 1811"/>
                <a:gd name="T105" fmla="*/ 933 h 2222"/>
                <a:gd name="T106" fmla="*/ 933 w 1811"/>
                <a:gd name="T107" fmla="*/ 687 h 2222"/>
                <a:gd name="T108" fmla="*/ 695 w 1811"/>
                <a:gd name="T109" fmla="*/ 448 h 2222"/>
                <a:gd name="T110" fmla="*/ 467 w 1811"/>
                <a:gd name="T111" fmla="*/ 269 h 2222"/>
                <a:gd name="T112" fmla="*/ 335 w 1811"/>
                <a:gd name="T113" fmla="*/ 197 h 2222"/>
                <a:gd name="T114" fmla="*/ 244 w 1811"/>
                <a:gd name="T115" fmla="*/ 172 h 2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11" h="2222">
                  <a:moveTo>
                    <a:pt x="91" y="45"/>
                  </a:moveTo>
                  <a:lnTo>
                    <a:pt x="92" y="44"/>
                  </a:lnTo>
                  <a:lnTo>
                    <a:pt x="98" y="40"/>
                  </a:lnTo>
                  <a:lnTo>
                    <a:pt x="112" y="31"/>
                  </a:lnTo>
                  <a:lnTo>
                    <a:pt x="127" y="23"/>
                  </a:lnTo>
                  <a:lnTo>
                    <a:pt x="143" y="16"/>
                  </a:lnTo>
                  <a:lnTo>
                    <a:pt x="159" y="11"/>
                  </a:lnTo>
                  <a:lnTo>
                    <a:pt x="177" y="6"/>
                  </a:lnTo>
                  <a:lnTo>
                    <a:pt x="194" y="3"/>
                  </a:lnTo>
                  <a:lnTo>
                    <a:pt x="212" y="1"/>
                  </a:lnTo>
                  <a:lnTo>
                    <a:pt x="232" y="0"/>
                  </a:lnTo>
                  <a:lnTo>
                    <a:pt x="251" y="1"/>
                  </a:lnTo>
                  <a:lnTo>
                    <a:pt x="271" y="3"/>
                  </a:lnTo>
                  <a:lnTo>
                    <a:pt x="291" y="6"/>
                  </a:lnTo>
                  <a:lnTo>
                    <a:pt x="313" y="11"/>
                  </a:lnTo>
                  <a:lnTo>
                    <a:pt x="336" y="17"/>
                  </a:lnTo>
                  <a:lnTo>
                    <a:pt x="357" y="24"/>
                  </a:lnTo>
                  <a:lnTo>
                    <a:pt x="381" y="32"/>
                  </a:lnTo>
                  <a:lnTo>
                    <a:pt x="405" y="41"/>
                  </a:lnTo>
                  <a:lnTo>
                    <a:pt x="428" y="52"/>
                  </a:lnTo>
                  <a:lnTo>
                    <a:pt x="453" y="63"/>
                  </a:lnTo>
                  <a:lnTo>
                    <a:pt x="478" y="77"/>
                  </a:lnTo>
                  <a:lnTo>
                    <a:pt x="503" y="91"/>
                  </a:lnTo>
                  <a:lnTo>
                    <a:pt x="529" y="105"/>
                  </a:lnTo>
                  <a:lnTo>
                    <a:pt x="555" y="122"/>
                  </a:lnTo>
                  <a:lnTo>
                    <a:pt x="582" y="139"/>
                  </a:lnTo>
                  <a:lnTo>
                    <a:pt x="608" y="158"/>
                  </a:lnTo>
                  <a:lnTo>
                    <a:pt x="647" y="186"/>
                  </a:lnTo>
                  <a:lnTo>
                    <a:pt x="686" y="216"/>
                  </a:lnTo>
                  <a:lnTo>
                    <a:pt x="725" y="247"/>
                  </a:lnTo>
                  <a:lnTo>
                    <a:pt x="765" y="281"/>
                  </a:lnTo>
                  <a:lnTo>
                    <a:pt x="806" y="317"/>
                  </a:lnTo>
                  <a:lnTo>
                    <a:pt x="847" y="355"/>
                  </a:lnTo>
                  <a:lnTo>
                    <a:pt x="889" y="394"/>
                  </a:lnTo>
                  <a:lnTo>
                    <a:pt x="931" y="435"/>
                  </a:lnTo>
                  <a:lnTo>
                    <a:pt x="973" y="479"/>
                  </a:lnTo>
                  <a:lnTo>
                    <a:pt x="1015" y="524"/>
                  </a:lnTo>
                  <a:lnTo>
                    <a:pt x="1058" y="570"/>
                  </a:lnTo>
                  <a:lnTo>
                    <a:pt x="1100" y="618"/>
                  </a:lnTo>
                  <a:lnTo>
                    <a:pt x="1143" y="668"/>
                  </a:lnTo>
                  <a:lnTo>
                    <a:pt x="1185" y="719"/>
                  </a:lnTo>
                  <a:lnTo>
                    <a:pt x="1228" y="771"/>
                  </a:lnTo>
                  <a:lnTo>
                    <a:pt x="1270" y="826"/>
                  </a:lnTo>
                  <a:lnTo>
                    <a:pt x="1273" y="830"/>
                  </a:lnTo>
                  <a:lnTo>
                    <a:pt x="1302" y="868"/>
                  </a:lnTo>
                  <a:lnTo>
                    <a:pt x="1340" y="920"/>
                  </a:lnTo>
                  <a:lnTo>
                    <a:pt x="1377" y="971"/>
                  </a:lnTo>
                  <a:lnTo>
                    <a:pt x="1412" y="1023"/>
                  </a:lnTo>
                  <a:lnTo>
                    <a:pt x="1447" y="1074"/>
                  </a:lnTo>
                  <a:lnTo>
                    <a:pt x="1479" y="1125"/>
                  </a:lnTo>
                  <a:lnTo>
                    <a:pt x="1511" y="1175"/>
                  </a:lnTo>
                  <a:lnTo>
                    <a:pt x="1541" y="1225"/>
                  </a:lnTo>
                  <a:lnTo>
                    <a:pt x="1569" y="1274"/>
                  </a:lnTo>
                  <a:lnTo>
                    <a:pt x="1596" y="1323"/>
                  </a:lnTo>
                  <a:lnTo>
                    <a:pt x="1622" y="1371"/>
                  </a:lnTo>
                  <a:lnTo>
                    <a:pt x="1647" y="1418"/>
                  </a:lnTo>
                  <a:lnTo>
                    <a:pt x="1669" y="1464"/>
                  </a:lnTo>
                  <a:lnTo>
                    <a:pt x="1690" y="1509"/>
                  </a:lnTo>
                  <a:lnTo>
                    <a:pt x="1710" y="1554"/>
                  </a:lnTo>
                  <a:lnTo>
                    <a:pt x="1728" y="1597"/>
                  </a:lnTo>
                  <a:lnTo>
                    <a:pt x="1744" y="1639"/>
                  </a:lnTo>
                  <a:lnTo>
                    <a:pt x="1760" y="1686"/>
                  </a:lnTo>
                  <a:lnTo>
                    <a:pt x="1773" y="1730"/>
                  </a:lnTo>
                  <a:lnTo>
                    <a:pt x="1786" y="1772"/>
                  </a:lnTo>
                  <a:lnTo>
                    <a:pt x="1795" y="1815"/>
                  </a:lnTo>
                  <a:lnTo>
                    <a:pt x="1802" y="1855"/>
                  </a:lnTo>
                  <a:lnTo>
                    <a:pt x="1807" y="1893"/>
                  </a:lnTo>
                  <a:lnTo>
                    <a:pt x="1808" y="1911"/>
                  </a:lnTo>
                  <a:lnTo>
                    <a:pt x="1811" y="1930"/>
                  </a:lnTo>
                  <a:lnTo>
                    <a:pt x="1811" y="1948"/>
                  </a:lnTo>
                  <a:lnTo>
                    <a:pt x="1811" y="1965"/>
                  </a:lnTo>
                  <a:lnTo>
                    <a:pt x="1809" y="1982"/>
                  </a:lnTo>
                  <a:lnTo>
                    <a:pt x="1808" y="1998"/>
                  </a:lnTo>
                  <a:lnTo>
                    <a:pt x="1806" y="2015"/>
                  </a:lnTo>
                  <a:lnTo>
                    <a:pt x="1804" y="2030"/>
                  </a:lnTo>
                  <a:lnTo>
                    <a:pt x="1801" y="2044"/>
                  </a:lnTo>
                  <a:lnTo>
                    <a:pt x="1798" y="2059"/>
                  </a:lnTo>
                  <a:lnTo>
                    <a:pt x="1793" y="2073"/>
                  </a:lnTo>
                  <a:lnTo>
                    <a:pt x="1789" y="2087"/>
                  </a:lnTo>
                  <a:lnTo>
                    <a:pt x="1783" y="2099"/>
                  </a:lnTo>
                  <a:lnTo>
                    <a:pt x="1778" y="2111"/>
                  </a:lnTo>
                  <a:lnTo>
                    <a:pt x="1770" y="2123"/>
                  </a:lnTo>
                  <a:lnTo>
                    <a:pt x="1763" y="2134"/>
                  </a:lnTo>
                  <a:lnTo>
                    <a:pt x="1755" y="2145"/>
                  </a:lnTo>
                  <a:lnTo>
                    <a:pt x="1747" y="2155"/>
                  </a:lnTo>
                  <a:lnTo>
                    <a:pt x="1737" y="2164"/>
                  </a:lnTo>
                  <a:lnTo>
                    <a:pt x="1727" y="2173"/>
                  </a:lnTo>
                  <a:lnTo>
                    <a:pt x="1723" y="2176"/>
                  </a:lnTo>
                  <a:lnTo>
                    <a:pt x="1722" y="2177"/>
                  </a:lnTo>
                  <a:lnTo>
                    <a:pt x="1717" y="2182"/>
                  </a:lnTo>
                  <a:lnTo>
                    <a:pt x="1713" y="2186"/>
                  </a:lnTo>
                  <a:lnTo>
                    <a:pt x="1704" y="2191"/>
                  </a:lnTo>
                  <a:lnTo>
                    <a:pt x="1696" y="2196"/>
                  </a:lnTo>
                  <a:lnTo>
                    <a:pt x="1688" y="2201"/>
                  </a:lnTo>
                  <a:lnTo>
                    <a:pt x="1679" y="2205"/>
                  </a:lnTo>
                  <a:lnTo>
                    <a:pt x="1669" y="2209"/>
                  </a:lnTo>
                  <a:lnTo>
                    <a:pt x="1660" y="2212"/>
                  </a:lnTo>
                  <a:lnTo>
                    <a:pt x="1651" y="2216"/>
                  </a:lnTo>
                  <a:lnTo>
                    <a:pt x="1641" y="2218"/>
                  </a:lnTo>
                  <a:lnTo>
                    <a:pt x="1630" y="2220"/>
                  </a:lnTo>
                  <a:lnTo>
                    <a:pt x="1620" y="2221"/>
                  </a:lnTo>
                  <a:lnTo>
                    <a:pt x="1609" y="2222"/>
                  </a:lnTo>
                  <a:lnTo>
                    <a:pt x="1597" y="2222"/>
                  </a:lnTo>
                  <a:lnTo>
                    <a:pt x="1575" y="2221"/>
                  </a:lnTo>
                  <a:lnTo>
                    <a:pt x="1551" y="2219"/>
                  </a:lnTo>
                  <a:lnTo>
                    <a:pt x="1525" y="2215"/>
                  </a:lnTo>
                  <a:lnTo>
                    <a:pt x="1499" y="2208"/>
                  </a:lnTo>
                  <a:lnTo>
                    <a:pt x="1473" y="2200"/>
                  </a:lnTo>
                  <a:lnTo>
                    <a:pt x="1446" y="2191"/>
                  </a:lnTo>
                  <a:lnTo>
                    <a:pt x="1417" y="2179"/>
                  </a:lnTo>
                  <a:lnTo>
                    <a:pt x="1388" y="2166"/>
                  </a:lnTo>
                  <a:lnTo>
                    <a:pt x="1358" y="2152"/>
                  </a:lnTo>
                  <a:lnTo>
                    <a:pt x="1328" y="2135"/>
                  </a:lnTo>
                  <a:lnTo>
                    <a:pt x="1302" y="2120"/>
                  </a:lnTo>
                  <a:lnTo>
                    <a:pt x="1275" y="2103"/>
                  </a:lnTo>
                  <a:lnTo>
                    <a:pt x="1247" y="2086"/>
                  </a:lnTo>
                  <a:lnTo>
                    <a:pt x="1219" y="2066"/>
                  </a:lnTo>
                  <a:lnTo>
                    <a:pt x="1190" y="2046"/>
                  </a:lnTo>
                  <a:lnTo>
                    <a:pt x="1162" y="2025"/>
                  </a:lnTo>
                  <a:lnTo>
                    <a:pt x="1133" y="2003"/>
                  </a:lnTo>
                  <a:lnTo>
                    <a:pt x="1103" y="1979"/>
                  </a:lnTo>
                  <a:lnTo>
                    <a:pt x="1072" y="1955"/>
                  </a:lnTo>
                  <a:lnTo>
                    <a:pt x="1042" y="1930"/>
                  </a:lnTo>
                  <a:lnTo>
                    <a:pt x="1011" y="1903"/>
                  </a:lnTo>
                  <a:lnTo>
                    <a:pt x="979" y="1875"/>
                  </a:lnTo>
                  <a:lnTo>
                    <a:pt x="948" y="1848"/>
                  </a:lnTo>
                  <a:lnTo>
                    <a:pt x="917" y="1818"/>
                  </a:lnTo>
                  <a:lnTo>
                    <a:pt x="886" y="1787"/>
                  </a:lnTo>
                  <a:lnTo>
                    <a:pt x="854" y="1756"/>
                  </a:lnTo>
                  <a:lnTo>
                    <a:pt x="814" y="1717"/>
                  </a:lnTo>
                  <a:lnTo>
                    <a:pt x="775" y="1674"/>
                  </a:lnTo>
                  <a:lnTo>
                    <a:pt x="736" y="1632"/>
                  </a:lnTo>
                  <a:lnTo>
                    <a:pt x="697" y="1588"/>
                  </a:lnTo>
                  <a:lnTo>
                    <a:pt x="658" y="1542"/>
                  </a:lnTo>
                  <a:lnTo>
                    <a:pt x="619" y="1495"/>
                  </a:lnTo>
                  <a:lnTo>
                    <a:pt x="580" y="1448"/>
                  </a:lnTo>
                  <a:lnTo>
                    <a:pt x="542" y="1398"/>
                  </a:lnTo>
                  <a:lnTo>
                    <a:pt x="541" y="1396"/>
                  </a:lnTo>
                  <a:lnTo>
                    <a:pt x="512" y="1359"/>
                  </a:lnTo>
                  <a:lnTo>
                    <a:pt x="512" y="1358"/>
                  </a:lnTo>
                  <a:lnTo>
                    <a:pt x="473" y="1306"/>
                  </a:lnTo>
                  <a:lnTo>
                    <a:pt x="436" y="1255"/>
                  </a:lnTo>
                  <a:lnTo>
                    <a:pt x="400" y="1203"/>
                  </a:lnTo>
                  <a:lnTo>
                    <a:pt x="366" y="1153"/>
                  </a:lnTo>
                  <a:lnTo>
                    <a:pt x="333" y="1101"/>
                  </a:lnTo>
                  <a:lnTo>
                    <a:pt x="302" y="1051"/>
                  </a:lnTo>
                  <a:lnTo>
                    <a:pt x="272" y="1001"/>
                  </a:lnTo>
                  <a:lnTo>
                    <a:pt x="243" y="952"/>
                  </a:lnTo>
                  <a:lnTo>
                    <a:pt x="215" y="903"/>
                  </a:lnTo>
                  <a:lnTo>
                    <a:pt x="189" y="855"/>
                  </a:lnTo>
                  <a:lnTo>
                    <a:pt x="166" y="807"/>
                  </a:lnTo>
                  <a:lnTo>
                    <a:pt x="143" y="761"/>
                  </a:lnTo>
                  <a:lnTo>
                    <a:pt x="121" y="716"/>
                  </a:lnTo>
                  <a:lnTo>
                    <a:pt x="102" y="671"/>
                  </a:lnTo>
                  <a:lnTo>
                    <a:pt x="84" y="628"/>
                  </a:lnTo>
                  <a:lnTo>
                    <a:pt x="68" y="585"/>
                  </a:lnTo>
                  <a:lnTo>
                    <a:pt x="51" y="539"/>
                  </a:lnTo>
                  <a:lnTo>
                    <a:pt x="38" y="495"/>
                  </a:lnTo>
                  <a:lnTo>
                    <a:pt x="26" y="452"/>
                  </a:lnTo>
                  <a:lnTo>
                    <a:pt x="16" y="411"/>
                  </a:lnTo>
                  <a:lnTo>
                    <a:pt x="12" y="390"/>
                  </a:lnTo>
                  <a:lnTo>
                    <a:pt x="9" y="370"/>
                  </a:lnTo>
                  <a:lnTo>
                    <a:pt x="6" y="351"/>
                  </a:lnTo>
                  <a:lnTo>
                    <a:pt x="4" y="331"/>
                  </a:lnTo>
                  <a:lnTo>
                    <a:pt x="2" y="313"/>
                  </a:lnTo>
                  <a:lnTo>
                    <a:pt x="1" y="294"/>
                  </a:lnTo>
                  <a:lnTo>
                    <a:pt x="0" y="277"/>
                  </a:lnTo>
                  <a:lnTo>
                    <a:pt x="1" y="259"/>
                  </a:lnTo>
                  <a:lnTo>
                    <a:pt x="1" y="243"/>
                  </a:lnTo>
                  <a:lnTo>
                    <a:pt x="2" y="226"/>
                  </a:lnTo>
                  <a:lnTo>
                    <a:pt x="4" y="210"/>
                  </a:lnTo>
                  <a:lnTo>
                    <a:pt x="6" y="194"/>
                  </a:lnTo>
                  <a:lnTo>
                    <a:pt x="9" y="180"/>
                  </a:lnTo>
                  <a:lnTo>
                    <a:pt x="13" y="165"/>
                  </a:lnTo>
                  <a:lnTo>
                    <a:pt x="17" y="151"/>
                  </a:lnTo>
                  <a:lnTo>
                    <a:pt x="22" y="137"/>
                  </a:lnTo>
                  <a:lnTo>
                    <a:pt x="28" y="125"/>
                  </a:lnTo>
                  <a:lnTo>
                    <a:pt x="34" y="113"/>
                  </a:lnTo>
                  <a:lnTo>
                    <a:pt x="40" y="100"/>
                  </a:lnTo>
                  <a:lnTo>
                    <a:pt x="48" y="89"/>
                  </a:lnTo>
                  <a:lnTo>
                    <a:pt x="55" y="79"/>
                  </a:lnTo>
                  <a:lnTo>
                    <a:pt x="65" y="68"/>
                  </a:lnTo>
                  <a:lnTo>
                    <a:pt x="74" y="59"/>
                  </a:lnTo>
                  <a:lnTo>
                    <a:pt x="83" y="50"/>
                  </a:lnTo>
                  <a:lnTo>
                    <a:pt x="85" y="50"/>
                  </a:lnTo>
                  <a:lnTo>
                    <a:pt x="89" y="46"/>
                  </a:lnTo>
                  <a:lnTo>
                    <a:pt x="91" y="45"/>
                  </a:lnTo>
                  <a:close/>
                  <a:moveTo>
                    <a:pt x="232" y="171"/>
                  </a:moveTo>
                  <a:lnTo>
                    <a:pt x="220" y="172"/>
                  </a:lnTo>
                  <a:lnTo>
                    <a:pt x="210" y="173"/>
                  </a:lnTo>
                  <a:lnTo>
                    <a:pt x="202" y="177"/>
                  </a:lnTo>
                  <a:lnTo>
                    <a:pt x="194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4" y="191"/>
                  </a:lnTo>
                  <a:lnTo>
                    <a:pt x="181" y="196"/>
                  </a:lnTo>
                  <a:lnTo>
                    <a:pt x="178" y="201"/>
                  </a:lnTo>
                  <a:lnTo>
                    <a:pt x="173" y="214"/>
                  </a:lnTo>
                  <a:lnTo>
                    <a:pt x="169" y="228"/>
                  </a:lnTo>
                  <a:lnTo>
                    <a:pt x="167" y="244"/>
                  </a:lnTo>
                  <a:lnTo>
                    <a:pt x="166" y="262"/>
                  </a:lnTo>
                  <a:lnTo>
                    <a:pt x="167" y="282"/>
                  </a:lnTo>
                  <a:lnTo>
                    <a:pt x="169" y="302"/>
                  </a:lnTo>
                  <a:lnTo>
                    <a:pt x="171" y="326"/>
                  </a:lnTo>
                  <a:lnTo>
                    <a:pt x="176" y="350"/>
                  </a:lnTo>
                  <a:lnTo>
                    <a:pt x="181" y="377"/>
                  </a:lnTo>
                  <a:lnTo>
                    <a:pt x="188" y="403"/>
                  </a:lnTo>
                  <a:lnTo>
                    <a:pt x="196" y="432"/>
                  </a:lnTo>
                  <a:lnTo>
                    <a:pt x="206" y="462"/>
                  </a:lnTo>
                  <a:lnTo>
                    <a:pt x="216" y="494"/>
                  </a:lnTo>
                  <a:lnTo>
                    <a:pt x="228" y="526"/>
                  </a:lnTo>
                  <a:lnTo>
                    <a:pt x="243" y="566"/>
                  </a:lnTo>
                  <a:lnTo>
                    <a:pt x="260" y="606"/>
                  </a:lnTo>
                  <a:lnTo>
                    <a:pt x="279" y="649"/>
                  </a:lnTo>
                  <a:lnTo>
                    <a:pt x="298" y="691"/>
                  </a:lnTo>
                  <a:lnTo>
                    <a:pt x="320" y="735"/>
                  </a:lnTo>
                  <a:lnTo>
                    <a:pt x="343" y="780"/>
                  </a:lnTo>
                  <a:lnTo>
                    <a:pt x="367" y="825"/>
                  </a:lnTo>
                  <a:lnTo>
                    <a:pt x="393" y="870"/>
                  </a:lnTo>
                  <a:lnTo>
                    <a:pt x="420" y="918"/>
                  </a:lnTo>
                  <a:lnTo>
                    <a:pt x="449" y="964"/>
                  </a:lnTo>
                  <a:lnTo>
                    <a:pt x="479" y="1013"/>
                  </a:lnTo>
                  <a:lnTo>
                    <a:pt x="510" y="1060"/>
                  </a:lnTo>
                  <a:lnTo>
                    <a:pt x="543" y="1109"/>
                  </a:lnTo>
                  <a:lnTo>
                    <a:pt x="577" y="1158"/>
                  </a:lnTo>
                  <a:lnTo>
                    <a:pt x="612" y="1206"/>
                  </a:lnTo>
                  <a:lnTo>
                    <a:pt x="648" y="1256"/>
                  </a:lnTo>
                  <a:lnTo>
                    <a:pt x="672" y="1288"/>
                  </a:lnTo>
                  <a:lnTo>
                    <a:pt x="676" y="1293"/>
                  </a:lnTo>
                  <a:lnTo>
                    <a:pt x="713" y="1339"/>
                  </a:lnTo>
                  <a:lnTo>
                    <a:pt x="750" y="1386"/>
                  </a:lnTo>
                  <a:lnTo>
                    <a:pt x="786" y="1430"/>
                  </a:lnTo>
                  <a:lnTo>
                    <a:pt x="824" y="1473"/>
                  </a:lnTo>
                  <a:lnTo>
                    <a:pt x="861" y="1516"/>
                  </a:lnTo>
                  <a:lnTo>
                    <a:pt x="899" y="1556"/>
                  </a:lnTo>
                  <a:lnTo>
                    <a:pt x="937" y="1596"/>
                  </a:lnTo>
                  <a:lnTo>
                    <a:pt x="974" y="1634"/>
                  </a:lnTo>
                  <a:lnTo>
                    <a:pt x="974" y="1635"/>
                  </a:lnTo>
                  <a:lnTo>
                    <a:pt x="1004" y="1664"/>
                  </a:lnTo>
                  <a:lnTo>
                    <a:pt x="1034" y="1693"/>
                  </a:lnTo>
                  <a:lnTo>
                    <a:pt x="1063" y="1720"/>
                  </a:lnTo>
                  <a:lnTo>
                    <a:pt x="1092" y="1747"/>
                  </a:lnTo>
                  <a:lnTo>
                    <a:pt x="1120" y="1772"/>
                  </a:lnTo>
                  <a:lnTo>
                    <a:pt x="1149" y="1797"/>
                  </a:lnTo>
                  <a:lnTo>
                    <a:pt x="1177" y="1820"/>
                  </a:lnTo>
                  <a:lnTo>
                    <a:pt x="1205" y="1842"/>
                  </a:lnTo>
                  <a:lnTo>
                    <a:pt x="1233" y="1864"/>
                  </a:lnTo>
                  <a:lnTo>
                    <a:pt x="1259" y="1885"/>
                  </a:lnTo>
                  <a:lnTo>
                    <a:pt x="1286" y="1904"/>
                  </a:lnTo>
                  <a:lnTo>
                    <a:pt x="1313" y="1923"/>
                  </a:lnTo>
                  <a:lnTo>
                    <a:pt x="1338" y="1940"/>
                  </a:lnTo>
                  <a:lnTo>
                    <a:pt x="1363" y="1957"/>
                  </a:lnTo>
                  <a:lnTo>
                    <a:pt x="1388" y="1971"/>
                  </a:lnTo>
                  <a:lnTo>
                    <a:pt x="1412" y="1986"/>
                  </a:lnTo>
                  <a:lnTo>
                    <a:pt x="1448" y="2005"/>
                  </a:lnTo>
                  <a:lnTo>
                    <a:pt x="1482" y="2022"/>
                  </a:lnTo>
                  <a:lnTo>
                    <a:pt x="1512" y="2035"/>
                  </a:lnTo>
                  <a:lnTo>
                    <a:pt x="1539" y="2045"/>
                  </a:lnTo>
                  <a:lnTo>
                    <a:pt x="1551" y="2050"/>
                  </a:lnTo>
                  <a:lnTo>
                    <a:pt x="1562" y="2052"/>
                  </a:lnTo>
                  <a:lnTo>
                    <a:pt x="1572" y="2055"/>
                  </a:lnTo>
                  <a:lnTo>
                    <a:pt x="1582" y="2056"/>
                  </a:lnTo>
                  <a:lnTo>
                    <a:pt x="1589" y="2056"/>
                  </a:lnTo>
                  <a:lnTo>
                    <a:pt x="1596" y="2055"/>
                  </a:lnTo>
                  <a:lnTo>
                    <a:pt x="1602" y="2053"/>
                  </a:lnTo>
                  <a:lnTo>
                    <a:pt x="1608" y="2051"/>
                  </a:lnTo>
                  <a:lnTo>
                    <a:pt x="1610" y="2049"/>
                  </a:lnTo>
                  <a:lnTo>
                    <a:pt x="1616" y="2043"/>
                  </a:lnTo>
                  <a:lnTo>
                    <a:pt x="1619" y="2041"/>
                  </a:lnTo>
                  <a:lnTo>
                    <a:pt x="1623" y="2037"/>
                  </a:lnTo>
                  <a:lnTo>
                    <a:pt x="1626" y="2033"/>
                  </a:lnTo>
                  <a:lnTo>
                    <a:pt x="1630" y="2028"/>
                  </a:lnTo>
                  <a:lnTo>
                    <a:pt x="1633" y="2023"/>
                  </a:lnTo>
                  <a:lnTo>
                    <a:pt x="1638" y="2010"/>
                  </a:lnTo>
                  <a:lnTo>
                    <a:pt x="1642" y="1996"/>
                  </a:lnTo>
                  <a:lnTo>
                    <a:pt x="1644" y="1981"/>
                  </a:lnTo>
                  <a:lnTo>
                    <a:pt x="1645" y="1962"/>
                  </a:lnTo>
                  <a:lnTo>
                    <a:pt x="1645" y="1942"/>
                  </a:lnTo>
                  <a:lnTo>
                    <a:pt x="1643" y="1922"/>
                  </a:lnTo>
                  <a:lnTo>
                    <a:pt x="1640" y="1899"/>
                  </a:lnTo>
                  <a:lnTo>
                    <a:pt x="1635" y="1874"/>
                  </a:lnTo>
                  <a:lnTo>
                    <a:pt x="1629" y="1849"/>
                  </a:lnTo>
                  <a:lnTo>
                    <a:pt x="1623" y="1821"/>
                  </a:lnTo>
                  <a:lnTo>
                    <a:pt x="1615" y="1792"/>
                  </a:lnTo>
                  <a:lnTo>
                    <a:pt x="1606" y="1762"/>
                  </a:lnTo>
                  <a:lnTo>
                    <a:pt x="1595" y="1731"/>
                  </a:lnTo>
                  <a:lnTo>
                    <a:pt x="1584" y="1698"/>
                  </a:lnTo>
                  <a:lnTo>
                    <a:pt x="1568" y="1659"/>
                  </a:lnTo>
                  <a:lnTo>
                    <a:pt x="1551" y="1619"/>
                  </a:lnTo>
                  <a:lnTo>
                    <a:pt x="1533" y="1576"/>
                  </a:lnTo>
                  <a:lnTo>
                    <a:pt x="1513" y="1534"/>
                  </a:lnTo>
                  <a:lnTo>
                    <a:pt x="1492" y="1491"/>
                  </a:lnTo>
                  <a:lnTo>
                    <a:pt x="1469" y="1447"/>
                  </a:lnTo>
                  <a:lnTo>
                    <a:pt x="1445" y="1401"/>
                  </a:lnTo>
                  <a:lnTo>
                    <a:pt x="1419" y="1355"/>
                  </a:lnTo>
                  <a:lnTo>
                    <a:pt x="1392" y="1308"/>
                  </a:lnTo>
                  <a:lnTo>
                    <a:pt x="1363" y="1262"/>
                  </a:lnTo>
                  <a:lnTo>
                    <a:pt x="1334" y="1214"/>
                  </a:lnTo>
                  <a:lnTo>
                    <a:pt x="1303" y="1166"/>
                  </a:lnTo>
                  <a:lnTo>
                    <a:pt x="1270" y="1118"/>
                  </a:lnTo>
                  <a:lnTo>
                    <a:pt x="1237" y="1069"/>
                  </a:lnTo>
                  <a:lnTo>
                    <a:pt x="1202" y="1020"/>
                  </a:lnTo>
                  <a:lnTo>
                    <a:pt x="1166" y="971"/>
                  </a:lnTo>
                  <a:lnTo>
                    <a:pt x="1137" y="933"/>
                  </a:lnTo>
                  <a:lnTo>
                    <a:pt x="1135" y="930"/>
                  </a:lnTo>
                  <a:lnTo>
                    <a:pt x="1095" y="879"/>
                  </a:lnTo>
                  <a:lnTo>
                    <a:pt x="1054" y="829"/>
                  </a:lnTo>
                  <a:lnTo>
                    <a:pt x="1014" y="780"/>
                  </a:lnTo>
                  <a:lnTo>
                    <a:pt x="973" y="733"/>
                  </a:lnTo>
                  <a:lnTo>
                    <a:pt x="933" y="687"/>
                  </a:lnTo>
                  <a:lnTo>
                    <a:pt x="893" y="642"/>
                  </a:lnTo>
                  <a:lnTo>
                    <a:pt x="853" y="600"/>
                  </a:lnTo>
                  <a:lnTo>
                    <a:pt x="813" y="559"/>
                  </a:lnTo>
                  <a:lnTo>
                    <a:pt x="773" y="520"/>
                  </a:lnTo>
                  <a:lnTo>
                    <a:pt x="734" y="483"/>
                  </a:lnTo>
                  <a:lnTo>
                    <a:pt x="695" y="448"/>
                  </a:lnTo>
                  <a:lnTo>
                    <a:pt x="657" y="414"/>
                  </a:lnTo>
                  <a:lnTo>
                    <a:pt x="620" y="382"/>
                  </a:lnTo>
                  <a:lnTo>
                    <a:pt x="583" y="352"/>
                  </a:lnTo>
                  <a:lnTo>
                    <a:pt x="546" y="324"/>
                  </a:lnTo>
                  <a:lnTo>
                    <a:pt x="511" y="298"/>
                  </a:lnTo>
                  <a:lnTo>
                    <a:pt x="467" y="269"/>
                  </a:lnTo>
                  <a:lnTo>
                    <a:pt x="427" y="244"/>
                  </a:lnTo>
                  <a:lnTo>
                    <a:pt x="408" y="232"/>
                  </a:lnTo>
                  <a:lnTo>
                    <a:pt x="389" y="222"/>
                  </a:lnTo>
                  <a:lnTo>
                    <a:pt x="371" y="213"/>
                  </a:lnTo>
                  <a:lnTo>
                    <a:pt x="352" y="204"/>
                  </a:lnTo>
                  <a:lnTo>
                    <a:pt x="335" y="197"/>
                  </a:lnTo>
                  <a:lnTo>
                    <a:pt x="318" y="190"/>
                  </a:lnTo>
                  <a:lnTo>
                    <a:pt x="302" y="185"/>
                  </a:lnTo>
                  <a:lnTo>
                    <a:pt x="286" y="180"/>
                  </a:lnTo>
                  <a:lnTo>
                    <a:pt x="272" y="177"/>
                  </a:lnTo>
                  <a:lnTo>
                    <a:pt x="257" y="173"/>
                  </a:lnTo>
                  <a:lnTo>
                    <a:pt x="244" y="172"/>
                  </a:lnTo>
                  <a:lnTo>
                    <a:pt x="232" y="171"/>
                  </a:lnTo>
                  <a:close/>
                  <a:moveTo>
                    <a:pt x="1610" y="2049"/>
                  </a:moveTo>
                  <a:lnTo>
                    <a:pt x="1612" y="2046"/>
                  </a:lnTo>
                  <a:lnTo>
                    <a:pt x="1610" y="20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0" name="Freeform 45"/>
            <p:cNvSpPr>
              <a:spLocks noChangeArrowheads="1"/>
            </p:cNvSpPr>
            <p:nvPr userDrawn="1"/>
          </p:nvSpPr>
          <p:spPr bwMode="auto">
            <a:xfrm>
              <a:off x="6100763" y="1394185"/>
              <a:ext cx="741362" cy="1135002"/>
            </a:xfrm>
            <a:custGeom>
              <a:avLst/>
              <a:gdLst>
                <a:gd name="T0" fmla="*/ 94 w 1643"/>
                <a:gd name="T1" fmla="*/ 7 h 2050"/>
                <a:gd name="T2" fmla="*/ 158 w 1643"/>
                <a:gd name="T3" fmla="*/ 0 h 2050"/>
                <a:gd name="T4" fmla="*/ 236 w 1643"/>
                <a:gd name="T5" fmla="*/ 14 h 2050"/>
                <a:gd name="T6" fmla="*/ 325 w 1643"/>
                <a:gd name="T7" fmla="*/ 50 h 2050"/>
                <a:gd name="T8" fmla="*/ 423 w 1643"/>
                <a:gd name="T9" fmla="*/ 106 h 2050"/>
                <a:gd name="T10" fmla="*/ 529 w 1643"/>
                <a:gd name="T11" fmla="*/ 180 h 2050"/>
                <a:gd name="T12" fmla="*/ 641 w 1643"/>
                <a:gd name="T13" fmla="*/ 272 h 2050"/>
                <a:gd name="T14" fmla="*/ 757 w 1643"/>
                <a:gd name="T15" fmla="*/ 381 h 2050"/>
                <a:gd name="T16" fmla="*/ 877 w 1643"/>
                <a:gd name="T17" fmla="*/ 504 h 2050"/>
                <a:gd name="T18" fmla="*/ 998 w 1643"/>
                <a:gd name="T19" fmla="*/ 641 h 2050"/>
                <a:gd name="T20" fmla="*/ 1118 w 1643"/>
                <a:gd name="T21" fmla="*/ 791 h 2050"/>
                <a:gd name="T22" fmla="*/ 1231 w 1643"/>
                <a:gd name="T23" fmla="*/ 946 h 2050"/>
                <a:gd name="T24" fmla="*/ 1333 w 1643"/>
                <a:gd name="T25" fmla="*/ 1099 h 2050"/>
                <a:gd name="T26" fmla="*/ 1422 w 1643"/>
                <a:gd name="T27" fmla="*/ 1248 h 2050"/>
                <a:gd name="T28" fmla="*/ 1497 w 1643"/>
                <a:gd name="T29" fmla="*/ 1390 h 2050"/>
                <a:gd name="T30" fmla="*/ 1557 w 1643"/>
                <a:gd name="T31" fmla="*/ 1524 h 2050"/>
                <a:gd name="T32" fmla="*/ 1602 w 1643"/>
                <a:gd name="T33" fmla="*/ 1648 h 2050"/>
                <a:gd name="T34" fmla="*/ 1631 w 1643"/>
                <a:gd name="T35" fmla="*/ 1758 h 2050"/>
                <a:gd name="T36" fmla="*/ 1643 w 1643"/>
                <a:gd name="T37" fmla="*/ 1855 h 2050"/>
                <a:gd name="T38" fmla="*/ 1637 w 1643"/>
                <a:gd name="T39" fmla="*/ 1935 h 2050"/>
                <a:gd name="T40" fmla="*/ 1611 w 1643"/>
                <a:gd name="T41" fmla="*/ 1995 h 2050"/>
                <a:gd name="T42" fmla="*/ 1571 w 1643"/>
                <a:gd name="T43" fmla="*/ 2035 h 2050"/>
                <a:gd name="T44" fmla="*/ 1519 w 1643"/>
                <a:gd name="T45" fmla="*/ 2050 h 2050"/>
                <a:gd name="T46" fmla="*/ 1450 w 1643"/>
                <a:gd name="T47" fmla="*/ 2043 h 2050"/>
                <a:gd name="T48" fmla="*/ 1367 w 1643"/>
                <a:gd name="T49" fmla="*/ 2014 h 2050"/>
                <a:gd name="T50" fmla="*/ 1271 w 1643"/>
                <a:gd name="T51" fmla="*/ 1965 h 2050"/>
                <a:gd name="T52" fmla="*/ 1166 w 1643"/>
                <a:gd name="T53" fmla="*/ 1897 h 2050"/>
                <a:gd name="T54" fmla="*/ 1052 w 1643"/>
                <a:gd name="T55" fmla="*/ 1810 h 2050"/>
                <a:gd name="T56" fmla="*/ 932 w 1643"/>
                <a:gd name="T57" fmla="*/ 1707 h 2050"/>
                <a:gd name="T58" fmla="*/ 810 w 1643"/>
                <a:gd name="T59" fmla="*/ 1588 h 2050"/>
                <a:gd name="T60" fmla="*/ 686 w 1643"/>
                <a:gd name="T61" fmla="*/ 1455 h 2050"/>
                <a:gd name="T62" fmla="*/ 565 w 1643"/>
                <a:gd name="T63" fmla="*/ 1310 h 2050"/>
                <a:gd name="T64" fmla="*/ 447 w 1643"/>
                <a:gd name="T65" fmla="*/ 1155 h 2050"/>
                <a:gd name="T66" fmla="*/ 342 w 1643"/>
                <a:gd name="T67" fmla="*/ 1002 h 2050"/>
                <a:gd name="T68" fmla="*/ 249 w 1643"/>
                <a:gd name="T69" fmla="*/ 851 h 2050"/>
                <a:gd name="T70" fmla="*/ 169 w 1643"/>
                <a:gd name="T71" fmla="*/ 706 h 2050"/>
                <a:gd name="T72" fmla="*/ 104 w 1643"/>
                <a:gd name="T73" fmla="*/ 569 h 2050"/>
                <a:gd name="T74" fmla="*/ 54 w 1643"/>
                <a:gd name="T75" fmla="*/ 442 h 2050"/>
                <a:gd name="T76" fmla="*/ 20 w 1643"/>
                <a:gd name="T77" fmla="*/ 327 h 2050"/>
                <a:gd name="T78" fmla="*/ 2 w 1643"/>
                <a:gd name="T79" fmla="*/ 225 h 2050"/>
                <a:gd name="T80" fmla="*/ 2 w 1643"/>
                <a:gd name="T81" fmla="*/ 140 h 2050"/>
                <a:gd name="T82" fmla="*/ 21 w 1643"/>
                <a:gd name="T83" fmla="*/ 73 h 2050"/>
                <a:gd name="T84" fmla="*/ 59 w 1643"/>
                <a:gd name="T85" fmla="*/ 26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43" h="2050">
                  <a:moveTo>
                    <a:pt x="59" y="26"/>
                  </a:moveTo>
                  <a:lnTo>
                    <a:pt x="75" y="15"/>
                  </a:lnTo>
                  <a:lnTo>
                    <a:pt x="94" y="7"/>
                  </a:lnTo>
                  <a:lnTo>
                    <a:pt x="114" y="2"/>
                  </a:lnTo>
                  <a:lnTo>
                    <a:pt x="135" y="0"/>
                  </a:lnTo>
                  <a:lnTo>
                    <a:pt x="158" y="0"/>
                  </a:lnTo>
                  <a:lnTo>
                    <a:pt x="183" y="2"/>
                  </a:lnTo>
                  <a:lnTo>
                    <a:pt x="208" y="7"/>
                  </a:lnTo>
                  <a:lnTo>
                    <a:pt x="236" y="14"/>
                  </a:lnTo>
                  <a:lnTo>
                    <a:pt x="264" y="24"/>
                  </a:lnTo>
                  <a:lnTo>
                    <a:pt x="294" y="36"/>
                  </a:lnTo>
                  <a:lnTo>
                    <a:pt x="325" y="50"/>
                  </a:lnTo>
                  <a:lnTo>
                    <a:pt x="357" y="66"/>
                  </a:lnTo>
                  <a:lnTo>
                    <a:pt x="390" y="85"/>
                  </a:lnTo>
                  <a:lnTo>
                    <a:pt x="423" y="106"/>
                  </a:lnTo>
                  <a:lnTo>
                    <a:pt x="458" y="129"/>
                  </a:lnTo>
                  <a:lnTo>
                    <a:pt x="493" y="153"/>
                  </a:lnTo>
                  <a:lnTo>
                    <a:pt x="529" y="180"/>
                  </a:lnTo>
                  <a:lnTo>
                    <a:pt x="566" y="209"/>
                  </a:lnTo>
                  <a:lnTo>
                    <a:pt x="603" y="240"/>
                  </a:lnTo>
                  <a:lnTo>
                    <a:pt x="641" y="272"/>
                  </a:lnTo>
                  <a:lnTo>
                    <a:pt x="679" y="307"/>
                  </a:lnTo>
                  <a:lnTo>
                    <a:pt x="718" y="343"/>
                  </a:lnTo>
                  <a:lnTo>
                    <a:pt x="757" y="381"/>
                  </a:lnTo>
                  <a:lnTo>
                    <a:pt x="797" y="420"/>
                  </a:lnTo>
                  <a:lnTo>
                    <a:pt x="838" y="462"/>
                  </a:lnTo>
                  <a:lnTo>
                    <a:pt x="877" y="504"/>
                  </a:lnTo>
                  <a:lnTo>
                    <a:pt x="917" y="548"/>
                  </a:lnTo>
                  <a:lnTo>
                    <a:pt x="958" y="594"/>
                  </a:lnTo>
                  <a:lnTo>
                    <a:pt x="998" y="641"/>
                  </a:lnTo>
                  <a:lnTo>
                    <a:pt x="1038" y="689"/>
                  </a:lnTo>
                  <a:lnTo>
                    <a:pt x="1078" y="740"/>
                  </a:lnTo>
                  <a:lnTo>
                    <a:pt x="1118" y="791"/>
                  </a:lnTo>
                  <a:lnTo>
                    <a:pt x="1157" y="843"/>
                  </a:lnTo>
                  <a:lnTo>
                    <a:pt x="1195" y="895"/>
                  </a:lnTo>
                  <a:lnTo>
                    <a:pt x="1231" y="946"/>
                  </a:lnTo>
                  <a:lnTo>
                    <a:pt x="1267" y="998"/>
                  </a:lnTo>
                  <a:lnTo>
                    <a:pt x="1300" y="1048"/>
                  </a:lnTo>
                  <a:lnTo>
                    <a:pt x="1333" y="1099"/>
                  </a:lnTo>
                  <a:lnTo>
                    <a:pt x="1364" y="1149"/>
                  </a:lnTo>
                  <a:lnTo>
                    <a:pt x="1394" y="1199"/>
                  </a:lnTo>
                  <a:lnTo>
                    <a:pt x="1422" y="1248"/>
                  </a:lnTo>
                  <a:lnTo>
                    <a:pt x="1448" y="1296"/>
                  </a:lnTo>
                  <a:lnTo>
                    <a:pt x="1473" y="1344"/>
                  </a:lnTo>
                  <a:lnTo>
                    <a:pt x="1497" y="1390"/>
                  </a:lnTo>
                  <a:lnTo>
                    <a:pt x="1518" y="1436"/>
                  </a:lnTo>
                  <a:lnTo>
                    <a:pt x="1538" y="1481"/>
                  </a:lnTo>
                  <a:lnTo>
                    <a:pt x="1557" y="1524"/>
                  </a:lnTo>
                  <a:lnTo>
                    <a:pt x="1574" y="1567"/>
                  </a:lnTo>
                  <a:lnTo>
                    <a:pt x="1588" y="1608"/>
                  </a:lnTo>
                  <a:lnTo>
                    <a:pt x="1602" y="1648"/>
                  </a:lnTo>
                  <a:lnTo>
                    <a:pt x="1613" y="1686"/>
                  </a:lnTo>
                  <a:lnTo>
                    <a:pt x="1624" y="1723"/>
                  </a:lnTo>
                  <a:lnTo>
                    <a:pt x="1631" y="1758"/>
                  </a:lnTo>
                  <a:lnTo>
                    <a:pt x="1637" y="1792"/>
                  </a:lnTo>
                  <a:lnTo>
                    <a:pt x="1641" y="1824"/>
                  </a:lnTo>
                  <a:lnTo>
                    <a:pt x="1643" y="1855"/>
                  </a:lnTo>
                  <a:lnTo>
                    <a:pt x="1642" y="1883"/>
                  </a:lnTo>
                  <a:lnTo>
                    <a:pt x="1640" y="1910"/>
                  </a:lnTo>
                  <a:lnTo>
                    <a:pt x="1637" y="1935"/>
                  </a:lnTo>
                  <a:lnTo>
                    <a:pt x="1631" y="1956"/>
                  </a:lnTo>
                  <a:lnTo>
                    <a:pt x="1622" y="1977"/>
                  </a:lnTo>
                  <a:lnTo>
                    <a:pt x="1611" y="1995"/>
                  </a:lnTo>
                  <a:lnTo>
                    <a:pt x="1599" y="2011"/>
                  </a:lnTo>
                  <a:lnTo>
                    <a:pt x="1584" y="2023"/>
                  </a:lnTo>
                  <a:lnTo>
                    <a:pt x="1571" y="2035"/>
                  </a:lnTo>
                  <a:lnTo>
                    <a:pt x="1556" y="2042"/>
                  </a:lnTo>
                  <a:lnTo>
                    <a:pt x="1539" y="2047"/>
                  </a:lnTo>
                  <a:lnTo>
                    <a:pt x="1519" y="2050"/>
                  </a:lnTo>
                  <a:lnTo>
                    <a:pt x="1499" y="2050"/>
                  </a:lnTo>
                  <a:lnTo>
                    <a:pt x="1475" y="2048"/>
                  </a:lnTo>
                  <a:lnTo>
                    <a:pt x="1450" y="2043"/>
                  </a:lnTo>
                  <a:lnTo>
                    <a:pt x="1425" y="2036"/>
                  </a:lnTo>
                  <a:lnTo>
                    <a:pt x="1397" y="2026"/>
                  </a:lnTo>
                  <a:lnTo>
                    <a:pt x="1367" y="2014"/>
                  </a:lnTo>
                  <a:lnTo>
                    <a:pt x="1337" y="2000"/>
                  </a:lnTo>
                  <a:lnTo>
                    <a:pt x="1305" y="1983"/>
                  </a:lnTo>
                  <a:lnTo>
                    <a:pt x="1271" y="1965"/>
                  </a:lnTo>
                  <a:lnTo>
                    <a:pt x="1237" y="1944"/>
                  </a:lnTo>
                  <a:lnTo>
                    <a:pt x="1202" y="1921"/>
                  </a:lnTo>
                  <a:lnTo>
                    <a:pt x="1166" y="1897"/>
                  </a:lnTo>
                  <a:lnTo>
                    <a:pt x="1128" y="1870"/>
                  </a:lnTo>
                  <a:lnTo>
                    <a:pt x="1091" y="1841"/>
                  </a:lnTo>
                  <a:lnTo>
                    <a:pt x="1052" y="1810"/>
                  </a:lnTo>
                  <a:lnTo>
                    <a:pt x="1013" y="1777"/>
                  </a:lnTo>
                  <a:lnTo>
                    <a:pt x="973" y="1743"/>
                  </a:lnTo>
                  <a:lnTo>
                    <a:pt x="932" y="1707"/>
                  </a:lnTo>
                  <a:lnTo>
                    <a:pt x="892" y="1669"/>
                  </a:lnTo>
                  <a:lnTo>
                    <a:pt x="851" y="1630"/>
                  </a:lnTo>
                  <a:lnTo>
                    <a:pt x="810" y="1588"/>
                  </a:lnTo>
                  <a:lnTo>
                    <a:pt x="769" y="1545"/>
                  </a:lnTo>
                  <a:lnTo>
                    <a:pt x="727" y="1502"/>
                  </a:lnTo>
                  <a:lnTo>
                    <a:pt x="686" y="1455"/>
                  </a:lnTo>
                  <a:lnTo>
                    <a:pt x="646" y="1408"/>
                  </a:lnTo>
                  <a:lnTo>
                    <a:pt x="605" y="1360"/>
                  </a:lnTo>
                  <a:lnTo>
                    <a:pt x="565" y="1310"/>
                  </a:lnTo>
                  <a:lnTo>
                    <a:pt x="524" y="1259"/>
                  </a:lnTo>
                  <a:lnTo>
                    <a:pt x="485" y="1207"/>
                  </a:lnTo>
                  <a:lnTo>
                    <a:pt x="447" y="1155"/>
                  </a:lnTo>
                  <a:lnTo>
                    <a:pt x="411" y="1104"/>
                  </a:lnTo>
                  <a:lnTo>
                    <a:pt x="376" y="1052"/>
                  </a:lnTo>
                  <a:lnTo>
                    <a:pt x="342" y="1002"/>
                  </a:lnTo>
                  <a:lnTo>
                    <a:pt x="309" y="950"/>
                  </a:lnTo>
                  <a:lnTo>
                    <a:pt x="278" y="901"/>
                  </a:lnTo>
                  <a:lnTo>
                    <a:pt x="249" y="851"/>
                  </a:lnTo>
                  <a:lnTo>
                    <a:pt x="221" y="802"/>
                  </a:lnTo>
                  <a:lnTo>
                    <a:pt x="195" y="753"/>
                  </a:lnTo>
                  <a:lnTo>
                    <a:pt x="169" y="706"/>
                  </a:lnTo>
                  <a:lnTo>
                    <a:pt x="146" y="660"/>
                  </a:lnTo>
                  <a:lnTo>
                    <a:pt x="125" y="614"/>
                  </a:lnTo>
                  <a:lnTo>
                    <a:pt x="104" y="569"/>
                  </a:lnTo>
                  <a:lnTo>
                    <a:pt x="86" y="526"/>
                  </a:lnTo>
                  <a:lnTo>
                    <a:pt x="69" y="483"/>
                  </a:lnTo>
                  <a:lnTo>
                    <a:pt x="54" y="442"/>
                  </a:lnTo>
                  <a:lnTo>
                    <a:pt x="40" y="402"/>
                  </a:lnTo>
                  <a:lnTo>
                    <a:pt x="29" y="364"/>
                  </a:lnTo>
                  <a:lnTo>
                    <a:pt x="20" y="327"/>
                  </a:lnTo>
                  <a:lnTo>
                    <a:pt x="12" y="291"/>
                  </a:lnTo>
                  <a:lnTo>
                    <a:pt x="6" y="258"/>
                  </a:lnTo>
                  <a:lnTo>
                    <a:pt x="2" y="225"/>
                  </a:lnTo>
                  <a:lnTo>
                    <a:pt x="0" y="195"/>
                  </a:lnTo>
                  <a:lnTo>
                    <a:pt x="0" y="166"/>
                  </a:lnTo>
                  <a:lnTo>
                    <a:pt x="2" y="140"/>
                  </a:lnTo>
                  <a:lnTo>
                    <a:pt x="6" y="115"/>
                  </a:lnTo>
                  <a:lnTo>
                    <a:pt x="13" y="93"/>
                  </a:lnTo>
                  <a:lnTo>
                    <a:pt x="21" y="73"/>
                  </a:lnTo>
                  <a:lnTo>
                    <a:pt x="31" y="54"/>
                  </a:lnTo>
                  <a:lnTo>
                    <a:pt x="43" y="39"/>
                  </a:lnTo>
                  <a:lnTo>
                    <a:pt x="59" y="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1" name="Freeform 46"/>
            <p:cNvSpPr>
              <a:spLocks noChangeArrowheads="1"/>
            </p:cNvSpPr>
            <p:nvPr userDrawn="1"/>
          </p:nvSpPr>
          <p:spPr bwMode="auto">
            <a:xfrm>
              <a:off x="5740400" y="1925882"/>
              <a:ext cx="1114425" cy="664173"/>
            </a:xfrm>
            <a:custGeom>
              <a:avLst/>
              <a:gdLst>
                <a:gd name="T0" fmla="*/ 28 w 2478"/>
                <a:gd name="T1" fmla="*/ 147 h 1202"/>
                <a:gd name="T2" fmla="*/ 69 w 2478"/>
                <a:gd name="T3" fmla="*/ 98 h 1202"/>
                <a:gd name="T4" fmla="*/ 155 w 2478"/>
                <a:gd name="T5" fmla="*/ 47 h 1202"/>
                <a:gd name="T6" fmla="*/ 342 w 2478"/>
                <a:gd name="T7" fmla="*/ 5 h 1202"/>
                <a:gd name="T8" fmla="*/ 570 w 2478"/>
                <a:gd name="T9" fmla="*/ 2 h 1202"/>
                <a:gd name="T10" fmla="*/ 830 w 2478"/>
                <a:gd name="T11" fmla="*/ 31 h 1202"/>
                <a:gd name="T12" fmla="*/ 1121 w 2478"/>
                <a:gd name="T13" fmla="*/ 89 h 1202"/>
                <a:gd name="T14" fmla="*/ 1323 w 2478"/>
                <a:gd name="T15" fmla="*/ 146 h 1202"/>
                <a:gd name="T16" fmla="*/ 1645 w 2478"/>
                <a:gd name="T17" fmla="*/ 263 h 1202"/>
                <a:gd name="T18" fmla="*/ 2008 w 2478"/>
                <a:gd name="T19" fmla="*/ 440 h 1202"/>
                <a:gd name="T20" fmla="*/ 2235 w 2478"/>
                <a:gd name="T21" fmla="*/ 587 h 1202"/>
                <a:gd name="T22" fmla="*/ 2365 w 2478"/>
                <a:gd name="T23" fmla="*/ 704 h 1202"/>
                <a:gd name="T24" fmla="*/ 2454 w 2478"/>
                <a:gd name="T25" fmla="*/ 830 h 1202"/>
                <a:gd name="T26" fmla="*/ 2477 w 2478"/>
                <a:gd name="T27" fmla="*/ 950 h 1202"/>
                <a:gd name="T28" fmla="*/ 2458 w 2478"/>
                <a:gd name="T29" fmla="*/ 1022 h 1202"/>
                <a:gd name="T30" fmla="*/ 2421 w 2478"/>
                <a:gd name="T31" fmla="*/ 1084 h 1202"/>
                <a:gd name="T32" fmla="*/ 2366 w 2478"/>
                <a:gd name="T33" fmla="*/ 1132 h 1202"/>
                <a:gd name="T34" fmla="*/ 2291 w 2478"/>
                <a:gd name="T35" fmla="*/ 1167 h 1202"/>
                <a:gd name="T36" fmla="*/ 2090 w 2478"/>
                <a:gd name="T37" fmla="*/ 1201 h 1202"/>
                <a:gd name="T38" fmla="*/ 1869 w 2478"/>
                <a:gd name="T39" fmla="*/ 1196 h 1202"/>
                <a:gd name="T40" fmla="*/ 1608 w 2478"/>
                <a:gd name="T41" fmla="*/ 1164 h 1202"/>
                <a:gd name="T42" fmla="*/ 1415 w 2478"/>
                <a:gd name="T43" fmla="*/ 1130 h 1202"/>
                <a:gd name="T44" fmla="*/ 1175 w 2478"/>
                <a:gd name="T45" fmla="*/ 1076 h 1202"/>
                <a:gd name="T46" fmla="*/ 1054 w 2478"/>
                <a:gd name="T47" fmla="*/ 1043 h 1202"/>
                <a:gd name="T48" fmla="*/ 897 w 2478"/>
                <a:gd name="T49" fmla="*/ 985 h 1202"/>
                <a:gd name="T50" fmla="*/ 634 w 2478"/>
                <a:gd name="T51" fmla="*/ 870 h 1202"/>
                <a:gd name="T52" fmla="*/ 389 w 2478"/>
                <a:gd name="T53" fmla="*/ 733 h 1202"/>
                <a:gd name="T54" fmla="*/ 194 w 2478"/>
                <a:gd name="T55" fmla="*/ 587 h 1202"/>
                <a:gd name="T56" fmla="*/ 61 w 2478"/>
                <a:gd name="T57" fmla="*/ 438 h 1202"/>
                <a:gd name="T58" fmla="*/ 18 w 2478"/>
                <a:gd name="T59" fmla="*/ 356 h 1202"/>
                <a:gd name="T60" fmla="*/ 0 w 2478"/>
                <a:gd name="T61" fmla="*/ 277 h 1202"/>
                <a:gd name="T62" fmla="*/ 7 w 2478"/>
                <a:gd name="T63" fmla="*/ 201 h 1202"/>
                <a:gd name="T64" fmla="*/ 178 w 2478"/>
                <a:gd name="T65" fmla="*/ 227 h 1202"/>
                <a:gd name="T66" fmla="*/ 170 w 2478"/>
                <a:gd name="T67" fmla="*/ 268 h 1202"/>
                <a:gd name="T68" fmla="*/ 204 w 2478"/>
                <a:gd name="T69" fmla="*/ 349 h 1202"/>
                <a:gd name="T70" fmla="*/ 293 w 2478"/>
                <a:gd name="T71" fmla="*/ 447 h 1202"/>
                <a:gd name="T72" fmla="*/ 451 w 2478"/>
                <a:gd name="T73" fmla="*/ 569 h 1202"/>
                <a:gd name="T74" fmla="*/ 672 w 2478"/>
                <a:gd name="T75" fmla="*/ 697 h 1202"/>
                <a:gd name="T76" fmla="*/ 935 w 2478"/>
                <a:gd name="T77" fmla="*/ 816 h 1202"/>
                <a:gd name="T78" fmla="*/ 1084 w 2478"/>
                <a:gd name="T79" fmla="*/ 873 h 1202"/>
                <a:gd name="T80" fmla="*/ 1294 w 2478"/>
                <a:gd name="T81" fmla="*/ 928 h 1202"/>
                <a:gd name="T82" fmla="*/ 1542 w 2478"/>
                <a:gd name="T83" fmla="*/ 979 h 1202"/>
                <a:gd name="T84" fmla="*/ 1840 w 2478"/>
                <a:gd name="T85" fmla="*/ 1021 h 1202"/>
                <a:gd name="T86" fmla="*/ 2051 w 2478"/>
                <a:gd name="T87" fmla="*/ 1031 h 1202"/>
                <a:gd name="T88" fmla="*/ 2186 w 2478"/>
                <a:gd name="T89" fmla="*/ 1019 h 1202"/>
                <a:gd name="T90" fmla="*/ 2269 w 2478"/>
                <a:gd name="T91" fmla="*/ 992 h 1202"/>
                <a:gd name="T92" fmla="*/ 2299 w 2478"/>
                <a:gd name="T93" fmla="*/ 957 h 1202"/>
                <a:gd name="T94" fmla="*/ 2308 w 2478"/>
                <a:gd name="T95" fmla="*/ 929 h 1202"/>
                <a:gd name="T96" fmla="*/ 2294 w 2478"/>
                <a:gd name="T97" fmla="*/ 884 h 1202"/>
                <a:gd name="T98" fmla="*/ 2189 w 2478"/>
                <a:gd name="T99" fmla="*/ 771 h 1202"/>
                <a:gd name="T100" fmla="*/ 1979 w 2478"/>
                <a:gd name="T101" fmla="*/ 620 h 1202"/>
                <a:gd name="T102" fmla="*/ 1637 w 2478"/>
                <a:gd name="T103" fmla="*/ 445 h 1202"/>
                <a:gd name="T104" fmla="*/ 1307 w 2478"/>
                <a:gd name="T105" fmla="*/ 320 h 1202"/>
                <a:gd name="T106" fmla="*/ 1112 w 2478"/>
                <a:gd name="T107" fmla="*/ 264 h 1202"/>
                <a:gd name="T108" fmla="*/ 851 w 2478"/>
                <a:gd name="T109" fmla="*/ 207 h 1202"/>
                <a:gd name="T110" fmla="*/ 601 w 2478"/>
                <a:gd name="T111" fmla="*/ 176 h 1202"/>
                <a:gd name="T112" fmla="*/ 374 w 2478"/>
                <a:gd name="T113" fmla="*/ 174 h 1202"/>
                <a:gd name="T114" fmla="*/ 239 w 2478"/>
                <a:gd name="T115" fmla="*/ 193 h 1202"/>
                <a:gd name="T116" fmla="*/ 182 w 2478"/>
                <a:gd name="T117" fmla="*/ 22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78" h="1202">
                  <a:moveTo>
                    <a:pt x="13" y="181"/>
                  </a:moveTo>
                  <a:lnTo>
                    <a:pt x="14" y="178"/>
                  </a:lnTo>
                  <a:lnTo>
                    <a:pt x="16" y="172"/>
                  </a:lnTo>
                  <a:lnTo>
                    <a:pt x="20" y="166"/>
                  </a:lnTo>
                  <a:lnTo>
                    <a:pt x="24" y="156"/>
                  </a:lnTo>
                  <a:lnTo>
                    <a:pt x="28" y="147"/>
                  </a:lnTo>
                  <a:lnTo>
                    <a:pt x="34" y="138"/>
                  </a:lnTo>
                  <a:lnTo>
                    <a:pt x="39" y="130"/>
                  </a:lnTo>
                  <a:lnTo>
                    <a:pt x="46" y="121"/>
                  </a:lnTo>
                  <a:lnTo>
                    <a:pt x="54" y="113"/>
                  </a:lnTo>
                  <a:lnTo>
                    <a:pt x="61" y="106"/>
                  </a:lnTo>
                  <a:lnTo>
                    <a:pt x="69" y="98"/>
                  </a:lnTo>
                  <a:lnTo>
                    <a:pt x="78" y="90"/>
                  </a:lnTo>
                  <a:lnTo>
                    <a:pt x="87" y="83"/>
                  </a:lnTo>
                  <a:lnTo>
                    <a:pt x="98" y="77"/>
                  </a:lnTo>
                  <a:lnTo>
                    <a:pt x="108" y="71"/>
                  </a:lnTo>
                  <a:lnTo>
                    <a:pt x="131" y="59"/>
                  </a:lnTo>
                  <a:lnTo>
                    <a:pt x="155" y="47"/>
                  </a:lnTo>
                  <a:lnTo>
                    <a:pt x="181" y="38"/>
                  </a:lnTo>
                  <a:lnTo>
                    <a:pt x="210" y="29"/>
                  </a:lnTo>
                  <a:lnTo>
                    <a:pt x="241" y="21"/>
                  </a:lnTo>
                  <a:lnTo>
                    <a:pt x="273" y="14"/>
                  </a:lnTo>
                  <a:lnTo>
                    <a:pt x="307" y="9"/>
                  </a:lnTo>
                  <a:lnTo>
                    <a:pt x="342" y="5"/>
                  </a:lnTo>
                  <a:lnTo>
                    <a:pt x="380" y="2"/>
                  </a:lnTo>
                  <a:lnTo>
                    <a:pt x="418" y="0"/>
                  </a:lnTo>
                  <a:lnTo>
                    <a:pt x="454" y="0"/>
                  </a:lnTo>
                  <a:lnTo>
                    <a:pt x="491" y="0"/>
                  </a:lnTo>
                  <a:lnTo>
                    <a:pt x="529" y="1"/>
                  </a:lnTo>
                  <a:lnTo>
                    <a:pt x="570" y="2"/>
                  </a:lnTo>
                  <a:lnTo>
                    <a:pt x="610" y="5"/>
                  </a:lnTo>
                  <a:lnTo>
                    <a:pt x="652" y="8"/>
                  </a:lnTo>
                  <a:lnTo>
                    <a:pt x="695" y="12"/>
                  </a:lnTo>
                  <a:lnTo>
                    <a:pt x="739" y="17"/>
                  </a:lnTo>
                  <a:lnTo>
                    <a:pt x="784" y="23"/>
                  </a:lnTo>
                  <a:lnTo>
                    <a:pt x="830" y="31"/>
                  </a:lnTo>
                  <a:lnTo>
                    <a:pt x="876" y="38"/>
                  </a:lnTo>
                  <a:lnTo>
                    <a:pt x="924" y="46"/>
                  </a:lnTo>
                  <a:lnTo>
                    <a:pt x="972" y="55"/>
                  </a:lnTo>
                  <a:lnTo>
                    <a:pt x="1021" y="66"/>
                  </a:lnTo>
                  <a:lnTo>
                    <a:pt x="1070" y="77"/>
                  </a:lnTo>
                  <a:lnTo>
                    <a:pt x="1121" y="89"/>
                  </a:lnTo>
                  <a:lnTo>
                    <a:pt x="1154" y="98"/>
                  </a:lnTo>
                  <a:lnTo>
                    <a:pt x="1187" y="107"/>
                  </a:lnTo>
                  <a:lnTo>
                    <a:pt x="1220" y="116"/>
                  </a:lnTo>
                  <a:lnTo>
                    <a:pt x="1254" y="126"/>
                  </a:lnTo>
                  <a:lnTo>
                    <a:pt x="1288" y="136"/>
                  </a:lnTo>
                  <a:lnTo>
                    <a:pt x="1323" y="146"/>
                  </a:lnTo>
                  <a:lnTo>
                    <a:pt x="1359" y="157"/>
                  </a:lnTo>
                  <a:lnTo>
                    <a:pt x="1393" y="169"/>
                  </a:lnTo>
                  <a:lnTo>
                    <a:pt x="1457" y="191"/>
                  </a:lnTo>
                  <a:lnTo>
                    <a:pt x="1521" y="214"/>
                  </a:lnTo>
                  <a:lnTo>
                    <a:pt x="1584" y="239"/>
                  </a:lnTo>
                  <a:lnTo>
                    <a:pt x="1645" y="263"/>
                  </a:lnTo>
                  <a:lnTo>
                    <a:pt x="1705" y="288"/>
                  </a:lnTo>
                  <a:lnTo>
                    <a:pt x="1762" y="314"/>
                  </a:lnTo>
                  <a:lnTo>
                    <a:pt x="1818" y="340"/>
                  </a:lnTo>
                  <a:lnTo>
                    <a:pt x="1872" y="367"/>
                  </a:lnTo>
                  <a:lnTo>
                    <a:pt x="1943" y="403"/>
                  </a:lnTo>
                  <a:lnTo>
                    <a:pt x="2008" y="440"/>
                  </a:lnTo>
                  <a:lnTo>
                    <a:pt x="2071" y="477"/>
                  </a:lnTo>
                  <a:lnTo>
                    <a:pt x="2130" y="514"/>
                  </a:lnTo>
                  <a:lnTo>
                    <a:pt x="2158" y="533"/>
                  </a:lnTo>
                  <a:lnTo>
                    <a:pt x="2185" y="551"/>
                  </a:lnTo>
                  <a:lnTo>
                    <a:pt x="2210" y="570"/>
                  </a:lnTo>
                  <a:lnTo>
                    <a:pt x="2235" y="587"/>
                  </a:lnTo>
                  <a:lnTo>
                    <a:pt x="2259" y="606"/>
                  </a:lnTo>
                  <a:lnTo>
                    <a:pt x="2281" y="624"/>
                  </a:lnTo>
                  <a:lnTo>
                    <a:pt x="2302" y="643"/>
                  </a:lnTo>
                  <a:lnTo>
                    <a:pt x="2323" y="661"/>
                  </a:lnTo>
                  <a:lnTo>
                    <a:pt x="2344" y="682"/>
                  </a:lnTo>
                  <a:lnTo>
                    <a:pt x="2365" y="704"/>
                  </a:lnTo>
                  <a:lnTo>
                    <a:pt x="2384" y="724"/>
                  </a:lnTo>
                  <a:lnTo>
                    <a:pt x="2402" y="746"/>
                  </a:lnTo>
                  <a:lnTo>
                    <a:pt x="2417" y="767"/>
                  </a:lnTo>
                  <a:lnTo>
                    <a:pt x="2432" y="788"/>
                  </a:lnTo>
                  <a:lnTo>
                    <a:pt x="2444" y="809"/>
                  </a:lnTo>
                  <a:lnTo>
                    <a:pt x="2454" y="830"/>
                  </a:lnTo>
                  <a:lnTo>
                    <a:pt x="2463" y="850"/>
                  </a:lnTo>
                  <a:lnTo>
                    <a:pt x="2470" y="871"/>
                  </a:lnTo>
                  <a:lnTo>
                    <a:pt x="2474" y="891"/>
                  </a:lnTo>
                  <a:lnTo>
                    <a:pt x="2477" y="911"/>
                  </a:lnTo>
                  <a:lnTo>
                    <a:pt x="2478" y="931"/>
                  </a:lnTo>
                  <a:lnTo>
                    <a:pt x="2477" y="950"/>
                  </a:lnTo>
                  <a:lnTo>
                    <a:pt x="2474" y="969"/>
                  </a:lnTo>
                  <a:lnTo>
                    <a:pt x="2469" y="987"/>
                  </a:lnTo>
                  <a:lnTo>
                    <a:pt x="2465" y="1000"/>
                  </a:lnTo>
                  <a:lnTo>
                    <a:pt x="2462" y="1011"/>
                  </a:lnTo>
                  <a:lnTo>
                    <a:pt x="2458" y="1022"/>
                  </a:lnTo>
                  <a:lnTo>
                    <a:pt x="2453" y="1034"/>
                  </a:lnTo>
                  <a:lnTo>
                    <a:pt x="2448" y="1045"/>
                  </a:lnTo>
                  <a:lnTo>
                    <a:pt x="2442" y="1055"/>
                  </a:lnTo>
                  <a:lnTo>
                    <a:pt x="2436" y="1065"/>
                  </a:lnTo>
                  <a:lnTo>
                    <a:pt x="2429" y="1075"/>
                  </a:lnTo>
                  <a:lnTo>
                    <a:pt x="2421" y="1084"/>
                  </a:lnTo>
                  <a:lnTo>
                    <a:pt x="2414" y="1092"/>
                  </a:lnTo>
                  <a:lnTo>
                    <a:pt x="2405" y="1101"/>
                  </a:lnTo>
                  <a:lnTo>
                    <a:pt x="2396" y="1109"/>
                  </a:lnTo>
                  <a:lnTo>
                    <a:pt x="2386" y="1117"/>
                  </a:lnTo>
                  <a:lnTo>
                    <a:pt x="2376" y="1124"/>
                  </a:lnTo>
                  <a:lnTo>
                    <a:pt x="2366" y="1132"/>
                  </a:lnTo>
                  <a:lnTo>
                    <a:pt x="2355" y="1138"/>
                  </a:lnTo>
                  <a:lnTo>
                    <a:pt x="2343" y="1145"/>
                  </a:lnTo>
                  <a:lnTo>
                    <a:pt x="2331" y="1150"/>
                  </a:lnTo>
                  <a:lnTo>
                    <a:pt x="2317" y="1156"/>
                  </a:lnTo>
                  <a:lnTo>
                    <a:pt x="2304" y="1162"/>
                  </a:lnTo>
                  <a:lnTo>
                    <a:pt x="2291" y="1167"/>
                  </a:lnTo>
                  <a:lnTo>
                    <a:pt x="2262" y="1176"/>
                  </a:lnTo>
                  <a:lnTo>
                    <a:pt x="2231" y="1183"/>
                  </a:lnTo>
                  <a:lnTo>
                    <a:pt x="2198" y="1189"/>
                  </a:lnTo>
                  <a:lnTo>
                    <a:pt x="2164" y="1195"/>
                  </a:lnTo>
                  <a:lnTo>
                    <a:pt x="2127" y="1199"/>
                  </a:lnTo>
                  <a:lnTo>
                    <a:pt x="2090" y="1201"/>
                  </a:lnTo>
                  <a:lnTo>
                    <a:pt x="2056" y="1202"/>
                  </a:lnTo>
                  <a:lnTo>
                    <a:pt x="2021" y="1202"/>
                  </a:lnTo>
                  <a:lnTo>
                    <a:pt x="1985" y="1202"/>
                  </a:lnTo>
                  <a:lnTo>
                    <a:pt x="1948" y="1201"/>
                  </a:lnTo>
                  <a:lnTo>
                    <a:pt x="1909" y="1199"/>
                  </a:lnTo>
                  <a:lnTo>
                    <a:pt x="1869" y="1196"/>
                  </a:lnTo>
                  <a:lnTo>
                    <a:pt x="1828" y="1192"/>
                  </a:lnTo>
                  <a:lnTo>
                    <a:pt x="1786" y="1188"/>
                  </a:lnTo>
                  <a:lnTo>
                    <a:pt x="1743" y="1183"/>
                  </a:lnTo>
                  <a:lnTo>
                    <a:pt x="1699" y="1177"/>
                  </a:lnTo>
                  <a:lnTo>
                    <a:pt x="1654" y="1171"/>
                  </a:lnTo>
                  <a:lnTo>
                    <a:pt x="1608" y="1164"/>
                  </a:lnTo>
                  <a:lnTo>
                    <a:pt x="1561" y="1156"/>
                  </a:lnTo>
                  <a:lnTo>
                    <a:pt x="1513" y="1148"/>
                  </a:lnTo>
                  <a:lnTo>
                    <a:pt x="1465" y="1139"/>
                  </a:lnTo>
                  <a:lnTo>
                    <a:pt x="1415" y="1130"/>
                  </a:lnTo>
                  <a:lnTo>
                    <a:pt x="1415" y="1129"/>
                  </a:lnTo>
                  <a:lnTo>
                    <a:pt x="1415" y="1130"/>
                  </a:lnTo>
                  <a:lnTo>
                    <a:pt x="1376" y="1121"/>
                  </a:lnTo>
                  <a:lnTo>
                    <a:pt x="1337" y="1113"/>
                  </a:lnTo>
                  <a:lnTo>
                    <a:pt x="1298" y="1105"/>
                  </a:lnTo>
                  <a:lnTo>
                    <a:pt x="1258" y="1096"/>
                  </a:lnTo>
                  <a:lnTo>
                    <a:pt x="1216" y="1086"/>
                  </a:lnTo>
                  <a:lnTo>
                    <a:pt x="1175" y="1076"/>
                  </a:lnTo>
                  <a:lnTo>
                    <a:pt x="1133" y="1067"/>
                  </a:lnTo>
                  <a:lnTo>
                    <a:pt x="1092" y="1055"/>
                  </a:lnTo>
                  <a:lnTo>
                    <a:pt x="1085" y="1053"/>
                  </a:lnTo>
                  <a:lnTo>
                    <a:pt x="1081" y="1052"/>
                  </a:lnTo>
                  <a:lnTo>
                    <a:pt x="1054" y="1043"/>
                  </a:lnTo>
                  <a:lnTo>
                    <a:pt x="1027" y="1034"/>
                  </a:lnTo>
                  <a:lnTo>
                    <a:pt x="1001" y="1024"/>
                  </a:lnTo>
                  <a:lnTo>
                    <a:pt x="974" y="1015"/>
                  </a:lnTo>
                  <a:lnTo>
                    <a:pt x="949" y="1005"/>
                  </a:lnTo>
                  <a:lnTo>
                    <a:pt x="923" y="996"/>
                  </a:lnTo>
                  <a:lnTo>
                    <a:pt x="897" y="985"/>
                  </a:lnTo>
                  <a:lnTo>
                    <a:pt x="872" y="976"/>
                  </a:lnTo>
                  <a:lnTo>
                    <a:pt x="822" y="955"/>
                  </a:lnTo>
                  <a:lnTo>
                    <a:pt x="773" y="935"/>
                  </a:lnTo>
                  <a:lnTo>
                    <a:pt x="726" y="913"/>
                  </a:lnTo>
                  <a:lnTo>
                    <a:pt x="680" y="891"/>
                  </a:lnTo>
                  <a:lnTo>
                    <a:pt x="634" y="870"/>
                  </a:lnTo>
                  <a:lnTo>
                    <a:pt x="590" y="847"/>
                  </a:lnTo>
                  <a:lnTo>
                    <a:pt x="547" y="825"/>
                  </a:lnTo>
                  <a:lnTo>
                    <a:pt x="506" y="802"/>
                  </a:lnTo>
                  <a:lnTo>
                    <a:pt x="466" y="779"/>
                  </a:lnTo>
                  <a:lnTo>
                    <a:pt x="426" y="755"/>
                  </a:lnTo>
                  <a:lnTo>
                    <a:pt x="389" y="733"/>
                  </a:lnTo>
                  <a:lnTo>
                    <a:pt x="353" y="709"/>
                  </a:lnTo>
                  <a:lnTo>
                    <a:pt x="319" y="685"/>
                  </a:lnTo>
                  <a:lnTo>
                    <a:pt x="286" y="662"/>
                  </a:lnTo>
                  <a:lnTo>
                    <a:pt x="255" y="638"/>
                  </a:lnTo>
                  <a:lnTo>
                    <a:pt x="226" y="614"/>
                  </a:lnTo>
                  <a:lnTo>
                    <a:pt x="194" y="587"/>
                  </a:lnTo>
                  <a:lnTo>
                    <a:pt x="165" y="561"/>
                  </a:lnTo>
                  <a:lnTo>
                    <a:pt x="137" y="533"/>
                  </a:lnTo>
                  <a:lnTo>
                    <a:pt x="112" y="506"/>
                  </a:lnTo>
                  <a:lnTo>
                    <a:pt x="90" y="478"/>
                  </a:lnTo>
                  <a:lnTo>
                    <a:pt x="70" y="451"/>
                  </a:lnTo>
                  <a:lnTo>
                    <a:pt x="61" y="438"/>
                  </a:lnTo>
                  <a:lnTo>
                    <a:pt x="51" y="424"/>
                  </a:lnTo>
                  <a:lnTo>
                    <a:pt x="44" y="411"/>
                  </a:lnTo>
                  <a:lnTo>
                    <a:pt x="37" y="397"/>
                  </a:lnTo>
                  <a:lnTo>
                    <a:pt x="30" y="383"/>
                  </a:lnTo>
                  <a:lnTo>
                    <a:pt x="24" y="370"/>
                  </a:lnTo>
                  <a:lnTo>
                    <a:pt x="18" y="356"/>
                  </a:lnTo>
                  <a:lnTo>
                    <a:pt x="13" y="343"/>
                  </a:lnTo>
                  <a:lnTo>
                    <a:pt x="9" y="331"/>
                  </a:lnTo>
                  <a:lnTo>
                    <a:pt x="6" y="317"/>
                  </a:lnTo>
                  <a:lnTo>
                    <a:pt x="4" y="304"/>
                  </a:lnTo>
                  <a:lnTo>
                    <a:pt x="2" y="290"/>
                  </a:lnTo>
                  <a:lnTo>
                    <a:pt x="0" y="277"/>
                  </a:lnTo>
                  <a:lnTo>
                    <a:pt x="0" y="265"/>
                  </a:lnTo>
                  <a:lnTo>
                    <a:pt x="0" y="251"/>
                  </a:lnTo>
                  <a:lnTo>
                    <a:pt x="1" y="239"/>
                  </a:lnTo>
                  <a:lnTo>
                    <a:pt x="2" y="227"/>
                  </a:lnTo>
                  <a:lnTo>
                    <a:pt x="4" y="213"/>
                  </a:lnTo>
                  <a:lnTo>
                    <a:pt x="7" y="201"/>
                  </a:lnTo>
                  <a:lnTo>
                    <a:pt x="11" y="188"/>
                  </a:lnTo>
                  <a:lnTo>
                    <a:pt x="12" y="186"/>
                  </a:lnTo>
                  <a:lnTo>
                    <a:pt x="12" y="185"/>
                  </a:lnTo>
                  <a:lnTo>
                    <a:pt x="13" y="181"/>
                  </a:lnTo>
                  <a:close/>
                  <a:moveTo>
                    <a:pt x="178" y="226"/>
                  </a:moveTo>
                  <a:lnTo>
                    <a:pt x="178" y="227"/>
                  </a:lnTo>
                  <a:lnTo>
                    <a:pt x="175" y="237"/>
                  </a:lnTo>
                  <a:lnTo>
                    <a:pt x="172" y="245"/>
                  </a:lnTo>
                  <a:lnTo>
                    <a:pt x="171" y="250"/>
                  </a:lnTo>
                  <a:lnTo>
                    <a:pt x="170" y="255"/>
                  </a:lnTo>
                  <a:lnTo>
                    <a:pt x="170" y="262"/>
                  </a:lnTo>
                  <a:lnTo>
                    <a:pt x="170" y="268"/>
                  </a:lnTo>
                  <a:lnTo>
                    <a:pt x="171" y="280"/>
                  </a:lnTo>
                  <a:lnTo>
                    <a:pt x="174" y="293"/>
                  </a:lnTo>
                  <a:lnTo>
                    <a:pt x="179" y="306"/>
                  </a:lnTo>
                  <a:lnTo>
                    <a:pt x="185" y="319"/>
                  </a:lnTo>
                  <a:lnTo>
                    <a:pt x="194" y="334"/>
                  </a:lnTo>
                  <a:lnTo>
                    <a:pt x="204" y="349"/>
                  </a:lnTo>
                  <a:lnTo>
                    <a:pt x="215" y="365"/>
                  </a:lnTo>
                  <a:lnTo>
                    <a:pt x="228" y="380"/>
                  </a:lnTo>
                  <a:lnTo>
                    <a:pt x="242" y="397"/>
                  </a:lnTo>
                  <a:lnTo>
                    <a:pt x="257" y="413"/>
                  </a:lnTo>
                  <a:lnTo>
                    <a:pt x="275" y="430"/>
                  </a:lnTo>
                  <a:lnTo>
                    <a:pt x="293" y="447"/>
                  </a:lnTo>
                  <a:lnTo>
                    <a:pt x="313" y="465"/>
                  </a:lnTo>
                  <a:lnTo>
                    <a:pt x="334" y="482"/>
                  </a:lnTo>
                  <a:lnTo>
                    <a:pt x="360" y="504"/>
                  </a:lnTo>
                  <a:lnTo>
                    <a:pt x="389" y="525"/>
                  </a:lnTo>
                  <a:lnTo>
                    <a:pt x="419" y="547"/>
                  </a:lnTo>
                  <a:lnTo>
                    <a:pt x="451" y="569"/>
                  </a:lnTo>
                  <a:lnTo>
                    <a:pt x="484" y="590"/>
                  </a:lnTo>
                  <a:lnTo>
                    <a:pt x="519" y="612"/>
                  </a:lnTo>
                  <a:lnTo>
                    <a:pt x="555" y="634"/>
                  </a:lnTo>
                  <a:lnTo>
                    <a:pt x="592" y="655"/>
                  </a:lnTo>
                  <a:lnTo>
                    <a:pt x="631" y="676"/>
                  </a:lnTo>
                  <a:lnTo>
                    <a:pt x="672" y="697"/>
                  </a:lnTo>
                  <a:lnTo>
                    <a:pt x="713" y="717"/>
                  </a:lnTo>
                  <a:lnTo>
                    <a:pt x="755" y="738"/>
                  </a:lnTo>
                  <a:lnTo>
                    <a:pt x="798" y="758"/>
                  </a:lnTo>
                  <a:lnTo>
                    <a:pt x="842" y="778"/>
                  </a:lnTo>
                  <a:lnTo>
                    <a:pt x="889" y="798"/>
                  </a:lnTo>
                  <a:lnTo>
                    <a:pt x="935" y="816"/>
                  </a:lnTo>
                  <a:lnTo>
                    <a:pt x="959" y="826"/>
                  </a:lnTo>
                  <a:lnTo>
                    <a:pt x="984" y="836"/>
                  </a:lnTo>
                  <a:lnTo>
                    <a:pt x="1008" y="845"/>
                  </a:lnTo>
                  <a:lnTo>
                    <a:pt x="1033" y="854"/>
                  </a:lnTo>
                  <a:lnTo>
                    <a:pt x="1059" y="864"/>
                  </a:lnTo>
                  <a:lnTo>
                    <a:pt x="1084" y="873"/>
                  </a:lnTo>
                  <a:lnTo>
                    <a:pt x="1109" y="881"/>
                  </a:lnTo>
                  <a:lnTo>
                    <a:pt x="1135" y="890"/>
                  </a:lnTo>
                  <a:lnTo>
                    <a:pt x="1174" y="900"/>
                  </a:lnTo>
                  <a:lnTo>
                    <a:pt x="1214" y="910"/>
                  </a:lnTo>
                  <a:lnTo>
                    <a:pt x="1254" y="919"/>
                  </a:lnTo>
                  <a:lnTo>
                    <a:pt x="1294" y="928"/>
                  </a:lnTo>
                  <a:lnTo>
                    <a:pt x="1333" y="937"/>
                  </a:lnTo>
                  <a:lnTo>
                    <a:pt x="1372" y="945"/>
                  </a:lnTo>
                  <a:lnTo>
                    <a:pt x="1410" y="953"/>
                  </a:lnTo>
                  <a:lnTo>
                    <a:pt x="1448" y="961"/>
                  </a:lnTo>
                  <a:lnTo>
                    <a:pt x="1542" y="979"/>
                  </a:lnTo>
                  <a:lnTo>
                    <a:pt x="1631" y="995"/>
                  </a:lnTo>
                  <a:lnTo>
                    <a:pt x="1675" y="1001"/>
                  </a:lnTo>
                  <a:lnTo>
                    <a:pt x="1718" y="1007"/>
                  </a:lnTo>
                  <a:lnTo>
                    <a:pt x="1759" y="1012"/>
                  </a:lnTo>
                  <a:lnTo>
                    <a:pt x="1799" y="1017"/>
                  </a:lnTo>
                  <a:lnTo>
                    <a:pt x="1840" y="1021"/>
                  </a:lnTo>
                  <a:lnTo>
                    <a:pt x="1878" y="1024"/>
                  </a:lnTo>
                  <a:lnTo>
                    <a:pt x="1915" y="1028"/>
                  </a:lnTo>
                  <a:lnTo>
                    <a:pt x="1951" y="1030"/>
                  </a:lnTo>
                  <a:lnTo>
                    <a:pt x="1985" y="1031"/>
                  </a:lnTo>
                  <a:lnTo>
                    <a:pt x="2019" y="1031"/>
                  </a:lnTo>
                  <a:lnTo>
                    <a:pt x="2051" y="1031"/>
                  </a:lnTo>
                  <a:lnTo>
                    <a:pt x="2082" y="1030"/>
                  </a:lnTo>
                  <a:lnTo>
                    <a:pt x="2104" y="1029"/>
                  </a:lnTo>
                  <a:lnTo>
                    <a:pt x="2127" y="1026"/>
                  </a:lnTo>
                  <a:lnTo>
                    <a:pt x="2147" y="1024"/>
                  </a:lnTo>
                  <a:lnTo>
                    <a:pt x="2167" y="1022"/>
                  </a:lnTo>
                  <a:lnTo>
                    <a:pt x="2186" y="1019"/>
                  </a:lnTo>
                  <a:lnTo>
                    <a:pt x="2203" y="1015"/>
                  </a:lnTo>
                  <a:lnTo>
                    <a:pt x="2220" y="1012"/>
                  </a:lnTo>
                  <a:lnTo>
                    <a:pt x="2234" y="1008"/>
                  </a:lnTo>
                  <a:lnTo>
                    <a:pt x="2247" y="1003"/>
                  </a:lnTo>
                  <a:lnTo>
                    <a:pt x="2259" y="998"/>
                  </a:lnTo>
                  <a:lnTo>
                    <a:pt x="2269" y="992"/>
                  </a:lnTo>
                  <a:lnTo>
                    <a:pt x="2278" y="986"/>
                  </a:lnTo>
                  <a:lnTo>
                    <a:pt x="2286" y="980"/>
                  </a:lnTo>
                  <a:lnTo>
                    <a:pt x="2292" y="973"/>
                  </a:lnTo>
                  <a:lnTo>
                    <a:pt x="2296" y="966"/>
                  </a:lnTo>
                  <a:lnTo>
                    <a:pt x="2299" y="957"/>
                  </a:lnTo>
                  <a:lnTo>
                    <a:pt x="2300" y="954"/>
                  </a:lnTo>
                  <a:lnTo>
                    <a:pt x="2303" y="944"/>
                  </a:lnTo>
                  <a:lnTo>
                    <a:pt x="2307" y="935"/>
                  </a:lnTo>
                  <a:lnTo>
                    <a:pt x="2307" y="934"/>
                  </a:lnTo>
                  <a:lnTo>
                    <a:pt x="2308" y="929"/>
                  </a:lnTo>
                  <a:lnTo>
                    <a:pt x="2308" y="922"/>
                  </a:lnTo>
                  <a:lnTo>
                    <a:pt x="2307" y="915"/>
                  </a:lnTo>
                  <a:lnTo>
                    <a:pt x="2306" y="908"/>
                  </a:lnTo>
                  <a:lnTo>
                    <a:pt x="2303" y="901"/>
                  </a:lnTo>
                  <a:lnTo>
                    <a:pt x="2299" y="892"/>
                  </a:lnTo>
                  <a:lnTo>
                    <a:pt x="2294" y="884"/>
                  </a:lnTo>
                  <a:lnTo>
                    <a:pt x="2288" y="875"/>
                  </a:lnTo>
                  <a:lnTo>
                    <a:pt x="2272" y="855"/>
                  </a:lnTo>
                  <a:lnTo>
                    <a:pt x="2254" y="834"/>
                  </a:lnTo>
                  <a:lnTo>
                    <a:pt x="2232" y="811"/>
                  </a:lnTo>
                  <a:lnTo>
                    <a:pt x="2206" y="786"/>
                  </a:lnTo>
                  <a:lnTo>
                    <a:pt x="2189" y="771"/>
                  </a:lnTo>
                  <a:lnTo>
                    <a:pt x="2169" y="754"/>
                  </a:lnTo>
                  <a:lnTo>
                    <a:pt x="2150" y="738"/>
                  </a:lnTo>
                  <a:lnTo>
                    <a:pt x="2128" y="721"/>
                  </a:lnTo>
                  <a:lnTo>
                    <a:pt x="2083" y="687"/>
                  </a:lnTo>
                  <a:lnTo>
                    <a:pt x="2032" y="654"/>
                  </a:lnTo>
                  <a:lnTo>
                    <a:pt x="1979" y="620"/>
                  </a:lnTo>
                  <a:lnTo>
                    <a:pt x="1922" y="586"/>
                  </a:lnTo>
                  <a:lnTo>
                    <a:pt x="1860" y="553"/>
                  </a:lnTo>
                  <a:lnTo>
                    <a:pt x="1796" y="519"/>
                  </a:lnTo>
                  <a:lnTo>
                    <a:pt x="1745" y="495"/>
                  </a:lnTo>
                  <a:lnTo>
                    <a:pt x="1691" y="470"/>
                  </a:lnTo>
                  <a:lnTo>
                    <a:pt x="1637" y="445"/>
                  </a:lnTo>
                  <a:lnTo>
                    <a:pt x="1580" y="420"/>
                  </a:lnTo>
                  <a:lnTo>
                    <a:pt x="1521" y="398"/>
                  </a:lnTo>
                  <a:lnTo>
                    <a:pt x="1463" y="375"/>
                  </a:lnTo>
                  <a:lnTo>
                    <a:pt x="1402" y="352"/>
                  </a:lnTo>
                  <a:lnTo>
                    <a:pt x="1340" y="331"/>
                  </a:lnTo>
                  <a:lnTo>
                    <a:pt x="1307" y="320"/>
                  </a:lnTo>
                  <a:lnTo>
                    <a:pt x="1274" y="310"/>
                  </a:lnTo>
                  <a:lnTo>
                    <a:pt x="1242" y="301"/>
                  </a:lnTo>
                  <a:lnTo>
                    <a:pt x="1209" y="290"/>
                  </a:lnTo>
                  <a:lnTo>
                    <a:pt x="1176" y="281"/>
                  </a:lnTo>
                  <a:lnTo>
                    <a:pt x="1144" y="272"/>
                  </a:lnTo>
                  <a:lnTo>
                    <a:pt x="1112" y="264"/>
                  </a:lnTo>
                  <a:lnTo>
                    <a:pt x="1079" y="255"/>
                  </a:lnTo>
                  <a:lnTo>
                    <a:pt x="1033" y="244"/>
                  </a:lnTo>
                  <a:lnTo>
                    <a:pt x="986" y="234"/>
                  </a:lnTo>
                  <a:lnTo>
                    <a:pt x="940" y="224"/>
                  </a:lnTo>
                  <a:lnTo>
                    <a:pt x="895" y="215"/>
                  </a:lnTo>
                  <a:lnTo>
                    <a:pt x="851" y="207"/>
                  </a:lnTo>
                  <a:lnTo>
                    <a:pt x="806" y="200"/>
                  </a:lnTo>
                  <a:lnTo>
                    <a:pt x="764" y="194"/>
                  </a:lnTo>
                  <a:lnTo>
                    <a:pt x="722" y="187"/>
                  </a:lnTo>
                  <a:lnTo>
                    <a:pt x="681" y="183"/>
                  </a:lnTo>
                  <a:lnTo>
                    <a:pt x="641" y="179"/>
                  </a:lnTo>
                  <a:lnTo>
                    <a:pt x="601" y="176"/>
                  </a:lnTo>
                  <a:lnTo>
                    <a:pt x="563" y="173"/>
                  </a:lnTo>
                  <a:lnTo>
                    <a:pt x="526" y="172"/>
                  </a:lnTo>
                  <a:lnTo>
                    <a:pt x="491" y="171"/>
                  </a:lnTo>
                  <a:lnTo>
                    <a:pt x="456" y="171"/>
                  </a:lnTo>
                  <a:lnTo>
                    <a:pt x="423" y="171"/>
                  </a:lnTo>
                  <a:lnTo>
                    <a:pt x="374" y="174"/>
                  </a:lnTo>
                  <a:lnTo>
                    <a:pt x="329" y="177"/>
                  </a:lnTo>
                  <a:lnTo>
                    <a:pt x="308" y="180"/>
                  </a:lnTo>
                  <a:lnTo>
                    <a:pt x="288" y="182"/>
                  </a:lnTo>
                  <a:lnTo>
                    <a:pt x="271" y="185"/>
                  </a:lnTo>
                  <a:lnTo>
                    <a:pt x="254" y="188"/>
                  </a:lnTo>
                  <a:lnTo>
                    <a:pt x="239" y="193"/>
                  </a:lnTo>
                  <a:lnTo>
                    <a:pt x="226" y="197"/>
                  </a:lnTo>
                  <a:lnTo>
                    <a:pt x="213" y="201"/>
                  </a:lnTo>
                  <a:lnTo>
                    <a:pt x="203" y="205"/>
                  </a:lnTo>
                  <a:lnTo>
                    <a:pt x="195" y="210"/>
                  </a:lnTo>
                  <a:lnTo>
                    <a:pt x="187" y="215"/>
                  </a:lnTo>
                  <a:lnTo>
                    <a:pt x="182" y="220"/>
                  </a:lnTo>
                  <a:lnTo>
                    <a:pt x="178" y="226"/>
                  </a:lnTo>
                  <a:close/>
                  <a:moveTo>
                    <a:pt x="178" y="227"/>
                  </a:moveTo>
                  <a:lnTo>
                    <a:pt x="177" y="231"/>
                  </a:lnTo>
                  <a:lnTo>
                    <a:pt x="178" y="22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2" name="Freeform 47"/>
            <p:cNvSpPr>
              <a:spLocks noChangeArrowheads="1"/>
            </p:cNvSpPr>
            <p:nvPr userDrawn="1"/>
          </p:nvSpPr>
          <p:spPr bwMode="auto">
            <a:xfrm>
              <a:off x="5776913" y="1979589"/>
              <a:ext cx="1042987" cy="567501"/>
            </a:xfrm>
            <a:custGeom>
              <a:avLst/>
              <a:gdLst>
                <a:gd name="T0" fmla="*/ 24 w 2308"/>
                <a:gd name="T1" fmla="*/ 93 h 1031"/>
                <a:gd name="T2" fmla="*/ 67 w 2308"/>
                <a:gd name="T3" fmla="*/ 56 h 1031"/>
                <a:gd name="T4" fmla="*/ 136 w 2308"/>
                <a:gd name="T5" fmla="*/ 28 h 1031"/>
                <a:gd name="T6" fmla="*/ 228 w 2308"/>
                <a:gd name="T7" fmla="*/ 10 h 1031"/>
                <a:gd name="T8" fmla="*/ 339 w 2308"/>
                <a:gd name="T9" fmla="*/ 0 h 1031"/>
                <a:gd name="T10" fmla="*/ 467 w 2308"/>
                <a:gd name="T11" fmla="*/ 2 h 1031"/>
                <a:gd name="T12" fmla="*/ 610 w 2308"/>
                <a:gd name="T13" fmla="*/ 14 h 1031"/>
                <a:gd name="T14" fmla="*/ 766 w 2308"/>
                <a:gd name="T15" fmla="*/ 35 h 1031"/>
                <a:gd name="T16" fmla="*/ 932 w 2308"/>
                <a:gd name="T17" fmla="*/ 67 h 1031"/>
                <a:gd name="T18" fmla="*/ 1104 w 2308"/>
                <a:gd name="T19" fmla="*/ 111 h 1031"/>
                <a:gd name="T20" fmla="*/ 1282 w 2308"/>
                <a:gd name="T21" fmla="*/ 165 h 1031"/>
                <a:gd name="T22" fmla="*/ 1455 w 2308"/>
                <a:gd name="T23" fmla="*/ 228 h 1031"/>
                <a:gd name="T24" fmla="*/ 1619 w 2308"/>
                <a:gd name="T25" fmla="*/ 296 h 1031"/>
                <a:gd name="T26" fmla="*/ 1769 w 2308"/>
                <a:gd name="T27" fmla="*/ 368 h 1031"/>
                <a:gd name="T28" fmla="*/ 1905 w 2308"/>
                <a:gd name="T29" fmla="*/ 443 h 1031"/>
                <a:gd name="T30" fmla="*/ 2024 w 2308"/>
                <a:gd name="T31" fmla="*/ 518 h 1031"/>
                <a:gd name="T32" fmla="*/ 2125 w 2308"/>
                <a:gd name="T33" fmla="*/ 592 h 1031"/>
                <a:gd name="T34" fmla="*/ 2206 w 2308"/>
                <a:gd name="T35" fmla="*/ 664 h 1031"/>
                <a:gd name="T36" fmla="*/ 2264 w 2308"/>
                <a:gd name="T37" fmla="*/ 733 h 1031"/>
                <a:gd name="T38" fmla="*/ 2299 w 2308"/>
                <a:gd name="T39" fmla="*/ 797 h 1031"/>
                <a:gd name="T40" fmla="*/ 2308 w 2308"/>
                <a:gd name="T41" fmla="*/ 854 h 1031"/>
                <a:gd name="T42" fmla="*/ 2293 w 2308"/>
                <a:gd name="T43" fmla="*/ 906 h 1031"/>
                <a:gd name="T44" fmla="*/ 2259 w 2308"/>
                <a:gd name="T45" fmla="*/ 956 h 1031"/>
                <a:gd name="T46" fmla="*/ 2202 w 2308"/>
                <a:gd name="T47" fmla="*/ 992 h 1031"/>
                <a:gd name="T48" fmla="*/ 2121 w 2308"/>
                <a:gd name="T49" fmla="*/ 1016 h 1031"/>
                <a:gd name="T50" fmla="*/ 2020 w 2308"/>
                <a:gd name="T51" fmla="*/ 1029 h 1031"/>
                <a:gd name="T52" fmla="*/ 1901 w 2308"/>
                <a:gd name="T53" fmla="*/ 1031 h 1031"/>
                <a:gd name="T54" fmla="*/ 1765 w 2308"/>
                <a:gd name="T55" fmla="*/ 1023 h 1031"/>
                <a:gd name="T56" fmla="*/ 1613 w 2308"/>
                <a:gd name="T57" fmla="*/ 1005 h 1031"/>
                <a:gd name="T58" fmla="*/ 1450 w 2308"/>
                <a:gd name="T59" fmla="*/ 980 h 1031"/>
                <a:gd name="T60" fmla="*/ 1275 w 2308"/>
                <a:gd name="T61" fmla="*/ 946 h 1031"/>
                <a:gd name="T62" fmla="*/ 1090 w 2308"/>
                <a:gd name="T63" fmla="*/ 903 h 1031"/>
                <a:gd name="T64" fmla="*/ 910 w 2308"/>
                <a:gd name="T65" fmla="*/ 847 h 1031"/>
                <a:gd name="T66" fmla="*/ 743 w 2308"/>
                <a:gd name="T67" fmla="*/ 780 h 1031"/>
                <a:gd name="T68" fmla="*/ 588 w 2308"/>
                <a:gd name="T69" fmla="*/ 709 h 1031"/>
                <a:gd name="T70" fmla="*/ 446 w 2308"/>
                <a:gd name="T71" fmla="*/ 634 h 1031"/>
                <a:gd name="T72" fmla="*/ 322 w 2308"/>
                <a:gd name="T73" fmla="*/ 557 h 1031"/>
                <a:gd name="T74" fmla="*/ 215 w 2308"/>
                <a:gd name="T75" fmla="*/ 480 h 1031"/>
                <a:gd name="T76" fmla="*/ 126 w 2308"/>
                <a:gd name="T77" fmla="*/ 402 h 1031"/>
                <a:gd name="T78" fmla="*/ 60 w 2308"/>
                <a:gd name="T79" fmla="*/ 327 h 1031"/>
                <a:gd name="T80" fmla="*/ 18 w 2308"/>
                <a:gd name="T81" fmla="*/ 254 h 1031"/>
                <a:gd name="T82" fmla="*/ 0 w 2308"/>
                <a:gd name="T83" fmla="*/ 186 h 1031"/>
                <a:gd name="T84" fmla="*/ 10 w 2308"/>
                <a:gd name="T85" fmla="*/ 123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08" h="1031">
                  <a:moveTo>
                    <a:pt x="10" y="123"/>
                  </a:moveTo>
                  <a:lnTo>
                    <a:pt x="15" y="108"/>
                  </a:lnTo>
                  <a:lnTo>
                    <a:pt x="24" y="93"/>
                  </a:lnTo>
                  <a:lnTo>
                    <a:pt x="35" y="80"/>
                  </a:lnTo>
                  <a:lnTo>
                    <a:pt x="51" y="67"/>
                  </a:lnTo>
                  <a:lnTo>
                    <a:pt x="67" y="56"/>
                  </a:lnTo>
                  <a:lnTo>
                    <a:pt x="88" y="46"/>
                  </a:lnTo>
                  <a:lnTo>
                    <a:pt x="111" y="36"/>
                  </a:lnTo>
                  <a:lnTo>
                    <a:pt x="136" y="28"/>
                  </a:lnTo>
                  <a:lnTo>
                    <a:pt x="165" y="21"/>
                  </a:lnTo>
                  <a:lnTo>
                    <a:pt x="195" y="15"/>
                  </a:lnTo>
                  <a:lnTo>
                    <a:pt x="228" y="10"/>
                  </a:lnTo>
                  <a:lnTo>
                    <a:pt x="263" y="5"/>
                  </a:lnTo>
                  <a:lnTo>
                    <a:pt x="300" y="2"/>
                  </a:lnTo>
                  <a:lnTo>
                    <a:pt x="339" y="0"/>
                  </a:lnTo>
                  <a:lnTo>
                    <a:pt x="379" y="0"/>
                  </a:lnTo>
                  <a:lnTo>
                    <a:pt x="423" y="0"/>
                  </a:lnTo>
                  <a:lnTo>
                    <a:pt x="467" y="2"/>
                  </a:lnTo>
                  <a:lnTo>
                    <a:pt x="513" y="4"/>
                  </a:lnTo>
                  <a:lnTo>
                    <a:pt x="562" y="9"/>
                  </a:lnTo>
                  <a:lnTo>
                    <a:pt x="610" y="14"/>
                  </a:lnTo>
                  <a:lnTo>
                    <a:pt x="661" y="20"/>
                  </a:lnTo>
                  <a:lnTo>
                    <a:pt x="713" y="27"/>
                  </a:lnTo>
                  <a:lnTo>
                    <a:pt x="766" y="35"/>
                  </a:lnTo>
                  <a:lnTo>
                    <a:pt x="820" y="45"/>
                  </a:lnTo>
                  <a:lnTo>
                    <a:pt x="875" y="56"/>
                  </a:lnTo>
                  <a:lnTo>
                    <a:pt x="932" y="67"/>
                  </a:lnTo>
                  <a:lnTo>
                    <a:pt x="988" y="81"/>
                  </a:lnTo>
                  <a:lnTo>
                    <a:pt x="1046" y="95"/>
                  </a:lnTo>
                  <a:lnTo>
                    <a:pt x="1104" y="111"/>
                  </a:lnTo>
                  <a:lnTo>
                    <a:pt x="1162" y="128"/>
                  </a:lnTo>
                  <a:lnTo>
                    <a:pt x="1222" y="146"/>
                  </a:lnTo>
                  <a:lnTo>
                    <a:pt x="1282" y="165"/>
                  </a:lnTo>
                  <a:lnTo>
                    <a:pt x="1340" y="186"/>
                  </a:lnTo>
                  <a:lnTo>
                    <a:pt x="1398" y="206"/>
                  </a:lnTo>
                  <a:lnTo>
                    <a:pt x="1455" y="228"/>
                  </a:lnTo>
                  <a:lnTo>
                    <a:pt x="1510" y="250"/>
                  </a:lnTo>
                  <a:lnTo>
                    <a:pt x="1565" y="273"/>
                  </a:lnTo>
                  <a:lnTo>
                    <a:pt x="1619" y="296"/>
                  </a:lnTo>
                  <a:lnTo>
                    <a:pt x="1670" y="320"/>
                  </a:lnTo>
                  <a:lnTo>
                    <a:pt x="1721" y="344"/>
                  </a:lnTo>
                  <a:lnTo>
                    <a:pt x="1769" y="368"/>
                  </a:lnTo>
                  <a:lnTo>
                    <a:pt x="1816" y="393"/>
                  </a:lnTo>
                  <a:lnTo>
                    <a:pt x="1861" y="418"/>
                  </a:lnTo>
                  <a:lnTo>
                    <a:pt x="1905" y="443"/>
                  </a:lnTo>
                  <a:lnTo>
                    <a:pt x="1946" y="467"/>
                  </a:lnTo>
                  <a:lnTo>
                    <a:pt x="1986" y="492"/>
                  </a:lnTo>
                  <a:lnTo>
                    <a:pt x="2024" y="518"/>
                  </a:lnTo>
                  <a:lnTo>
                    <a:pt x="2060" y="543"/>
                  </a:lnTo>
                  <a:lnTo>
                    <a:pt x="2093" y="567"/>
                  </a:lnTo>
                  <a:lnTo>
                    <a:pt x="2125" y="592"/>
                  </a:lnTo>
                  <a:lnTo>
                    <a:pt x="2154" y="617"/>
                  </a:lnTo>
                  <a:lnTo>
                    <a:pt x="2181" y="640"/>
                  </a:lnTo>
                  <a:lnTo>
                    <a:pt x="2206" y="664"/>
                  </a:lnTo>
                  <a:lnTo>
                    <a:pt x="2228" y="688"/>
                  </a:lnTo>
                  <a:lnTo>
                    <a:pt x="2248" y="711"/>
                  </a:lnTo>
                  <a:lnTo>
                    <a:pt x="2264" y="733"/>
                  </a:lnTo>
                  <a:lnTo>
                    <a:pt x="2279" y="755"/>
                  </a:lnTo>
                  <a:lnTo>
                    <a:pt x="2290" y="777"/>
                  </a:lnTo>
                  <a:lnTo>
                    <a:pt x="2299" y="797"/>
                  </a:lnTo>
                  <a:lnTo>
                    <a:pt x="2305" y="817"/>
                  </a:lnTo>
                  <a:lnTo>
                    <a:pt x="2308" y="835"/>
                  </a:lnTo>
                  <a:lnTo>
                    <a:pt x="2308" y="854"/>
                  </a:lnTo>
                  <a:lnTo>
                    <a:pt x="2305" y="871"/>
                  </a:lnTo>
                  <a:lnTo>
                    <a:pt x="2298" y="888"/>
                  </a:lnTo>
                  <a:lnTo>
                    <a:pt x="2293" y="906"/>
                  </a:lnTo>
                  <a:lnTo>
                    <a:pt x="2285" y="925"/>
                  </a:lnTo>
                  <a:lnTo>
                    <a:pt x="2274" y="940"/>
                  </a:lnTo>
                  <a:lnTo>
                    <a:pt x="2259" y="956"/>
                  </a:lnTo>
                  <a:lnTo>
                    <a:pt x="2243" y="969"/>
                  </a:lnTo>
                  <a:lnTo>
                    <a:pt x="2223" y="982"/>
                  </a:lnTo>
                  <a:lnTo>
                    <a:pt x="2202" y="992"/>
                  </a:lnTo>
                  <a:lnTo>
                    <a:pt x="2177" y="1001"/>
                  </a:lnTo>
                  <a:lnTo>
                    <a:pt x="2150" y="1010"/>
                  </a:lnTo>
                  <a:lnTo>
                    <a:pt x="2121" y="1016"/>
                  </a:lnTo>
                  <a:lnTo>
                    <a:pt x="2090" y="1022"/>
                  </a:lnTo>
                  <a:lnTo>
                    <a:pt x="2056" y="1026"/>
                  </a:lnTo>
                  <a:lnTo>
                    <a:pt x="2020" y="1029"/>
                  </a:lnTo>
                  <a:lnTo>
                    <a:pt x="1982" y="1031"/>
                  </a:lnTo>
                  <a:lnTo>
                    <a:pt x="1943" y="1031"/>
                  </a:lnTo>
                  <a:lnTo>
                    <a:pt x="1901" y="1031"/>
                  </a:lnTo>
                  <a:lnTo>
                    <a:pt x="1858" y="1030"/>
                  </a:lnTo>
                  <a:lnTo>
                    <a:pt x="1812" y="1027"/>
                  </a:lnTo>
                  <a:lnTo>
                    <a:pt x="1765" y="1023"/>
                  </a:lnTo>
                  <a:lnTo>
                    <a:pt x="1716" y="1019"/>
                  </a:lnTo>
                  <a:lnTo>
                    <a:pt x="1666" y="1013"/>
                  </a:lnTo>
                  <a:lnTo>
                    <a:pt x="1613" y="1005"/>
                  </a:lnTo>
                  <a:lnTo>
                    <a:pt x="1560" y="998"/>
                  </a:lnTo>
                  <a:lnTo>
                    <a:pt x="1505" y="989"/>
                  </a:lnTo>
                  <a:lnTo>
                    <a:pt x="1450" y="980"/>
                  </a:lnTo>
                  <a:lnTo>
                    <a:pt x="1392" y="969"/>
                  </a:lnTo>
                  <a:lnTo>
                    <a:pt x="1334" y="958"/>
                  </a:lnTo>
                  <a:lnTo>
                    <a:pt x="1275" y="946"/>
                  </a:lnTo>
                  <a:lnTo>
                    <a:pt x="1214" y="932"/>
                  </a:lnTo>
                  <a:lnTo>
                    <a:pt x="1152" y="918"/>
                  </a:lnTo>
                  <a:lnTo>
                    <a:pt x="1090" y="903"/>
                  </a:lnTo>
                  <a:lnTo>
                    <a:pt x="1027" y="888"/>
                  </a:lnTo>
                  <a:lnTo>
                    <a:pt x="968" y="867"/>
                  </a:lnTo>
                  <a:lnTo>
                    <a:pt x="910" y="847"/>
                  </a:lnTo>
                  <a:lnTo>
                    <a:pt x="853" y="825"/>
                  </a:lnTo>
                  <a:lnTo>
                    <a:pt x="798" y="802"/>
                  </a:lnTo>
                  <a:lnTo>
                    <a:pt x="743" y="780"/>
                  </a:lnTo>
                  <a:lnTo>
                    <a:pt x="690" y="756"/>
                  </a:lnTo>
                  <a:lnTo>
                    <a:pt x="638" y="732"/>
                  </a:lnTo>
                  <a:lnTo>
                    <a:pt x="588" y="709"/>
                  </a:lnTo>
                  <a:lnTo>
                    <a:pt x="539" y="684"/>
                  </a:lnTo>
                  <a:lnTo>
                    <a:pt x="492" y="659"/>
                  </a:lnTo>
                  <a:lnTo>
                    <a:pt x="446" y="634"/>
                  </a:lnTo>
                  <a:lnTo>
                    <a:pt x="403" y="609"/>
                  </a:lnTo>
                  <a:lnTo>
                    <a:pt x="361" y="583"/>
                  </a:lnTo>
                  <a:lnTo>
                    <a:pt x="322" y="557"/>
                  </a:lnTo>
                  <a:lnTo>
                    <a:pt x="284" y="531"/>
                  </a:lnTo>
                  <a:lnTo>
                    <a:pt x="248" y="505"/>
                  </a:lnTo>
                  <a:lnTo>
                    <a:pt x="215" y="480"/>
                  </a:lnTo>
                  <a:lnTo>
                    <a:pt x="183" y="454"/>
                  </a:lnTo>
                  <a:lnTo>
                    <a:pt x="154" y="428"/>
                  </a:lnTo>
                  <a:lnTo>
                    <a:pt x="126" y="402"/>
                  </a:lnTo>
                  <a:lnTo>
                    <a:pt x="102" y="377"/>
                  </a:lnTo>
                  <a:lnTo>
                    <a:pt x="80" y="352"/>
                  </a:lnTo>
                  <a:lnTo>
                    <a:pt x="60" y="327"/>
                  </a:lnTo>
                  <a:lnTo>
                    <a:pt x="44" y="302"/>
                  </a:lnTo>
                  <a:lnTo>
                    <a:pt x="29" y="278"/>
                  </a:lnTo>
                  <a:lnTo>
                    <a:pt x="18" y="254"/>
                  </a:lnTo>
                  <a:lnTo>
                    <a:pt x="9" y="230"/>
                  </a:lnTo>
                  <a:lnTo>
                    <a:pt x="2" y="208"/>
                  </a:lnTo>
                  <a:lnTo>
                    <a:pt x="0" y="186"/>
                  </a:lnTo>
                  <a:lnTo>
                    <a:pt x="0" y="164"/>
                  </a:lnTo>
                  <a:lnTo>
                    <a:pt x="4" y="143"/>
                  </a:lnTo>
                  <a:lnTo>
                    <a:pt x="10" y="1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3" name="Freeform 48"/>
            <p:cNvSpPr>
              <a:spLocks noChangeArrowheads="1"/>
            </p:cNvSpPr>
            <p:nvPr userDrawn="1"/>
          </p:nvSpPr>
          <p:spPr bwMode="auto">
            <a:xfrm>
              <a:off x="5905500" y="1605432"/>
              <a:ext cx="971550" cy="966721"/>
            </a:xfrm>
            <a:custGeom>
              <a:avLst/>
              <a:gdLst>
                <a:gd name="T0" fmla="*/ 96 w 2156"/>
                <a:gd name="T1" fmla="*/ 48 h 1738"/>
                <a:gd name="T2" fmla="*/ 173 w 2156"/>
                <a:gd name="T3" fmla="*/ 14 h 1738"/>
                <a:gd name="T4" fmla="*/ 264 w 2156"/>
                <a:gd name="T5" fmla="*/ 0 h 1738"/>
                <a:gd name="T6" fmla="*/ 431 w 2156"/>
                <a:gd name="T7" fmla="*/ 18 h 1738"/>
                <a:gd name="T8" fmla="*/ 599 w 2156"/>
                <a:gd name="T9" fmla="*/ 67 h 1738"/>
                <a:gd name="T10" fmla="*/ 863 w 2156"/>
                <a:gd name="T11" fmla="*/ 188 h 1738"/>
                <a:gd name="T12" fmla="*/ 1155 w 2156"/>
                <a:gd name="T13" fmla="*/ 366 h 1738"/>
                <a:gd name="T14" fmla="*/ 1353 w 2156"/>
                <a:gd name="T15" fmla="*/ 510 h 1738"/>
                <a:gd name="T16" fmla="*/ 1409 w 2156"/>
                <a:gd name="T17" fmla="*/ 557 h 1738"/>
                <a:gd name="T18" fmla="*/ 1561 w 2156"/>
                <a:gd name="T19" fmla="*/ 692 h 1738"/>
                <a:gd name="T20" fmla="*/ 1700 w 2156"/>
                <a:gd name="T21" fmla="*/ 825 h 1738"/>
                <a:gd name="T22" fmla="*/ 1900 w 2156"/>
                <a:gd name="T23" fmla="*/ 1044 h 1738"/>
                <a:gd name="T24" fmla="*/ 2024 w 2156"/>
                <a:gd name="T25" fmla="*/ 1209 h 1738"/>
                <a:gd name="T26" fmla="*/ 2109 w 2156"/>
                <a:gd name="T27" fmla="*/ 1359 h 1738"/>
                <a:gd name="T28" fmla="*/ 2152 w 2156"/>
                <a:gd name="T29" fmla="*/ 1492 h 1738"/>
                <a:gd name="T30" fmla="*/ 2149 w 2156"/>
                <a:gd name="T31" fmla="*/ 1602 h 1738"/>
                <a:gd name="T32" fmla="*/ 2129 w 2156"/>
                <a:gd name="T33" fmla="*/ 1647 h 1738"/>
                <a:gd name="T34" fmla="*/ 2074 w 2156"/>
                <a:gd name="T35" fmla="*/ 1696 h 1738"/>
                <a:gd name="T36" fmla="*/ 1994 w 2156"/>
                <a:gd name="T37" fmla="*/ 1729 h 1738"/>
                <a:gd name="T38" fmla="*/ 1895 w 2156"/>
                <a:gd name="T39" fmla="*/ 1738 h 1738"/>
                <a:gd name="T40" fmla="*/ 1779 w 2156"/>
                <a:gd name="T41" fmla="*/ 1726 h 1738"/>
                <a:gd name="T42" fmla="*/ 1538 w 2156"/>
                <a:gd name="T43" fmla="*/ 1654 h 1738"/>
                <a:gd name="T44" fmla="*/ 1264 w 2156"/>
                <a:gd name="T45" fmla="*/ 1525 h 1738"/>
                <a:gd name="T46" fmla="*/ 972 w 2156"/>
                <a:gd name="T47" fmla="*/ 1346 h 1738"/>
                <a:gd name="T48" fmla="*/ 822 w 2156"/>
                <a:gd name="T49" fmla="*/ 1238 h 1738"/>
                <a:gd name="T50" fmla="*/ 511 w 2156"/>
                <a:gd name="T51" fmla="*/ 975 h 1738"/>
                <a:gd name="T52" fmla="*/ 338 w 2156"/>
                <a:gd name="T53" fmla="*/ 801 h 1738"/>
                <a:gd name="T54" fmla="*/ 197 w 2156"/>
                <a:gd name="T55" fmla="*/ 635 h 1738"/>
                <a:gd name="T56" fmla="*/ 91 w 2156"/>
                <a:gd name="T57" fmla="*/ 484 h 1738"/>
                <a:gd name="T58" fmla="*/ 18 w 2156"/>
                <a:gd name="T59" fmla="*/ 329 h 1738"/>
                <a:gd name="T60" fmla="*/ 2 w 2156"/>
                <a:gd name="T61" fmla="*/ 195 h 1738"/>
                <a:gd name="T62" fmla="*/ 25 w 2156"/>
                <a:gd name="T63" fmla="*/ 122 h 1738"/>
                <a:gd name="T64" fmla="*/ 49 w 2156"/>
                <a:gd name="T65" fmla="*/ 91 h 1738"/>
                <a:gd name="T66" fmla="*/ 365 w 2156"/>
                <a:gd name="T67" fmla="*/ 178 h 1738"/>
                <a:gd name="T68" fmla="*/ 242 w 2156"/>
                <a:gd name="T69" fmla="*/ 171 h 1738"/>
                <a:gd name="T70" fmla="*/ 186 w 2156"/>
                <a:gd name="T71" fmla="*/ 194 h 1738"/>
                <a:gd name="T72" fmla="*/ 172 w 2156"/>
                <a:gd name="T73" fmla="*/ 211 h 1738"/>
                <a:gd name="T74" fmla="*/ 166 w 2156"/>
                <a:gd name="T75" fmla="*/ 226 h 1738"/>
                <a:gd name="T76" fmla="*/ 183 w 2156"/>
                <a:gd name="T77" fmla="*/ 291 h 1738"/>
                <a:gd name="T78" fmla="*/ 266 w 2156"/>
                <a:gd name="T79" fmla="*/ 441 h 1738"/>
                <a:gd name="T80" fmla="*/ 374 w 2156"/>
                <a:gd name="T81" fmla="*/ 583 h 1738"/>
                <a:gd name="T82" fmla="*/ 542 w 2156"/>
                <a:gd name="T83" fmla="*/ 766 h 1738"/>
                <a:gd name="T84" fmla="*/ 769 w 2156"/>
                <a:gd name="T85" fmla="*/ 976 h 1738"/>
                <a:gd name="T86" fmla="*/ 927 w 2156"/>
                <a:gd name="T87" fmla="*/ 1103 h 1738"/>
                <a:gd name="T88" fmla="*/ 1206 w 2156"/>
                <a:gd name="T89" fmla="*/ 1293 h 1738"/>
                <a:gd name="T90" fmla="*/ 1475 w 2156"/>
                <a:gd name="T91" fmla="*/ 1439 h 1738"/>
                <a:gd name="T92" fmla="*/ 1702 w 2156"/>
                <a:gd name="T93" fmla="*/ 1531 h 1738"/>
                <a:gd name="T94" fmla="*/ 1862 w 2156"/>
                <a:gd name="T95" fmla="*/ 1569 h 1738"/>
                <a:gd name="T96" fmla="*/ 1967 w 2156"/>
                <a:gd name="T97" fmla="*/ 1563 h 1738"/>
                <a:gd name="T98" fmla="*/ 1992 w 2156"/>
                <a:gd name="T99" fmla="*/ 1531 h 1738"/>
                <a:gd name="T100" fmla="*/ 1978 w 2156"/>
                <a:gd name="T101" fmla="*/ 1460 h 1738"/>
                <a:gd name="T102" fmla="*/ 1909 w 2156"/>
                <a:gd name="T103" fmla="*/ 1331 h 1738"/>
                <a:gd name="T104" fmla="*/ 1709 w 2156"/>
                <a:gd name="T105" fmla="*/ 1083 h 1738"/>
                <a:gd name="T106" fmla="*/ 1536 w 2156"/>
                <a:gd name="T107" fmla="*/ 904 h 1738"/>
                <a:gd name="T108" fmla="*/ 1398 w 2156"/>
                <a:gd name="T109" fmla="*/ 775 h 1738"/>
                <a:gd name="T110" fmla="*/ 1246 w 2156"/>
                <a:gd name="T111" fmla="*/ 643 h 1738"/>
                <a:gd name="T112" fmla="*/ 1109 w 2156"/>
                <a:gd name="T113" fmla="*/ 542 h 1738"/>
                <a:gd name="T114" fmla="*/ 831 w 2156"/>
                <a:gd name="T115" fmla="*/ 365 h 1738"/>
                <a:gd name="T116" fmla="*/ 579 w 2156"/>
                <a:gd name="T117" fmla="*/ 244 h 1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6" h="1738">
                  <a:moveTo>
                    <a:pt x="49" y="91"/>
                  </a:moveTo>
                  <a:lnTo>
                    <a:pt x="57" y="82"/>
                  </a:lnTo>
                  <a:lnTo>
                    <a:pt x="67" y="73"/>
                  </a:lnTo>
                  <a:lnTo>
                    <a:pt x="76" y="63"/>
                  </a:lnTo>
                  <a:lnTo>
                    <a:pt x="86" y="55"/>
                  </a:lnTo>
                  <a:lnTo>
                    <a:pt x="96" y="48"/>
                  </a:lnTo>
                  <a:lnTo>
                    <a:pt x="108" y="41"/>
                  </a:lnTo>
                  <a:lnTo>
                    <a:pt x="120" y="34"/>
                  </a:lnTo>
                  <a:lnTo>
                    <a:pt x="132" y="28"/>
                  </a:lnTo>
                  <a:lnTo>
                    <a:pt x="145" y="23"/>
                  </a:lnTo>
                  <a:lnTo>
                    <a:pt x="158" y="18"/>
                  </a:lnTo>
                  <a:lnTo>
                    <a:pt x="173" y="14"/>
                  </a:lnTo>
                  <a:lnTo>
                    <a:pt x="186" y="11"/>
                  </a:lnTo>
                  <a:lnTo>
                    <a:pt x="201" y="8"/>
                  </a:lnTo>
                  <a:lnTo>
                    <a:pt x="216" y="5"/>
                  </a:lnTo>
                  <a:lnTo>
                    <a:pt x="232" y="4"/>
                  </a:lnTo>
                  <a:lnTo>
                    <a:pt x="248" y="1"/>
                  </a:lnTo>
                  <a:lnTo>
                    <a:pt x="264" y="0"/>
                  </a:lnTo>
                  <a:lnTo>
                    <a:pt x="282" y="0"/>
                  </a:lnTo>
                  <a:lnTo>
                    <a:pt x="298" y="0"/>
                  </a:lnTo>
                  <a:lnTo>
                    <a:pt x="317" y="1"/>
                  </a:lnTo>
                  <a:lnTo>
                    <a:pt x="353" y="5"/>
                  </a:lnTo>
                  <a:lnTo>
                    <a:pt x="391" y="10"/>
                  </a:lnTo>
                  <a:lnTo>
                    <a:pt x="431" y="18"/>
                  </a:lnTo>
                  <a:lnTo>
                    <a:pt x="472" y="27"/>
                  </a:lnTo>
                  <a:lnTo>
                    <a:pt x="515" y="40"/>
                  </a:lnTo>
                  <a:lnTo>
                    <a:pt x="559" y="53"/>
                  </a:lnTo>
                  <a:lnTo>
                    <a:pt x="599" y="67"/>
                  </a:lnTo>
                  <a:lnTo>
                    <a:pt x="640" y="84"/>
                  </a:lnTo>
                  <a:lnTo>
                    <a:pt x="682" y="101"/>
                  </a:lnTo>
                  <a:lnTo>
                    <a:pt x="727" y="120"/>
                  </a:lnTo>
                  <a:lnTo>
                    <a:pt x="771" y="142"/>
                  </a:lnTo>
                  <a:lnTo>
                    <a:pt x="816" y="164"/>
                  </a:lnTo>
                  <a:lnTo>
                    <a:pt x="863" y="188"/>
                  </a:lnTo>
                  <a:lnTo>
                    <a:pt x="910" y="214"/>
                  </a:lnTo>
                  <a:lnTo>
                    <a:pt x="957" y="242"/>
                  </a:lnTo>
                  <a:lnTo>
                    <a:pt x="1006" y="271"/>
                  </a:lnTo>
                  <a:lnTo>
                    <a:pt x="1055" y="300"/>
                  </a:lnTo>
                  <a:lnTo>
                    <a:pt x="1105" y="332"/>
                  </a:lnTo>
                  <a:lnTo>
                    <a:pt x="1155" y="366"/>
                  </a:lnTo>
                  <a:lnTo>
                    <a:pt x="1206" y="400"/>
                  </a:lnTo>
                  <a:lnTo>
                    <a:pt x="1256" y="437"/>
                  </a:lnTo>
                  <a:lnTo>
                    <a:pt x="1308" y="475"/>
                  </a:lnTo>
                  <a:lnTo>
                    <a:pt x="1311" y="478"/>
                  </a:lnTo>
                  <a:lnTo>
                    <a:pt x="1350" y="507"/>
                  </a:lnTo>
                  <a:lnTo>
                    <a:pt x="1353" y="510"/>
                  </a:lnTo>
                  <a:lnTo>
                    <a:pt x="1355" y="512"/>
                  </a:lnTo>
                  <a:lnTo>
                    <a:pt x="1356" y="512"/>
                  </a:lnTo>
                  <a:lnTo>
                    <a:pt x="1382" y="534"/>
                  </a:lnTo>
                  <a:lnTo>
                    <a:pt x="1409" y="557"/>
                  </a:lnTo>
                  <a:lnTo>
                    <a:pt x="1434" y="580"/>
                  </a:lnTo>
                  <a:lnTo>
                    <a:pt x="1461" y="601"/>
                  </a:lnTo>
                  <a:lnTo>
                    <a:pt x="1486" y="624"/>
                  </a:lnTo>
                  <a:lnTo>
                    <a:pt x="1512" y="647"/>
                  </a:lnTo>
                  <a:lnTo>
                    <a:pt x="1536" y="669"/>
                  </a:lnTo>
                  <a:lnTo>
                    <a:pt x="1561" y="692"/>
                  </a:lnTo>
                  <a:lnTo>
                    <a:pt x="1585" y="715"/>
                  </a:lnTo>
                  <a:lnTo>
                    <a:pt x="1608" y="736"/>
                  </a:lnTo>
                  <a:lnTo>
                    <a:pt x="1632" y="759"/>
                  </a:lnTo>
                  <a:lnTo>
                    <a:pt x="1655" y="781"/>
                  </a:lnTo>
                  <a:lnTo>
                    <a:pt x="1677" y="803"/>
                  </a:lnTo>
                  <a:lnTo>
                    <a:pt x="1700" y="825"/>
                  </a:lnTo>
                  <a:lnTo>
                    <a:pt x="1722" y="847"/>
                  </a:lnTo>
                  <a:lnTo>
                    <a:pt x="1743" y="868"/>
                  </a:lnTo>
                  <a:lnTo>
                    <a:pt x="1799" y="928"/>
                  </a:lnTo>
                  <a:lnTo>
                    <a:pt x="1852" y="986"/>
                  </a:lnTo>
                  <a:lnTo>
                    <a:pt x="1876" y="1015"/>
                  </a:lnTo>
                  <a:lnTo>
                    <a:pt x="1900" y="1044"/>
                  </a:lnTo>
                  <a:lnTo>
                    <a:pt x="1923" y="1071"/>
                  </a:lnTo>
                  <a:lnTo>
                    <a:pt x="1945" y="1099"/>
                  </a:lnTo>
                  <a:lnTo>
                    <a:pt x="1966" y="1127"/>
                  </a:lnTo>
                  <a:lnTo>
                    <a:pt x="1986" y="1155"/>
                  </a:lnTo>
                  <a:lnTo>
                    <a:pt x="2005" y="1182"/>
                  </a:lnTo>
                  <a:lnTo>
                    <a:pt x="2024" y="1209"/>
                  </a:lnTo>
                  <a:lnTo>
                    <a:pt x="2040" y="1234"/>
                  </a:lnTo>
                  <a:lnTo>
                    <a:pt x="2056" y="1260"/>
                  </a:lnTo>
                  <a:lnTo>
                    <a:pt x="2071" y="1286"/>
                  </a:lnTo>
                  <a:lnTo>
                    <a:pt x="2085" y="1311"/>
                  </a:lnTo>
                  <a:lnTo>
                    <a:pt x="2098" y="1335"/>
                  </a:lnTo>
                  <a:lnTo>
                    <a:pt x="2109" y="1359"/>
                  </a:lnTo>
                  <a:lnTo>
                    <a:pt x="2119" y="1383"/>
                  </a:lnTo>
                  <a:lnTo>
                    <a:pt x="2128" y="1405"/>
                  </a:lnTo>
                  <a:lnTo>
                    <a:pt x="2136" y="1428"/>
                  </a:lnTo>
                  <a:lnTo>
                    <a:pt x="2142" y="1450"/>
                  </a:lnTo>
                  <a:lnTo>
                    <a:pt x="2148" y="1471"/>
                  </a:lnTo>
                  <a:lnTo>
                    <a:pt x="2152" y="1492"/>
                  </a:lnTo>
                  <a:lnTo>
                    <a:pt x="2154" y="1512"/>
                  </a:lnTo>
                  <a:lnTo>
                    <a:pt x="2156" y="1531"/>
                  </a:lnTo>
                  <a:lnTo>
                    <a:pt x="2156" y="1550"/>
                  </a:lnTo>
                  <a:lnTo>
                    <a:pt x="2155" y="1568"/>
                  </a:lnTo>
                  <a:lnTo>
                    <a:pt x="2152" y="1586"/>
                  </a:lnTo>
                  <a:lnTo>
                    <a:pt x="2149" y="1602"/>
                  </a:lnTo>
                  <a:lnTo>
                    <a:pt x="2144" y="1618"/>
                  </a:lnTo>
                  <a:lnTo>
                    <a:pt x="2137" y="1633"/>
                  </a:lnTo>
                  <a:lnTo>
                    <a:pt x="2133" y="1640"/>
                  </a:lnTo>
                  <a:lnTo>
                    <a:pt x="2129" y="1647"/>
                  </a:lnTo>
                  <a:lnTo>
                    <a:pt x="2125" y="1652"/>
                  </a:lnTo>
                  <a:lnTo>
                    <a:pt x="2116" y="1662"/>
                  </a:lnTo>
                  <a:lnTo>
                    <a:pt x="2107" y="1671"/>
                  </a:lnTo>
                  <a:lnTo>
                    <a:pt x="2097" y="1681"/>
                  </a:lnTo>
                  <a:lnTo>
                    <a:pt x="2085" y="1689"/>
                  </a:lnTo>
                  <a:lnTo>
                    <a:pt x="2074" y="1696"/>
                  </a:lnTo>
                  <a:lnTo>
                    <a:pt x="2063" y="1703"/>
                  </a:lnTo>
                  <a:lnTo>
                    <a:pt x="2049" y="1710"/>
                  </a:lnTo>
                  <a:lnTo>
                    <a:pt x="2037" y="1716"/>
                  </a:lnTo>
                  <a:lnTo>
                    <a:pt x="2022" y="1721"/>
                  </a:lnTo>
                  <a:lnTo>
                    <a:pt x="2009" y="1725"/>
                  </a:lnTo>
                  <a:lnTo>
                    <a:pt x="1994" y="1729"/>
                  </a:lnTo>
                  <a:lnTo>
                    <a:pt x="1978" y="1732"/>
                  </a:lnTo>
                  <a:lnTo>
                    <a:pt x="1963" y="1734"/>
                  </a:lnTo>
                  <a:lnTo>
                    <a:pt x="1946" y="1736"/>
                  </a:lnTo>
                  <a:lnTo>
                    <a:pt x="1930" y="1737"/>
                  </a:lnTo>
                  <a:lnTo>
                    <a:pt x="1912" y="1738"/>
                  </a:lnTo>
                  <a:lnTo>
                    <a:pt x="1895" y="1738"/>
                  </a:lnTo>
                  <a:lnTo>
                    <a:pt x="1876" y="1737"/>
                  </a:lnTo>
                  <a:lnTo>
                    <a:pt x="1858" y="1736"/>
                  </a:lnTo>
                  <a:lnTo>
                    <a:pt x="1839" y="1734"/>
                  </a:lnTo>
                  <a:lnTo>
                    <a:pt x="1820" y="1732"/>
                  </a:lnTo>
                  <a:lnTo>
                    <a:pt x="1800" y="1729"/>
                  </a:lnTo>
                  <a:lnTo>
                    <a:pt x="1779" y="1726"/>
                  </a:lnTo>
                  <a:lnTo>
                    <a:pt x="1759" y="1722"/>
                  </a:lnTo>
                  <a:lnTo>
                    <a:pt x="1717" y="1713"/>
                  </a:lnTo>
                  <a:lnTo>
                    <a:pt x="1672" y="1700"/>
                  </a:lnTo>
                  <a:lnTo>
                    <a:pt x="1627" y="1687"/>
                  </a:lnTo>
                  <a:lnTo>
                    <a:pt x="1582" y="1670"/>
                  </a:lnTo>
                  <a:lnTo>
                    <a:pt x="1538" y="1654"/>
                  </a:lnTo>
                  <a:lnTo>
                    <a:pt x="1495" y="1636"/>
                  </a:lnTo>
                  <a:lnTo>
                    <a:pt x="1451" y="1617"/>
                  </a:lnTo>
                  <a:lnTo>
                    <a:pt x="1406" y="1596"/>
                  </a:lnTo>
                  <a:lnTo>
                    <a:pt x="1359" y="1573"/>
                  </a:lnTo>
                  <a:lnTo>
                    <a:pt x="1312" y="1550"/>
                  </a:lnTo>
                  <a:lnTo>
                    <a:pt x="1264" y="1525"/>
                  </a:lnTo>
                  <a:lnTo>
                    <a:pt x="1217" y="1498"/>
                  </a:lnTo>
                  <a:lnTo>
                    <a:pt x="1169" y="1469"/>
                  </a:lnTo>
                  <a:lnTo>
                    <a:pt x="1119" y="1441"/>
                  </a:lnTo>
                  <a:lnTo>
                    <a:pt x="1071" y="1410"/>
                  </a:lnTo>
                  <a:lnTo>
                    <a:pt x="1021" y="1379"/>
                  </a:lnTo>
                  <a:lnTo>
                    <a:pt x="972" y="1346"/>
                  </a:lnTo>
                  <a:lnTo>
                    <a:pt x="922" y="1312"/>
                  </a:lnTo>
                  <a:lnTo>
                    <a:pt x="874" y="1277"/>
                  </a:lnTo>
                  <a:lnTo>
                    <a:pt x="825" y="1241"/>
                  </a:lnTo>
                  <a:lnTo>
                    <a:pt x="823" y="1238"/>
                  </a:lnTo>
                  <a:lnTo>
                    <a:pt x="822" y="1237"/>
                  </a:lnTo>
                  <a:lnTo>
                    <a:pt x="822" y="1238"/>
                  </a:lnTo>
                  <a:lnTo>
                    <a:pt x="766" y="1194"/>
                  </a:lnTo>
                  <a:lnTo>
                    <a:pt x="712" y="1151"/>
                  </a:lnTo>
                  <a:lnTo>
                    <a:pt x="660" y="1107"/>
                  </a:lnTo>
                  <a:lnTo>
                    <a:pt x="608" y="1062"/>
                  </a:lnTo>
                  <a:lnTo>
                    <a:pt x="559" y="1019"/>
                  </a:lnTo>
                  <a:lnTo>
                    <a:pt x="511" y="975"/>
                  </a:lnTo>
                  <a:lnTo>
                    <a:pt x="466" y="931"/>
                  </a:lnTo>
                  <a:lnTo>
                    <a:pt x="422" y="888"/>
                  </a:lnTo>
                  <a:lnTo>
                    <a:pt x="393" y="859"/>
                  </a:lnTo>
                  <a:lnTo>
                    <a:pt x="365" y="830"/>
                  </a:lnTo>
                  <a:lnTo>
                    <a:pt x="338" y="801"/>
                  </a:lnTo>
                  <a:lnTo>
                    <a:pt x="313" y="774"/>
                  </a:lnTo>
                  <a:lnTo>
                    <a:pt x="288" y="746"/>
                  </a:lnTo>
                  <a:lnTo>
                    <a:pt x="263" y="718"/>
                  </a:lnTo>
                  <a:lnTo>
                    <a:pt x="241" y="690"/>
                  </a:lnTo>
                  <a:lnTo>
                    <a:pt x="218" y="662"/>
                  </a:lnTo>
                  <a:lnTo>
                    <a:pt x="197" y="635"/>
                  </a:lnTo>
                  <a:lnTo>
                    <a:pt x="177" y="610"/>
                  </a:lnTo>
                  <a:lnTo>
                    <a:pt x="158" y="584"/>
                  </a:lnTo>
                  <a:lnTo>
                    <a:pt x="140" y="558"/>
                  </a:lnTo>
                  <a:lnTo>
                    <a:pt x="122" y="533"/>
                  </a:lnTo>
                  <a:lnTo>
                    <a:pt x="107" y="509"/>
                  </a:lnTo>
                  <a:lnTo>
                    <a:pt x="91" y="484"/>
                  </a:lnTo>
                  <a:lnTo>
                    <a:pt x="78" y="460"/>
                  </a:lnTo>
                  <a:lnTo>
                    <a:pt x="62" y="433"/>
                  </a:lnTo>
                  <a:lnTo>
                    <a:pt x="49" y="407"/>
                  </a:lnTo>
                  <a:lnTo>
                    <a:pt x="38" y="380"/>
                  </a:lnTo>
                  <a:lnTo>
                    <a:pt x="27" y="354"/>
                  </a:lnTo>
                  <a:lnTo>
                    <a:pt x="18" y="329"/>
                  </a:lnTo>
                  <a:lnTo>
                    <a:pt x="11" y="305"/>
                  </a:lnTo>
                  <a:lnTo>
                    <a:pt x="6" y="281"/>
                  </a:lnTo>
                  <a:lnTo>
                    <a:pt x="3" y="258"/>
                  </a:lnTo>
                  <a:lnTo>
                    <a:pt x="1" y="236"/>
                  </a:lnTo>
                  <a:lnTo>
                    <a:pt x="0" y="215"/>
                  </a:lnTo>
                  <a:lnTo>
                    <a:pt x="2" y="195"/>
                  </a:lnTo>
                  <a:lnTo>
                    <a:pt x="5" y="175"/>
                  </a:lnTo>
                  <a:lnTo>
                    <a:pt x="7" y="165"/>
                  </a:lnTo>
                  <a:lnTo>
                    <a:pt x="10" y="157"/>
                  </a:lnTo>
                  <a:lnTo>
                    <a:pt x="13" y="148"/>
                  </a:lnTo>
                  <a:lnTo>
                    <a:pt x="17" y="139"/>
                  </a:lnTo>
                  <a:lnTo>
                    <a:pt x="25" y="122"/>
                  </a:lnTo>
                  <a:lnTo>
                    <a:pt x="36" y="107"/>
                  </a:lnTo>
                  <a:lnTo>
                    <a:pt x="37" y="106"/>
                  </a:lnTo>
                  <a:lnTo>
                    <a:pt x="37" y="105"/>
                  </a:lnTo>
                  <a:lnTo>
                    <a:pt x="43" y="98"/>
                  </a:lnTo>
                  <a:lnTo>
                    <a:pt x="49" y="91"/>
                  </a:lnTo>
                  <a:close/>
                  <a:moveTo>
                    <a:pt x="504" y="215"/>
                  </a:moveTo>
                  <a:lnTo>
                    <a:pt x="473" y="206"/>
                  </a:lnTo>
                  <a:lnTo>
                    <a:pt x="445" y="197"/>
                  </a:lnTo>
                  <a:lnTo>
                    <a:pt x="417" y="189"/>
                  </a:lnTo>
                  <a:lnTo>
                    <a:pt x="390" y="183"/>
                  </a:lnTo>
                  <a:lnTo>
                    <a:pt x="365" y="178"/>
                  </a:lnTo>
                  <a:lnTo>
                    <a:pt x="340" y="174"/>
                  </a:lnTo>
                  <a:lnTo>
                    <a:pt x="318" y="171"/>
                  </a:lnTo>
                  <a:lnTo>
                    <a:pt x="297" y="168"/>
                  </a:lnTo>
                  <a:lnTo>
                    <a:pt x="277" y="168"/>
                  </a:lnTo>
                  <a:lnTo>
                    <a:pt x="259" y="168"/>
                  </a:lnTo>
                  <a:lnTo>
                    <a:pt x="242" y="171"/>
                  </a:lnTo>
                  <a:lnTo>
                    <a:pt x="227" y="174"/>
                  </a:lnTo>
                  <a:lnTo>
                    <a:pt x="213" y="178"/>
                  </a:lnTo>
                  <a:lnTo>
                    <a:pt x="201" y="183"/>
                  </a:lnTo>
                  <a:lnTo>
                    <a:pt x="195" y="186"/>
                  </a:lnTo>
                  <a:lnTo>
                    <a:pt x="191" y="190"/>
                  </a:lnTo>
                  <a:lnTo>
                    <a:pt x="186" y="194"/>
                  </a:lnTo>
                  <a:lnTo>
                    <a:pt x="183" y="198"/>
                  </a:lnTo>
                  <a:lnTo>
                    <a:pt x="178" y="205"/>
                  </a:lnTo>
                  <a:lnTo>
                    <a:pt x="172" y="211"/>
                  </a:lnTo>
                  <a:lnTo>
                    <a:pt x="173" y="210"/>
                  </a:lnTo>
                  <a:lnTo>
                    <a:pt x="172" y="211"/>
                  </a:lnTo>
                  <a:lnTo>
                    <a:pt x="170" y="215"/>
                  </a:lnTo>
                  <a:lnTo>
                    <a:pt x="167" y="220"/>
                  </a:lnTo>
                  <a:lnTo>
                    <a:pt x="166" y="226"/>
                  </a:lnTo>
                  <a:lnTo>
                    <a:pt x="166" y="232"/>
                  </a:lnTo>
                  <a:lnTo>
                    <a:pt x="167" y="241"/>
                  </a:lnTo>
                  <a:lnTo>
                    <a:pt x="170" y="249"/>
                  </a:lnTo>
                  <a:lnTo>
                    <a:pt x="172" y="258"/>
                  </a:lnTo>
                  <a:lnTo>
                    <a:pt x="175" y="268"/>
                  </a:lnTo>
                  <a:lnTo>
                    <a:pt x="183" y="291"/>
                  </a:lnTo>
                  <a:lnTo>
                    <a:pt x="195" y="316"/>
                  </a:lnTo>
                  <a:lnTo>
                    <a:pt x="210" y="345"/>
                  </a:lnTo>
                  <a:lnTo>
                    <a:pt x="226" y="376"/>
                  </a:lnTo>
                  <a:lnTo>
                    <a:pt x="239" y="396"/>
                  </a:lnTo>
                  <a:lnTo>
                    <a:pt x="252" y="418"/>
                  </a:lnTo>
                  <a:lnTo>
                    <a:pt x="266" y="441"/>
                  </a:lnTo>
                  <a:lnTo>
                    <a:pt x="282" y="463"/>
                  </a:lnTo>
                  <a:lnTo>
                    <a:pt x="298" y="486"/>
                  </a:lnTo>
                  <a:lnTo>
                    <a:pt x="316" y="510"/>
                  </a:lnTo>
                  <a:lnTo>
                    <a:pt x="334" y="533"/>
                  </a:lnTo>
                  <a:lnTo>
                    <a:pt x="354" y="558"/>
                  </a:lnTo>
                  <a:lnTo>
                    <a:pt x="374" y="583"/>
                  </a:lnTo>
                  <a:lnTo>
                    <a:pt x="396" y="609"/>
                  </a:lnTo>
                  <a:lnTo>
                    <a:pt x="418" y="634"/>
                  </a:lnTo>
                  <a:lnTo>
                    <a:pt x="441" y="660"/>
                  </a:lnTo>
                  <a:lnTo>
                    <a:pt x="490" y="713"/>
                  </a:lnTo>
                  <a:lnTo>
                    <a:pt x="542" y="766"/>
                  </a:lnTo>
                  <a:lnTo>
                    <a:pt x="542" y="767"/>
                  </a:lnTo>
                  <a:lnTo>
                    <a:pt x="585" y="808"/>
                  </a:lnTo>
                  <a:lnTo>
                    <a:pt x="628" y="850"/>
                  </a:lnTo>
                  <a:lnTo>
                    <a:pt x="673" y="891"/>
                  </a:lnTo>
                  <a:lnTo>
                    <a:pt x="721" y="933"/>
                  </a:lnTo>
                  <a:lnTo>
                    <a:pt x="769" y="976"/>
                  </a:lnTo>
                  <a:lnTo>
                    <a:pt x="818" y="1017"/>
                  </a:lnTo>
                  <a:lnTo>
                    <a:pt x="870" y="1059"/>
                  </a:lnTo>
                  <a:lnTo>
                    <a:pt x="923" y="1100"/>
                  </a:lnTo>
                  <a:lnTo>
                    <a:pt x="927" y="1102"/>
                  </a:lnTo>
                  <a:lnTo>
                    <a:pt x="927" y="1103"/>
                  </a:lnTo>
                  <a:lnTo>
                    <a:pt x="973" y="1137"/>
                  </a:lnTo>
                  <a:lnTo>
                    <a:pt x="1020" y="1170"/>
                  </a:lnTo>
                  <a:lnTo>
                    <a:pt x="1067" y="1203"/>
                  </a:lnTo>
                  <a:lnTo>
                    <a:pt x="1113" y="1234"/>
                  </a:lnTo>
                  <a:lnTo>
                    <a:pt x="1159" y="1264"/>
                  </a:lnTo>
                  <a:lnTo>
                    <a:pt x="1206" y="1293"/>
                  </a:lnTo>
                  <a:lnTo>
                    <a:pt x="1252" y="1321"/>
                  </a:lnTo>
                  <a:lnTo>
                    <a:pt x="1297" y="1347"/>
                  </a:lnTo>
                  <a:lnTo>
                    <a:pt x="1343" y="1372"/>
                  </a:lnTo>
                  <a:lnTo>
                    <a:pt x="1387" y="1396"/>
                  </a:lnTo>
                  <a:lnTo>
                    <a:pt x="1431" y="1419"/>
                  </a:lnTo>
                  <a:lnTo>
                    <a:pt x="1475" y="1439"/>
                  </a:lnTo>
                  <a:lnTo>
                    <a:pt x="1517" y="1459"/>
                  </a:lnTo>
                  <a:lnTo>
                    <a:pt x="1559" y="1478"/>
                  </a:lnTo>
                  <a:lnTo>
                    <a:pt x="1600" y="1494"/>
                  </a:lnTo>
                  <a:lnTo>
                    <a:pt x="1639" y="1510"/>
                  </a:lnTo>
                  <a:lnTo>
                    <a:pt x="1671" y="1521"/>
                  </a:lnTo>
                  <a:lnTo>
                    <a:pt x="1702" y="1531"/>
                  </a:lnTo>
                  <a:lnTo>
                    <a:pt x="1732" y="1541"/>
                  </a:lnTo>
                  <a:lnTo>
                    <a:pt x="1761" y="1549"/>
                  </a:lnTo>
                  <a:lnTo>
                    <a:pt x="1789" y="1556"/>
                  </a:lnTo>
                  <a:lnTo>
                    <a:pt x="1814" y="1561"/>
                  </a:lnTo>
                  <a:lnTo>
                    <a:pt x="1839" y="1566"/>
                  </a:lnTo>
                  <a:lnTo>
                    <a:pt x="1862" y="1569"/>
                  </a:lnTo>
                  <a:lnTo>
                    <a:pt x="1883" y="1571"/>
                  </a:lnTo>
                  <a:lnTo>
                    <a:pt x="1904" y="1572"/>
                  </a:lnTo>
                  <a:lnTo>
                    <a:pt x="1923" y="1572"/>
                  </a:lnTo>
                  <a:lnTo>
                    <a:pt x="1939" y="1570"/>
                  </a:lnTo>
                  <a:lnTo>
                    <a:pt x="1955" y="1567"/>
                  </a:lnTo>
                  <a:lnTo>
                    <a:pt x="1967" y="1563"/>
                  </a:lnTo>
                  <a:lnTo>
                    <a:pt x="1973" y="1560"/>
                  </a:lnTo>
                  <a:lnTo>
                    <a:pt x="1978" y="1557"/>
                  </a:lnTo>
                  <a:lnTo>
                    <a:pt x="1983" y="1554"/>
                  </a:lnTo>
                  <a:lnTo>
                    <a:pt x="1987" y="1550"/>
                  </a:lnTo>
                  <a:lnTo>
                    <a:pt x="1990" y="1541"/>
                  </a:lnTo>
                  <a:lnTo>
                    <a:pt x="1992" y="1531"/>
                  </a:lnTo>
                  <a:lnTo>
                    <a:pt x="1992" y="1521"/>
                  </a:lnTo>
                  <a:lnTo>
                    <a:pt x="1992" y="1511"/>
                  </a:lnTo>
                  <a:lnTo>
                    <a:pt x="1990" y="1499"/>
                  </a:lnTo>
                  <a:lnTo>
                    <a:pt x="1986" y="1487"/>
                  </a:lnTo>
                  <a:lnTo>
                    <a:pt x="1983" y="1473"/>
                  </a:lnTo>
                  <a:lnTo>
                    <a:pt x="1978" y="1460"/>
                  </a:lnTo>
                  <a:lnTo>
                    <a:pt x="1973" y="1446"/>
                  </a:lnTo>
                  <a:lnTo>
                    <a:pt x="1967" y="1431"/>
                  </a:lnTo>
                  <a:lnTo>
                    <a:pt x="1960" y="1417"/>
                  </a:lnTo>
                  <a:lnTo>
                    <a:pt x="1951" y="1400"/>
                  </a:lnTo>
                  <a:lnTo>
                    <a:pt x="1932" y="1367"/>
                  </a:lnTo>
                  <a:lnTo>
                    <a:pt x="1909" y="1331"/>
                  </a:lnTo>
                  <a:lnTo>
                    <a:pt x="1883" y="1294"/>
                  </a:lnTo>
                  <a:lnTo>
                    <a:pt x="1855" y="1255"/>
                  </a:lnTo>
                  <a:lnTo>
                    <a:pt x="1823" y="1215"/>
                  </a:lnTo>
                  <a:lnTo>
                    <a:pt x="1788" y="1171"/>
                  </a:lnTo>
                  <a:lnTo>
                    <a:pt x="1750" y="1128"/>
                  </a:lnTo>
                  <a:lnTo>
                    <a:pt x="1709" y="1083"/>
                  </a:lnTo>
                  <a:lnTo>
                    <a:pt x="1666" y="1036"/>
                  </a:lnTo>
                  <a:lnTo>
                    <a:pt x="1621" y="988"/>
                  </a:lnTo>
                  <a:lnTo>
                    <a:pt x="1600" y="967"/>
                  </a:lnTo>
                  <a:lnTo>
                    <a:pt x="1580" y="947"/>
                  </a:lnTo>
                  <a:lnTo>
                    <a:pt x="1558" y="926"/>
                  </a:lnTo>
                  <a:lnTo>
                    <a:pt x="1536" y="904"/>
                  </a:lnTo>
                  <a:lnTo>
                    <a:pt x="1515" y="883"/>
                  </a:lnTo>
                  <a:lnTo>
                    <a:pt x="1492" y="861"/>
                  </a:lnTo>
                  <a:lnTo>
                    <a:pt x="1468" y="840"/>
                  </a:lnTo>
                  <a:lnTo>
                    <a:pt x="1446" y="818"/>
                  </a:lnTo>
                  <a:lnTo>
                    <a:pt x="1422" y="796"/>
                  </a:lnTo>
                  <a:lnTo>
                    <a:pt x="1398" y="775"/>
                  </a:lnTo>
                  <a:lnTo>
                    <a:pt x="1374" y="753"/>
                  </a:lnTo>
                  <a:lnTo>
                    <a:pt x="1349" y="731"/>
                  </a:lnTo>
                  <a:lnTo>
                    <a:pt x="1324" y="710"/>
                  </a:lnTo>
                  <a:lnTo>
                    <a:pt x="1298" y="687"/>
                  </a:lnTo>
                  <a:lnTo>
                    <a:pt x="1273" y="665"/>
                  </a:lnTo>
                  <a:lnTo>
                    <a:pt x="1246" y="643"/>
                  </a:lnTo>
                  <a:lnTo>
                    <a:pt x="1244" y="641"/>
                  </a:lnTo>
                  <a:lnTo>
                    <a:pt x="1209" y="614"/>
                  </a:lnTo>
                  <a:lnTo>
                    <a:pt x="1206" y="612"/>
                  </a:lnTo>
                  <a:lnTo>
                    <a:pt x="1157" y="577"/>
                  </a:lnTo>
                  <a:lnTo>
                    <a:pt x="1109" y="542"/>
                  </a:lnTo>
                  <a:lnTo>
                    <a:pt x="1061" y="509"/>
                  </a:lnTo>
                  <a:lnTo>
                    <a:pt x="1014" y="478"/>
                  </a:lnTo>
                  <a:lnTo>
                    <a:pt x="967" y="447"/>
                  </a:lnTo>
                  <a:lnTo>
                    <a:pt x="921" y="419"/>
                  </a:lnTo>
                  <a:lnTo>
                    <a:pt x="876" y="391"/>
                  </a:lnTo>
                  <a:lnTo>
                    <a:pt x="831" y="365"/>
                  </a:lnTo>
                  <a:lnTo>
                    <a:pt x="786" y="342"/>
                  </a:lnTo>
                  <a:lnTo>
                    <a:pt x="743" y="319"/>
                  </a:lnTo>
                  <a:lnTo>
                    <a:pt x="701" y="297"/>
                  </a:lnTo>
                  <a:lnTo>
                    <a:pt x="660" y="278"/>
                  </a:lnTo>
                  <a:lnTo>
                    <a:pt x="619" y="260"/>
                  </a:lnTo>
                  <a:lnTo>
                    <a:pt x="579" y="244"/>
                  </a:lnTo>
                  <a:lnTo>
                    <a:pt x="541" y="228"/>
                  </a:lnTo>
                  <a:lnTo>
                    <a:pt x="504" y="216"/>
                  </a:lnTo>
                  <a:lnTo>
                    <a:pt x="504" y="2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4" name="Freeform 49"/>
            <p:cNvSpPr>
              <a:spLocks noChangeArrowheads="1"/>
            </p:cNvSpPr>
            <p:nvPr userDrawn="1"/>
          </p:nvSpPr>
          <p:spPr bwMode="auto">
            <a:xfrm>
              <a:off x="5942013" y="1650188"/>
              <a:ext cx="892175" cy="870049"/>
            </a:xfrm>
            <a:custGeom>
              <a:avLst/>
              <a:gdLst>
                <a:gd name="T0" fmla="*/ 55 w 1988"/>
                <a:gd name="T1" fmla="*/ 37 h 1569"/>
                <a:gd name="T2" fmla="*/ 112 w 1988"/>
                <a:gd name="T3" fmla="*/ 10 h 1569"/>
                <a:gd name="T4" fmla="*/ 188 w 1988"/>
                <a:gd name="T5" fmla="*/ 0 h 1569"/>
                <a:gd name="T6" fmla="*/ 278 w 1988"/>
                <a:gd name="T7" fmla="*/ 7 h 1569"/>
                <a:gd name="T8" fmla="*/ 383 w 1988"/>
                <a:gd name="T9" fmla="*/ 30 h 1569"/>
                <a:gd name="T10" fmla="*/ 501 w 1988"/>
                <a:gd name="T11" fmla="*/ 69 h 1569"/>
                <a:gd name="T12" fmla="*/ 628 w 1988"/>
                <a:gd name="T13" fmla="*/ 124 h 1569"/>
                <a:gd name="T14" fmla="*/ 765 w 1988"/>
                <a:gd name="T15" fmla="*/ 194 h 1569"/>
                <a:gd name="T16" fmla="*/ 910 w 1988"/>
                <a:gd name="T17" fmla="*/ 278 h 1569"/>
                <a:gd name="T18" fmla="*/ 1059 w 1988"/>
                <a:gd name="T19" fmla="*/ 377 h 1569"/>
                <a:gd name="T20" fmla="*/ 1213 w 1988"/>
                <a:gd name="T21" fmla="*/ 490 h 1569"/>
                <a:gd name="T22" fmla="*/ 1351 w 1988"/>
                <a:gd name="T23" fmla="*/ 609 h 1569"/>
                <a:gd name="T24" fmla="*/ 1479 w 1988"/>
                <a:gd name="T25" fmla="*/ 728 h 1569"/>
                <a:gd name="T26" fmla="*/ 1596 w 1988"/>
                <a:gd name="T27" fmla="*/ 843 h 1569"/>
                <a:gd name="T28" fmla="*/ 1700 w 1988"/>
                <a:gd name="T29" fmla="*/ 955 h 1569"/>
                <a:gd name="T30" fmla="*/ 1790 w 1988"/>
                <a:gd name="T31" fmla="*/ 1062 h 1569"/>
                <a:gd name="T32" fmla="*/ 1864 w 1988"/>
                <a:gd name="T33" fmla="*/ 1162 h 1569"/>
                <a:gd name="T34" fmla="*/ 1923 w 1988"/>
                <a:gd name="T35" fmla="*/ 1254 h 1569"/>
                <a:gd name="T36" fmla="*/ 1964 w 1988"/>
                <a:gd name="T37" fmla="*/ 1339 h 1569"/>
                <a:gd name="T38" fmla="*/ 1985 w 1988"/>
                <a:gd name="T39" fmla="*/ 1413 h 1569"/>
                <a:gd name="T40" fmla="*/ 1987 w 1988"/>
                <a:gd name="T41" fmla="*/ 1475 h 1569"/>
                <a:gd name="T42" fmla="*/ 1962 w 1988"/>
                <a:gd name="T43" fmla="*/ 1526 h 1569"/>
                <a:gd name="T44" fmla="*/ 1909 w 1988"/>
                <a:gd name="T45" fmla="*/ 1557 h 1569"/>
                <a:gd name="T46" fmla="*/ 1837 w 1988"/>
                <a:gd name="T47" fmla="*/ 1569 h 1569"/>
                <a:gd name="T48" fmla="*/ 1747 w 1988"/>
                <a:gd name="T49" fmla="*/ 1564 h 1569"/>
                <a:gd name="T50" fmla="*/ 1642 w 1988"/>
                <a:gd name="T51" fmla="*/ 1542 h 1569"/>
                <a:gd name="T52" fmla="*/ 1525 w 1988"/>
                <a:gd name="T53" fmla="*/ 1505 h 1569"/>
                <a:gd name="T54" fmla="*/ 1399 w 1988"/>
                <a:gd name="T55" fmla="*/ 1453 h 1569"/>
                <a:gd name="T56" fmla="*/ 1264 w 1988"/>
                <a:gd name="T57" fmla="*/ 1387 h 1569"/>
                <a:gd name="T58" fmla="*/ 1124 w 1988"/>
                <a:gd name="T59" fmla="*/ 1310 h 1569"/>
                <a:gd name="T60" fmla="*/ 981 w 1988"/>
                <a:gd name="T61" fmla="*/ 1220 h 1569"/>
                <a:gd name="T62" fmla="*/ 836 w 1988"/>
                <a:gd name="T63" fmla="*/ 1120 h 1569"/>
                <a:gd name="T64" fmla="*/ 688 w 1988"/>
                <a:gd name="T65" fmla="*/ 1005 h 1569"/>
                <a:gd name="T66" fmla="*/ 547 w 1988"/>
                <a:gd name="T67" fmla="*/ 884 h 1569"/>
                <a:gd name="T68" fmla="*/ 419 w 1988"/>
                <a:gd name="T69" fmla="*/ 765 h 1569"/>
                <a:gd name="T70" fmla="*/ 306 w 1988"/>
                <a:gd name="T71" fmla="*/ 647 h 1569"/>
                <a:gd name="T72" fmla="*/ 209 w 1988"/>
                <a:gd name="T73" fmla="*/ 535 h 1569"/>
                <a:gd name="T74" fmla="*/ 128 w 1988"/>
                <a:gd name="T75" fmla="*/ 429 h 1569"/>
                <a:gd name="T76" fmla="*/ 66 w 1988"/>
                <a:gd name="T77" fmla="*/ 332 h 1569"/>
                <a:gd name="T78" fmla="*/ 24 w 1988"/>
                <a:gd name="T79" fmla="*/ 245 h 1569"/>
                <a:gd name="T80" fmla="*/ 2 w 1988"/>
                <a:gd name="T81" fmla="*/ 170 h 1569"/>
                <a:gd name="T82" fmla="*/ 2 w 1988"/>
                <a:gd name="T83" fmla="*/ 109 h 1569"/>
                <a:gd name="T84" fmla="*/ 26 w 1988"/>
                <a:gd name="T85" fmla="*/ 65 h 1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88" h="1569">
                  <a:moveTo>
                    <a:pt x="26" y="65"/>
                  </a:moveTo>
                  <a:lnTo>
                    <a:pt x="39" y="50"/>
                  </a:lnTo>
                  <a:lnTo>
                    <a:pt x="55" y="37"/>
                  </a:lnTo>
                  <a:lnTo>
                    <a:pt x="71" y="26"/>
                  </a:lnTo>
                  <a:lnTo>
                    <a:pt x="91" y="16"/>
                  </a:lnTo>
                  <a:lnTo>
                    <a:pt x="112" y="10"/>
                  </a:lnTo>
                  <a:lnTo>
                    <a:pt x="135" y="5"/>
                  </a:lnTo>
                  <a:lnTo>
                    <a:pt x="161" y="1"/>
                  </a:lnTo>
                  <a:lnTo>
                    <a:pt x="188" y="0"/>
                  </a:lnTo>
                  <a:lnTo>
                    <a:pt x="216" y="0"/>
                  </a:lnTo>
                  <a:lnTo>
                    <a:pt x="246" y="3"/>
                  </a:lnTo>
                  <a:lnTo>
                    <a:pt x="278" y="7"/>
                  </a:lnTo>
                  <a:lnTo>
                    <a:pt x="312" y="12"/>
                  </a:lnTo>
                  <a:lnTo>
                    <a:pt x="347" y="21"/>
                  </a:lnTo>
                  <a:lnTo>
                    <a:pt x="383" y="30"/>
                  </a:lnTo>
                  <a:lnTo>
                    <a:pt x="421" y="41"/>
                  </a:lnTo>
                  <a:lnTo>
                    <a:pt x="460" y="55"/>
                  </a:lnTo>
                  <a:lnTo>
                    <a:pt x="501" y="69"/>
                  </a:lnTo>
                  <a:lnTo>
                    <a:pt x="542" y="86"/>
                  </a:lnTo>
                  <a:lnTo>
                    <a:pt x="585" y="104"/>
                  </a:lnTo>
                  <a:lnTo>
                    <a:pt x="628" y="124"/>
                  </a:lnTo>
                  <a:lnTo>
                    <a:pt x="674" y="145"/>
                  </a:lnTo>
                  <a:lnTo>
                    <a:pt x="719" y="169"/>
                  </a:lnTo>
                  <a:lnTo>
                    <a:pt x="765" y="194"/>
                  </a:lnTo>
                  <a:lnTo>
                    <a:pt x="813" y="221"/>
                  </a:lnTo>
                  <a:lnTo>
                    <a:pt x="861" y="248"/>
                  </a:lnTo>
                  <a:lnTo>
                    <a:pt x="910" y="278"/>
                  </a:lnTo>
                  <a:lnTo>
                    <a:pt x="959" y="310"/>
                  </a:lnTo>
                  <a:lnTo>
                    <a:pt x="1009" y="343"/>
                  </a:lnTo>
                  <a:lnTo>
                    <a:pt x="1059" y="377"/>
                  </a:lnTo>
                  <a:lnTo>
                    <a:pt x="1110" y="413"/>
                  </a:lnTo>
                  <a:lnTo>
                    <a:pt x="1162" y="451"/>
                  </a:lnTo>
                  <a:lnTo>
                    <a:pt x="1213" y="490"/>
                  </a:lnTo>
                  <a:lnTo>
                    <a:pt x="1260" y="530"/>
                  </a:lnTo>
                  <a:lnTo>
                    <a:pt x="1306" y="570"/>
                  </a:lnTo>
                  <a:lnTo>
                    <a:pt x="1351" y="609"/>
                  </a:lnTo>
                  <a:lnTo>
                    <a:pt x="1396" y="649"/>
                  </a:lnTo>
                  <a:lnTo>
                    <a:pt x="1438" y="689"/>
                  </a:lnTo>
                  <a:lnTo>
                    <a:pt x="1479" y="728"/>
                  </a:lnTo>
                  <a:lnTo>
                    <a:pt x="1519" y="767"/>
                  </a:lnTo>
                  <a:lnTo>
                    <a:pt x="1558" y="805"/>
                  </a:lnTo>
                  <a:lnTo>
                    <a:pt x="1596" y="843"/>
                  </a:lnTo>
                  <a:lnTo>
                    <a:pt x="1633" y="881"/>
                  </a:lnTo>
                  <a:lnTo>
                    <a:pt x="1667" y="918"/>
                  </a:lnTo>
                  <a:lnTo>
                    <a:pt x="1700" y="955"/>
                  </a:lnTo>
                  <a:lnTo>
                    <a:pt x="1731" y="992"/>
                  </a:lnTo>
                  <a:lnTo>
                    <a:pt x="1761" y="1027"/>
                  </a:lnTo>
                  <a:lnTo>
                    <a:pt x="1790" y="1062"/>
                  </a:lnTo>
                  <a:lnTo>
                    <a:pt x="1817" y="1096"/>
                  </a:lnTo>
                  <a:lnTo>
                    <a:pt x="1842" y="1130"/>
                  </a:lnTo>
                  <a:lnTo>
                    <a:pt x="1864" y="1162"/>
                  </a:lnTo>
                  <a:lnTo>
                    <a:pt x="1886" y="1194"/>
                  </a:lnTo>
                  <a:lnTo>
                    <a:pt x="1906" y="1225"/>
                  </a:lnTo>
                  <a:lnTo>
                    <a:pt x="1923" y="1254"/>
                  </a:lnTo>
                  <a:lnTo>
                    <a:pt x="1939" y="1284"/>
                  </a:lnTo>
                  <a:lnTo>
                    <a:pt x="1952" y="1312"/>
                  </a:lnTo>
                  <a:lnTo>
                    <a:pt x="1964" y="1339"/>
                  </a:lnTo>
                  <a:lnTo>
                    <a:pt x="1974" y="1365"/>
                  </a:lnTo>
                  <a:lnTo>
                    <a:pt x="1981" y="1390"/>
                  </a:lnTo>
                  <a:lnTo>
                    <a:pt x="1985" y="1413"/>
                  </a:lnTo>
                  <a:lnTo>
                    <a:pt x="1988" y="1435"/>
                  </a:lnTo>
                  <a:lnTo>
                    <a:pt x="1988" y="1457"/>
                  </a:lnTo>
                  <a:lnTo>
                    <a:pt x="1987" y="1475"/>
                  </a:lnTo>
                  <a:lnTo>
                    <a:pt x="1983" y="1494"/>
                  </a:lnTo>
                  <a:lnTo>
                    <a:pt x="1976" y="1510"/>
                  </a:lnTo>
                  <a:lnTo>
                    <a:pt x="1962" y="1526"/>
                  </a:lnTo>
                  <a:lnTo>
                    <a:pt x="1947" y="1538"/>
                  </a:lnTo>
                  <a:lnTo>
                    <a:pt x="1929" y="1548"/>
                  </a:lnTo>
                  <a:lnTo>
                    <a:pt x="1909" y="1557"/>
                  </a:lnTo>
                  <a:lnTo>
                    <a:pt x="1887" y="1563"/>
                  </a:lnTo>
                  <a:lnTo>
                    <a:pt x="1862" y="1567"/>
                  </a:lnTo>
                  <a:lnTo>
                    <a:pt x="1837" y="1569"/>
                  </a:lnTo>
                  <a:lnTo>
                    <a:pt x="1808" y="1569"/>
                  </a:lnTo>
                  <a:lnTo>
                    <a:pt x="1778" y="1568"/>
                  </a:lnTo>
                  <a:lnTo>
                    <a:pt x="1747" y="1564"/>
                  </a:lnTo>
                  <a:lnTo>
                    <a:pt x="1713" y="1559"/>
                  </a:lnTo>
                  <a:lnTo>
                    <a:pt x="1679" y="1551"/>
                  </a:lnTo>
                  <a:lnTo>
                    <a:pt x="1642" y="1542"/>
                  </a:lnTo>
                  <a:lnTo>
                    <a:pt x="1605" y="1532"/>
                  </a:lnTo>
                  <a:lnTo>
                    <a:pt x="1566" y="1519"/>
                  </a:lnTo>
                  <a:lnTo>
                    <a:pt x="1525" y="1505"/>
                  </a:lnTo>
                  <a:lnTo>
                    <a:pt x="1484" y="1490"/>
                  </a:lnTo>
                  <a:lnTo>
                    <a:pt x="1442" y="1472"/>
                  </a:lnTo>
                  <a:lnTo>
                    <a:pt x="1399" y="1453"/>
                  </a:lnTo>
                  <a:lnTo>
                    <a:pt x="1355" y="1433"/>
                  </a:lnTo>
                  <a:lnTo>
                    <a:pt x="1309" y="1411"/>
                  </a:lnTo>
                  <a:lnTo>
                    <a:pt x="1264" y="1387"/>
                  </a:lnTo>
                  <a:lnTo>
                    <a:pt x="1218" y="1363"/>
                  </a:lnTo>
                  <a:lnTo>
                    <a:pt x="1171" y="1337"/>
                  </a:lnTo>
                  <a:lnTo>
                    <a:pt x="1124" y="1310"/>
                  </a:lnTo>
                  <a:lnTo>
                    <a:pt x="1076" y="1281"/>
                  </a:lnTo>
                  <a:lnTo>
                    <a:pt x="1029" y="1251"/>
                  </a:lnTo>
                  <a:lnTo>
                    <a:pt x="981" y="1220"/>
                  </a:lnTo>
                  <a:lnTo>
                    <a:pt x="932" y="1189"/>
                  </a:lnTo>
                  <a:lnTo>
                    <a:pt x="885" y="1156"/>
                  </a:lnTo>
                  <a:lnTo>
                    <a:pt x="836" y="1120"/>
                  </a:lnTo>
                  <a:lnTo>
                    <a:pt x="789" y="1085"/>
                  </a:lnTo>
                  <a:lnTo>
                    <a:pt x="738" y="1045"/>
                  </a:lnTo>
                  <a:lnTo>
                    <a:pt x="688" y="1005"/>
                  </a:lnTo>
                  <a:lnTo>
                    <a:pt x="640" y="965"/>
                  </a:lnTo>
                  <a:lnTo>
                    <a:pt x="592" y="925"/>
                  </a:lnTo>
                  <a:lnTo>
                    <a:pt x="547" y="884"/>
                  </a:lnTo>
                  <a:lnTo>
                    <a:pt x="503" y="844"/>
                  </a:lnTo>
                  <a:lnTo>
                    <a:pt x="460" y="804"/>
                  </a:lnTo>
                  <a:lnTo>
                    <a:pt x="419" y="765"/>
                  </a:lnTo>
                  <a:lnTo>
                    <a:pt x="380" y="725"/>
                  </a:lnTo>
                  <a:lnTo>
                    <a:pt x="342" y="685"/>
                  </a:lnTo>
                  <a:lnTo>
                    <a:pt x="306" y="647"/>
                  </a:lnTo>
                  <a:lnTo>
                    <a:pt x="272" y="609"/>
                  </a:lnTo>
                  <a:lnTo>
                    <a:pt x="239" y="572"/>
                  </a:lnTo>
                  <a:lnTo>
                    <a:pt x="209" y="535"/>
                  </a:lnTo>
                  <a:lnTo>
                    <a:pt x="180" y="499"/>
                  </a:lnTo>
                  <a:lnTo>
                    <a:pt x="154" y="464"/>
                  </a:lnTo>
                  <a:lnTo>
                    <a:pt x="128" y="429"/>
                  </a:lnTo>
                  <a:lnTo>
                    <a:pt x="105" y="396"/>
                  </a:lnTo>
                  <a:lnTo>
                    <a:pt x="85" y="363"/>
                  </a:lnTo>
                  <a:lnTo>
                    <a:pt x="66" y="332"/>
                  </a:lnTo>
                  <a:lnTo>
                    <a:pt x="49" y="302"/>
                  </a:lnTo>
                  <a:lnTo>
                    <a:pt x="35" y="272"/>
                  </a:lnTo>
                  <a:lnTo>
                    <a:pt x="24" y="245"/>
                  </a:lnTo>
                  <a:lnTo>
                    <a:pt x="14" y="218"/>
                  </a:lnTo>
                  <a:lnTo>
                    <a:pt x="7" y="194"/>
                  </a:lnTo>
                  <a:lnTo>
                    <a:pt x="2" y="170"/>
                  </a:lnTo>
                  <a:lnTo>
                    <a:pt x="0" y="148"/>
                  </a:lnTo>
                  <a:lnTo>
                    <a:pt x="0" y="128"/>
                  </a:lnTo>
                  <a:lnTo>
                    <a:pt x="2" y="109"/>
                  </a:lnTo>
                  <a:lnTo>
                    <a:pt x="7" y="93"/>
                  </a:lnTo>
                  <a:lnTo>
                    <a:pt x="16" y="78"/>
                  </a:lnTo>
                  <a:lnTo>
                    <a:pt x="26" y="6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5" name="Freeform 50"/>
            <p:cNvSpPr>
              <a:spLocks noChangeArrowheads="1"/>
            </p:cNvSpPr>
            <p:nvPr userDrawn="1"/>
          </p:nvSpPr>
          <p:spPr bwMode="auto">
            <a:xfrm>
              <a:off x="7280275" y="2226640"/>
              <a:ext cx="511175" cy="1632685"/>
            </a:xfrm>
            <a:custGeom>
              <a:avLst/>
              <a:gdLst>
                <a:gd name="T0" fmla="*/ 320 w 1143"/>
                <a:gd name="T1" fmla="*/ 1 h 2938"/>
                <a:gd name="T2" fmla="*/ 427 w 1143"/>
                <a:gd name="T3" fmla="*/ 42 h 2938"/>
                <a:gd name="T4" fmla="*/ 520 w 1143"/>
                <a:gd name="T5" fmla="*/ 122 h 2938"/>
                <a:gd name="T6" fmla="*/ 621 w 1143"/>
                <a:gd name="T7" fmla="*/ 257 h 2938"/>
                <a:gd name="T8" fmla="*/ 724 w 1143"/>
                <a:gd name="T9" fmla="*/ 442 h 2938"/>
                <a:gd name="T10" fmla="*/ 839 w 1143"/>
                <a:gd name="T11" fmla="*/ 713 h 2938"/>
                <a:gd name="T12" fmla="*/ 1011 w 1143"/>
                <a:gd name="T13" fmla="*/ 1281 h 2938"/>
                <a:gd name="T14" fmla="*/ 1066 w 1143"/>
                <a:gd name="T15" fmla="*/ 1524 h 2938"/>
                <a:gd name="T16" fmla="*/ 1123 w 1143"/>
                <a:gd name="T17" fmla="*/ 1898 h 2938"/>
                <a:gd name="T18" fmla="*/ 1143 w 1143"/>
                <a:gd name="T19" fmla="*/ 2237 h 2938"/>
                <a:gd name="T20" fmla="*/ 1123 w 1143"/>
                <a:gd name="T21" fmla="*/ 2535 h 2938"/>
                <a:gd name="T22" fmla="*/ 1084 w 1143"/>
                <a:gd name="T23" fmla="*/ 2706 h 2938"/>
                <a:gd name="T24" fmla="*/ 1040 w 1143"/>
                <a:gd name="T25" fmla="*/ 2806 h 2938"/>
                <a:gd name="T26" fmla="*/ 984 w 1143"/>
                <a:gd name="T27" fmla="*/ 2880 h 2938"/>
                <a:gd name="T28" fmla="*/ 915 w 1143"/>
                <a:gd name="T29" fmla="*/ 2926 h 2938"/>
                <a:gd name="T30" fmla="*/ 881 w 1143"/>
                <a:gd name="T31" fmla="*/ 2935 h 2938"/>
                <a:gd name="T32" fmla="*/ 818 w 1143"/>
                <a:gd name="T33" fmla="*/ 2934 h 2938"/>
                <a:gd name="T34" fmla="*/ 744 w 1143"/>
                <a:gd name="T35" fmla="*/ 2902 h 2938"/>
                <a:gd name="T36" fmla="*/ 667 w 1143"/>
                <a:gd name="T37" fmla="*/ 2840 h 2938"/>
                <a:gd name="T38" fmla="*/ 550 w 1143"/>
                <a:gd name="T39" fmla="*/ 2697 h 2938"/>
                <a:gd name="T40" fmla="*/ 403 w 1143"/>
                <a:gd name="T41" fmla="*/ 2436 h 2938"/>
                <a:gd name="T42" fmla="*/ 269 w 1143"/>
                <a:gd name="T43" fmla="*/ 2115 h 2938"/>
                <a:gd name="T44" fmla="*/ 152 w 1143"/>
                <a:gd name="T45" fmla="*/ 1739 h 2938"/>
                <a:gd name="T46" fmla="*/ 107 w 1143"/>
                <a:gd name="T47" fmla="*/ 1553 h 2938"/>
                <a:gd name="T48" fmla="*/ 62 w 1143"/>
                <a:gd name="T49" fmla="*/ 1342 h 2938"/>
                <a:gd name="T50" fmla="*/ 13 w 1143"/>
                <a:gd name="T51" fmla="*/ 976 h 2938"/>
                <a:gd name="T52" fmla="*/ 0 w 1143"/>
                <a:gd name="T53" fmla="*/ 647 h 2938"/>
                <a:gd name="T54" fmla="*/ 26 w 1143"/>
                <a:gd name="T55" fmla="*/ 358 h 2938"/>
                <a:gd name="T56" fmla="*/ 65 w 1143"/>
                <a:gd name="T57" fmla="*/ 214 h 2938"/>
                <a:gd name="T58" fmla="*/ 111 w 1143"/>
                <a:gd name="T59" fmla="*/ 118 h 2938"/>
                <a:gd name="T60" fmla="*/ 169 w 1143"/>
                <a:gd name="T61" fmla="*/ 49 h 2938"/>
                <a:gd name="T62" fmla="*/ 239 w 1143"/>
                <a:gd name="T63" fmla="*/ 8 h 2938"/>
                <a:gd name="T64" fmla="*/ 290 w 1143"/>
                <a:gd name="T65" fmla="*/ 172 h 2938"/>
                <a:gd name="T66" fmla="*/ 260 w 1143"/>
                <a:gd name="T67" fmla="*/ 192 h 2938"/>
                <a:gd name="T68" fmla="*/ 219 w 1143"/>
                <a:gd name="T69" fmla="*/ 274 h 2938"/>
                <a:gd name="T70" fmla="*/ 185 w 1143"/>
                <a:gd name="T71" fmla="*/ 445 h 2938"/>
                <a:gd name="T72" fmla="*/ 171 w 1143"/>
                <a:gd name="T73" fmla="*/ 703 h 2938"/>
                <a:gd name="T74" fmla="*/ 189 w 1143"/>
                <a:gd name="T75" fmla="*/ 1023 h 2938"/>
                <a:gd name="T76" fmla="*/ 243 w 1143"/>
                <a:gd name="T77" fmla="*/ 1374 h 2938"/>
                <a:gd name="T78" fmla="*/ 273 w 1143"/>
                <a:gd name="T79" fmla="*/ 1513 h 2938"/>
                <a:gd name="T80" fmla="*/ 317 w 1143"/>
                <a:gd name="T81" fmla="*/ 1695 h 2938"/>
                <a:gd name="T82" fmla="*/ 429 w 1143"/>
                <a:gd name="T83" fmla="*/ 2055 h 2938"/>
                <a:gd name="T84" fmla="*/ 556 w 1143"/>
                <a:gd name="T85" fmla="*/ 2360 h 2938"/>
                <a:gd name="T86" fmla="*/ 675 w 1143"/>
                <a:gd name="T87" fmla="*/ 2580 h 2938"/>
                <a:gd name="T88" fmla="*/ 770 w 1143"/>
                <a:gd name="T89" fmla="*/ 2714 h 2938"/>
                <a:gd name="T90" fmla="*/ 833 w 1143"/>
                <a:gd name="T91" fmla="*/ 2767 h 2938"/>
                <a:gd name="T92" fmla="*/ 857 w 1143"/>
                <a:gd name="T93" fmla="*/ 2765 h 2938"/>
                <a:gd name="T94" fmla="*/ 886 w 1143"/>
                <a:gd name="T95" fmla="*/ 2741 h 2938"/>
                <a:gd name="T96" fmla="*/ 930 w 1143"/>
                <a:gd name="T97" fmla="*/ 2640 h 2938"/>
                <a:gd name="T98" fmla="*/ 962 w 1143"/>
                <a:gd name="T99" fmla="*/ 2458 h 2938"/>
                <a:gd name="T100" fmla="*/ 971 w 1143"/>
                <a:gd name="T101" fmla="*/ 2184 h 2938"/>
                <a:gd name="T102" fmla="*/ 946 w 1143"/>
                <a:gd name="T103" fmla="*/ 1856 h 2938"/>
                <a:gd name="T104" fmla="*/ 892 w 1143"/>
                <a:gd name="T105" fmla="*/ 1525 h 2938"/>
                <a:gd name="T106" fmla="*/ 846 w 1143"/>
                <a:gd name="T107" fmla="*/ 1325 h 2938"/>
                <a:gd name="T108" fmla="*/ 685 w 1143"/>
                <a:gd name="T109" fmla="*/ 787 h 2938"/>
                <a:gd name="T110" fmla="*/ 547 w 1143"/>
                <a:gd name="T111" fmla="*/ 469 h 2938"/>
                <a:gd name="T112" fmla="*/ 452 w 1143"/>
                <a:gd name="T113" fmla="*/ 311 h 2938"/>
                <a:gd name="T114" fmla="*/ 356 w 1143"/>
                <a:gd name="T115" fmla="*/ 201 h 2938"/>
                <a:gd name="T116" fmla="*/ 300 w 1143"/>
                <a:gd name="T117" fmla="*/ 171 h 2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3" h="2938">
                  <a:moveTo>
                    <a:pt x="257" y="3"/>
                  </a:moveTo>
                  <a:lnTo>
                    <a:pt x="260" y="3"/>
                  </a:lnTo>
                  <a:lnTo>
                    <a:pt x="265" y="2"/>
                  </a:lnTo>
                  <a:lnTo>
                    <a:pt x="283" y="0"/>
                  </a:lnTo>
                  <a:lnTo>
                    <a:pt x="301" y="0"/>
                  </a:lnTo>
                  <a:lnTo>
                    <a:pt x="320" y="1"/>
                  </a:lnTo>
                  <a:lnTo>
                    <a:pt x="339" y="4"/>
                  </a:lnTo>
                  <a:lnTo>
                    <a:pt x="357" y="9"/>
                  </a:lnTo>
                  <a:lnTo>
                    <a:pt x="376" y="16"/>
                  </a:lnTo>
                  <a:lnTo>
                    <a:pt x="393" y="24"/>
                  </a:lnTo>
                  <a:lnTo>
                    <a:pt x="412" y="33"/>
                  </a:lnTo>
                  <a:lnTo>
                    <a:pt x="427" y="42"/>
                  </a:lnTo>
                  <a:lnTo>
                    <a:pt x="443" y="53"/>
                  </a:lnTo>
                  <a:lnTo>
                    <a:pt x="458" y="64"/>
                  </a:lnTo>
                  <a:lnTo>
                    <a:pt x="473" y="77"/>
                  </a:lnTo>
                  <a:lnTo>
                    <a:pt x="489" y="91"/>
                  </a:lnTo>
                  <a:lnTo>
                    <a:pt x="504" y="105"/>
                  </a:lnTo>
                  <a:lnTo>
                    <a:pt x="520" y="122"/>
                  </a:lnTo>
                  <a:lnTo>
                    <a:pt x="534" y="138"/>
                  </a:lnTo>
                  <a:lnTo>
                    <a:pt x="552" y="159"/>
                  </a:lnTo>
                  <a:lnTo>
                    <a:pt x="569" y="182"/>
                  </a:lnTo>
                  <a:lnTo>
                    <a:pt x="586" y="205"/>
                  </a:lnTo>
                  <a:lnTo>
                    <a:pt x="603" y="230"/>
                  </a:lnTo>
                  <a:lnTo>
                    <a:pt x="621" y="257"/>
                  </a:lnTo>
                  <a:lnTo>
                    <a:pt x="638" y="284"/>
                  </a:lnTo>
                  <a:lnTo>
                    <a:pt x="655" y="313"/>
                  </a:lnTo>
                  <a:lnTo>
                    <a:pt x="672" y="343"/>
                  </a:lnTo>
                  <a:lnTo>
                    <a:pt x="690" y="375"/>
                  </a:lnTo>
                  <a:lnTo>
                    <a:pt x="706" y="408"/>
                  </a:lnTo>
                  <a:lnTo>
                    <a:pt x="724" y="442"/>
                  </a:lnTo>
                  <a:lnTo>
                    <a:pt x="740" y="478"/>
                  </a:lnTo>
                  <a:lnTo>
                    <a:pt x="757" y="514"/>
                  </a:lnTo>
                  <a:lnTo>
                    <a:pt x="774" y="553"/>
                  </a:lnTo>
                  <a:lnTo>
                    <a:pt x="791" y="591"/>
                  </a:lnTo>
                  <a:lnTo>
                    <a:pt x="807" y="631"/>
                  </a:lnTo>
                  <a:lnTo>
                    <a:pt x="839" y="713"/>
                  </a:lnTo>
                  <a:lnTo>
                    <a:pt x="870" y="800"/>
                  </a:lnTo>
                  <a:lnTo>
                    <a:pt x="901" y="891"/>
                  </a:lnTo>
                  <a:lnTo>
                    <a:pt x="931" y="983"/>
                  </a:lnTo>
                  <a:lnTo>
                    <a:pt x="959" y="1080"/>
                  </a:lnTo>
                  <a:lnTo>
                    <a:pt x="985" y="1179"/>
                  </a:lnTo>
                  <a:lnTo>
                    <a:pt x="1011" y="1281"/>
                  </a:lnTo>
                  <a:lnTo>
                    <a:pt x="1036" y="1386"/>
                  </a:lnTo>
                  <a:lnTo>
                    <a:pt x="1044" y="1421"/>
                  </a:lnTo>
                  <a:lnTo>
                    <a:pt x="1051" y="1456"/>
                  </a:lnTo>
                  <a:lnTo>
                    <a:pt x="1060" y="1491"/>
                  </a:lnTo>
                  <a:lnTo>
                    <a:pt x="1066" y="1524"/>
                  </a:lnTo>
                  <a:lnTo>
                    <a:pt x="1078" y="1588"/>
                  </a:lnTo>
                  <a:lnTo>
                    <a:pt x="1089" y="1651"/>
                  </a:lnTo>
                  <a:lnTo>
                    <a:pt x="1100" y="1714"/>
                  </a:lnTo>
                  <a:lnTo>
                    <a:pt x="1108" y="1776"/>
                  </a:lnTo>
                  <a:lnTo>
                    <a:pt x="1116" y="1837"/>
                  </a:lnTo>
                  <a:lnTo>
                    <a:pt x="1123" y="1898"/>
                  </a:lnTo>
                  <a:lnTo>
                    <a:pt x="1129" y="1957"/>
                  </a:lnTo>
                  <a:lnTo>
                    <a:pt x="1134" y="2015"/>
                  </a:lnTo>
                  <a:lnTo>
                    <a:pt x="1138" y="2073"/>
                  </a:lnTo>
                  <a:lnTo>
                    <a:pt x="1140" y="2129"/>
                  </a:lnTo>
                  <a:lnTo>
                    <a:pt x="1142" y="2183"/>
                  </a:lnTo>
                  <a:lnTo>
                    <a:pt x="1143" y="2237"/>
                  </a:lnTo>
                  <a:lnTo>
                    <a:pt x="1142" y="2290"/>
                  </a:lnTo>
                  <a:lnTo>
                    <a:pt x="1141" y="2339"/>
                  </a:lnTo>
                  <a:lnTo>
                    <a:pt x="1139" y="2389"/>
                  </a:lnTo>
                  <a:lnTo>
                    <a:pt x="1136" y="2435"/>
                  </a:lnTo>
                  <a:lnTo>
                    <a:pt x="1131" y="2485"/>
                  </a:lnTo>
                  <a:lnTo>
                    <a:pt x="1123" y="2535"/>
                  </a:lnTo>
                  <a:lnTo>
                    <a:pt x="1116" y="2581"/>
                  </a:lnTo>
                  <a:lnTo>
                    <a:pt x="1107" y="2625"/>
                  </a:lnTo>
                  <a:lnTo>
                    <a:pt x="1102" y="2646"/>
                  </a:lnTo>
                  <a:lnTo>
                    <a:pt x="1096" y="2667"/>
                  </a:lnTo>
                  <a:lnTo>
                    <a:pt x="1090" y="2686"/>
                  </a:lnTo>
                  <a:lnTo>
                    <a:pt x="1084" y="2706"/>
                  </a:lnTo>
                  <a:lnTo>
                    <a:pt x="1077" y="2725"/>
                  </a:lnTo>
                  <a:lnTo>
                    <a:pt x="1071" y="2742"/>
                  </a:lnTo>
                  <a:lnTo>
                    <a:pt x="1064" y="2760"/>
                  </a:lnTo>
                  <a:lnTo>
                    <a:pt x="1056" y="2775"/>
                  </a:lnTo>
                  <a:lnTo>
                    <a:pt x="1048" y="2792"/>
                  </a:lnTo>
                  <a:lnTo>
                    <a:pt x="1040" y="2806"/>
                  </a:lnTo>
                  <a:lnTo>
                    <a:pt x="1032" y="2820"/>
                  </a:lnTo>
                  <a:lnTo>
                    <a:pt x="1022" y="2834"/>
                  </a:lnTo>
                  <a:lnTo>
                    <a:pt x="1013" y="2847"/>
                  </a:lnTo>
                  <a:lnTo>
                    <a:pt x="1004" y="2859"/>
                  </a:lnTo>
                  <a:lnTo>
                    <a:pt x="994" y="2870"/>
                  </a:lnTo>
                  <a:lnTo>
                    <a:pt x="984" y="2880"/>
                  </a:lnTo>
                  <a:lnTo>
                    <a:pt x="973" y="2891"/>
                  </a:lnTo>
                  <a:lnTo>
                    <a:pt x="963" y="2899"/>
                  </a:lnTo>
                  <a:lnTo>
                    <a:pt x="951" y="2907"/>
                  </a:lnTo>
                  <a:lnTo>
                    <a:pt x="940" y="2914"/>
                  </a:lnTo>
                  <a:lnTo>
                    <a:pt x="928" y="2920"/>
                  </a:lnTo>
                  <a:lnTo>
                    <a:pt x="915" y="2926"/>
                  </a:lnTo>
                  <a:lnTo>
                    <a:pt x="903" y="2930"/>
                  </a:lnTo>
                  <a:lnTo>
                    <a:pt x="891" y="2933"/>
                  </a:lnTo>
                  <a:lnTo>
                    <a:pt x="889" y="2934"/>
                  </a:lnTo>
                  <a:lnTo>
                    <a:pt x="886" y="2934"/>
                  </a:lnTo>
                  <a:lnTo>
                    <a:pt x="881" y="2935"/>
                  </a:lnTo>
                  <a:lnTo>
                    <a:pt x="876" y="2936"/>
                  </a:lnTo>
                  <a:lnTo>
                    <a:pt x="865" y="2937"/>
                  </a:lnTo>
                  <a:lnTo>
                    <a:pt x="854" y="2938"/>
                  </a:lnTo>
                  <a:lnTo>
                    <a:pt x="841" y="2937"/>
                  </a:lnTo>
                  <a:lnTo>
                    <a:pt x="830" y="2936"/>
                  </a:lnTo>
                  <a:lnTo>
                    <a:pt x="818" y="2934"/>
                  </a:lnTo>
                  <a:lnTo>
                    <a:pt x="806" y="2931"/>
                  </a:lnTo>
                  <a:lnTo>
                    <a:pt x="794" y="2927"/>
                  </a:lnTo>
                  <a:lnTo>
                    <a:pt x="781" y="2921"/>
                  </a:lnTo>
                  <a:lnTo>
                    <a:pt x="769" y="2915"/>
                  </a:lnTo>
                  <a:lnTo>
                    <a:pt x="757" y="2909"/>
                  </a:lnTo>
                  <a:lnTo>
                    <a:pt x="744" y="2902"/>
                  </a:lnTo>
                  <a:lnTo>
                    <a:pt x="732" y="2894"/>
                  </a:lnTo>
                  <a:lnTo>
                    <a:pt x="719" y="2884"/>
                  </a:lnTo>
                  <a:lnTo>
                    <a:pt x="706" y="2874"/>
                  </a:lnTo>
                  <a:lnTo>
                    <a:pt x="693" y="2864"/>
                  </a:lnTo>
                  <a:lnTo>
                    <a:pt x="680" y="2852"/>
                  </a:lnTo>
                  <a:lnTo>
                    <a:pt x="667" y="2840"/>
                  </a:lnTo>
                  <a:lnTo>
                    <a:pt x="655" y="2828"/>
                  </a:lnTo>
                  <a:lnTo>
                    <a:pt x="641" y="2813"/>
                  </a:lnTo>
                  <a:lnTo>
                    <a:pt x="628" y="2799"/>
                  </a:lnTo>
                  <a:lnTo>
                    <a:pt x="602" y="2768"/>
                  </a:lnTo>
                  <a:lnTo>
                    <a:pt x="576" y="2734"/>
                  </a:lnTo>
                  <a:lnTo>
                    <a:pt x="550" y="2697"/>
                  </a:lnTo>
                  <a:lnTo>
                    <a:pt x="524" y="2658"/>
                  </a:lnTo>
                  <a:lnTo>
                    <a:pt x="498" y="2615"/>
                  </a:lnTo>
                  <a:lnTo>
                    <a:pt x="472" y="2570"/>
                  </a:lnTo>
                  <a:lnTo>
                    <a:pt x="450" y="2528"/>
                  </a:lnTo>
                  <a:lnTo>
                    <a:pt x="426" y="2482"/>
                  </a:lnTo>
                  <a:lnTo>
                    <a:pt x="403" y="2436"/>
                  </a:lnTo>
                  <a:lnTo>
                    <a:pt x="381" y="2386"/>
                  </a:lnTo>
                  <a:lnTo>
                    <a:pt x="357" y="2336"/>
                  </a:lnTo>
                  <a:lnTo>
                    <a:pt x="335" y="2283"/>
                  </a:lnTo>
                  <a:lnTo>
                    <a:pt x="313" y="2229"/>
                  </a:lnTo>
                  <a:lnTo>
                    <a:pt x="291" y="2173"/>
                  </a:lnTo>
                  <a:lnTo>
                    <a:pt x="269" y="2115"/>
                  </a:lnTo>
                  <a:lnTo>
                    <a:pt x="249" y="2056"/>
                  </a:lnTo>
                  <a:lnTo>
                    <a:pt x="228" y="1995"/>
                  </a:lnTo>
                  <a:lnTo>
                    <a:pt x="208" y="1933"/>
                  </a:lnTo>
                  <a:lnTo>
                    <a:pt x="188" y="1870"/>
                  </a:lnTo>
                  <a:lnTo>
                    <a:pt x="170" y="1805"/>
                  </a:lnTo>
                  <a:lnTo>
                    <a:pt x="152" y="1739"/>
                  </a:lnTo>
                  <a:lnTo>
                    <a:pt x="135" y="1672"/>
                  </a:lnTo>
                  <a:lnTo>
                    <a:pt x="127" y="1645"/>
                  </a:lnTo>
                  <a:lnTo>
                    <a:pt x="121" y="1615"/>
                  </a:lnTo>
                  <a:lnTo>
                    <a:pt x="114" y="1584"/>
                  </a:lnTo>
                  <a:lnTo>
                    <a:pt x="107" y="1553"/>
                  </a:lnTo>
                  <a:lnTo>
                    <a:pt x="99" y="1517"/>
                  </a:lnTo>
                  <a:lnTo>
                    <a:pt x="90" y="1482"/>
                  </a:lnTo>
                  <a:lnTo>
                    <a:pt x="83" y="1447"/>
                  </a:lnTo>
                  <a:lnTo>
                    <a:pt x="76" y="1413"/>
                  </a:lnTo>
                  <a:lnTo>
                    <a:pt x="75" y="1405"/>
                  </a:lnTo>
                  <a:lnTo>
                    <a:pt x="62" y="1342"/>
                  </a:lnTo>
                  <a:lnTo>
                    <a:pt x="52" y="1279"/>
                  </a:lnTo>
                  <a:lnTo>
                    <a:pt x="42" y="1217"/>
                  </a:lnTo>
                  <a:lnTo>
                    <a:pt x="33" y="1156"/>
                  </a:lnTo>
                  <a:lnTo>
                    <a:pt x="25" y="1095"/>
                  </a:lnTo>
                  <a:lnTo>
                    <a:pt x="18" y="1035"/>
                  </a:lnTo>
                  <a:lnTo>
                    <a:pt x="13" y="976"/>
                  </a:lnTo>
                  <a:lnTo>
                    <a:pt x="8" y="919"/>
                  </a:lnTo>
                  <a:lnTo>
                    <a:pt x="5" y="862"/>
                  </a:lnTo>
                  <a:lnTo>
                    <a:pt x="2" y="806"/>
                  </a:lnTo>
                  <a:lnTo>
                    <a:pt x="0" y="752"/>
                  </a:lnTo>
                  <a:lnTo>
                    <a:pt x="0" y="699"/>
                  </a:lnTo>
                  <a:lnTo>
                    <a:pt x="0" y="647"/>
                  </a:lnTo>
                  <a:lnTo>
                    <a:pt x="1" y="598"/>
                  </a:lnTo>
                  <a:lnTo>
                    <a:pt x="4" y="550"/>
                  </a:lnTo>
                  <a:lnTo>
                    <a:pt x="7" y="503"/>
                  </a:lnTo>
                  <a:lnTo>
                    <a:pt x="12" y="453"/>
                  </a:lnTo>
                  <a:lnTo>
                    <a:pt x="18" y="404"/>
                  </a:lnTo>
                  <a:lnTo>
                    <a:pt x="26" y="358"/>
                  </a:lnTo>
                  <a:lnTo>
                    <a:pt x="36" y="313"/>
                  </a:lnTo>
                  <a:lnTo>
                    <a:pt x="41" y="293"/>
                  </a:lnTo>
                  <a:lnTo>
                    <a:pt x="46" y="272"/>
                  </a:lnTo>
                  <a:lnTo>
                    <a:pt x="51" y="252"/>
                  </a:lnTo>
                  <a:lnTo>
                    <a:pt x="58" y="233"/>
                  </a:lnTo>
                  <a:lnTo>
                    <a:pt x="65" y="214"/>
                  </a:lnTo>
                  <a:lnTo>
                    <a:pt x="71" y="196"/>
                  </a:lnTo>
                  <a:lnTo>
                    <a:pt x="78" y="179"/>
                  </a:lnTo>
                  <a:lnTo>
                    <a:pt x="86" y="163"/>
                  </a:lnTo>
                  <a:lnTo>
                    <a:pt x="93" y="147"/>
                  </a:lnTo>
                  <a:lnTo>
                    <a:pt x="102" y="132"/>
                  </a:lnTo>
                  <a:lnTo>
                    <a:pt x="111" y="118"/>
                  </a:lnTo>
                  <a:lnTo>
                    <a:pt x="119" y="104"/>
                  </a:lnTo>
                  <a:lnTo>
                    <a:pt x="128" y="92"/>
                  </a:lnTo>
                  <a:lnTo>
                    <a:pt x="138" y="79"/>
                  </a:lnTo>
                  <a:lnTo>
                    <a:pt x="148" y="68"/>
                  </a:lnTo>
                  <a:lnTo>
                    <a:pt x="158" y="58"/>
                  </a:lnTo>
                  <a:lnTo>
                    <a:pt x="169" y="49"/>
                  </a:lnTo>
                  <a:lnTo>
                    <a:pt x="180" y="39"/>
                  </a:lnTo>
                  <a:lnTo>
                    <a:pt x="190" y="31"/>
                  </a:lnTo>
                  <a:lnTo>
                    <a:pt x="203" y="24"/>
                  </a:lnTo>
                  <a:lnTo>
                    <a:pt x="214" y="18"/>
                  </a:lnTo>
                  <a:lnTo>
                    <a:pt x="226" y="12"/>
                  </a:lnTo>
                  <a:lnTo>
                    <a:pt x="239" y="8"/>
                  </a:lnTo>
                  <a:lnTo>
                    <a:pt x="252" y="5"/>
                  </a:lnTo>
                  <a:lnTo>
                    <a:pt x="257" y="3"/>
                  </a:lnTo>
                  <a:close/>
                  <a:moveTo>
                    <a:pt x="293" y="171"/>
                  </a:moveTo>
                  <a:lnTo>
                    <a:pt x="291" y="171"/>
                  </a:lnTo>
                  <a:lnTo>
                    <a:pt x="290" y="172"/>
                  </a:lnTo>
                  <a:lnTo>
                    <a:pt x="285" y="173"/>
                  </a:lnTo>
                  <a:lnTo>
                    <a:pt x="280" y="175"/>
                  </a:lnTo>
                  <a:lnTo>
                    <a:pt x="275" y="178"/>
                  </a:lnTo>
                  <a:lnTo>
                    <a:pt x="269" y="183"/>
                  </a:lnTo>
                  <a:lnTo>
                    <a:pt x="264" y="187"/>
                  </a:lnTo>
                  <a:lnTo>
                    <a:pt x="260" y="192"/>
                  </a:lnTo>
                  <a:lnTo>
                    <a:pt x="255" y="197"/>
                  </a:lnTo>
                  <a:lnTo>
                    <a:pt x="251" y="203"/>
                  </a:lnTo>
                  <a:lnTo>
                    <a:pt x="242" y="218"/>
                  </a:lnTo>
                  <a:lnTo>
                    <a:pt x="233" y="234"/>
                  </a:lnTo>
                  <a:lnTo>
                    <a:pt x="226" y="254"/>
                  </a:lnTo>
                  <a:lnTo>
                    <a:pt x="219" y="274"/>
                  </a:lnTo>
                  <a:lnTo>
                    <a:pt x="212" y="298"/>
                  </a:lnTo>
                  <a:lnTo>
                    <a:pt x="206" y="324"/>
                  </a:lnTo>
                  <a:lnTo>
                    <a:pt x="199" y="352"/>
                  </a:lnTo>
                  <a:lnTo>
                    <a:pt x="194" y="380"/>
                  </a:lnTo>
                  <a:lnTo>
                    <a:pt x="189" y="412"/>
                  </a:lnTo>
                  <a:lnTo>
                    <a:pt x="185" y="445"/>
                  </a:lnTo>
                  <a:lnTo>
                    <a:pt x="181" y="480"/>
                  </a:lnTo>
                  <a:lnTo>
                    <a:pt x="178" y="518"/>
                  </a:lnTo>
                  <a:lnTo>
                    <a:pt x="175" y="561"/>
                  </a:lnTo>
                  <a:lnTo>
                    <a:pt x="172" y="607"/>
                  </a:lnTo>
                  <a:lnTo>
                    <a:pt x="171" y="655"/>
                  </a:lnTo>
                  <a:lnTo>
                    <a:pt x="171" y="703"/>
                  </a:lnTo>
                  <a:lnTo>
                    <a:pt x="171" y="754"/>
                  </a:lnTo>
                  <a:lnTo>
                    <a:pt x="173" y="805"/>
                  </a:lnTo>
                  <a:lnTo>
                    <a:pt x="175" y="858"/>
                  </a:lnTo>
                  <a:lnTo>
                    <a:pt x="179" y="911"/>
                  </a:lnTo>
                  <a:lnTo>
                    <a:pt x="183" y="967"/>
                  </a:lnTo>
                  <a:lnTo>
                    <a:pt x="189" y="1023"/>
                  </a:lnTo>
                  <a:lnTo>
                    <a:pt x="195" y="1079"/>
                  </a:lnTo>
                  <a:lnTo>
                    <a:pt x="203" y="1137"/>
                  </a:lnTo>
                  <a:lnTo>
                    <a:pt x="211" y="1196"/>
                  </a:lnTo>
                  <a:lnTo>
                    <a:pt x="220" y="1255"/>
                  </a:lnTo>
                  <a:lnTo>
                    <a:pt x="231" y="1314"/>
                  </a:lnTo>
                  <a:lnTo>
                    <a:pt x="243" y="1374"/>
                  </a:lnTo>
                  <a:lnTo>
                    <a:pt x="244" y="1380"/>
                  </a:lnTo>
                  <a:lnTo>
                    <a:pt x="251" y="1413"/>
                  </a:lnTo>
                  <a:lnTo>
                    <a:pt x="258" y="1447"/>
                  </a:lnTo>
                  <a:lnTo>
                    <a:pt x="265" y="1480"/>
                  </a:lnTo>
                  <a:lnTo>
                    <a:pt x="273" y="1513"/>
                  </a:lnTo>
                  <a:lnTo>
                    <a:pt x="273" y="1514"/>
                  </a:lnTo>
                  <a:lnTo>
                    <a:pt x="279" y="1541"/>
                  </a:lnTo>
                  <a:lnTo>
                    <a:pt x="286" y="1570"/>
                  </a:lnTo>
                  <a:lnTo>
                    <a:pt x="292" y="1600"/>
                  </a:lnTo>
                  <a:lnTo>
                    <a:pt x="300" y="1631"/>
                  </a:lnTo>
                  <a:lnTo>
                    <a:pt x="317" y="1695"/>
                  </a:lnTo>
                  <a:lnTo>
                    <a:pt x="334" y="1758"/>
                  </a:lnTo>
                  <a:lnTo>
                    <a:pt x="352" y="1820"/>
                  </a:lnTo>
                  <a:lnTo>
                    <a:pt x="370" y="1880"/>
                  </a:lnTo>
                  <a:lnTo>
                    <a:pt x="389" y="1940"/>
                  </a:lnTo>
                  <a:lnTo>
                    <a:pt x="410" y="1998"/>
                  </a:lnTo>
                  <a:lnTo>
                    <a:pt x="429" y="2055"/>
                  </a:lnTo>
                  <a:lnTo>
                    <a:pt x="450" y="2109"/>
                  </a:lnTo>
                  <a:lnTo>
                    <a:pt x="470" y="2163"/>
                  </a:lnTo>
                  <a:lnTo>
                    <a:pt x="492" y="2215"/>
                  </a:lnTo>
                  <a:lnTo>
                    <a:pt x="513" y="2265"/>
                  </a:lnTo>
                  <a:lnTo>
                    <a:pt x="534" y="2313"/>
                  </a:lnTo>
                  <a:lnTo>
                    <a:pt x="556" y="2360"/>
                  </a:lnTo>
                  <a:lnTo>
                    <a:pt x="578" y="2404"/>
                  </a:lnTo>
                  <a:lnTo>
                    <a:pt x="600" y="2447"/>
                  </a:lnTo>
                  <a:lnTo>
                    <a:pt x="622" y="2487"/>
                  </a:lnTo>
                  <a:lnTo>
                    <a:pt x="640" y="2520"/>
                  </a:lnTo>
                  <a:lnTo>
                    <a:pt x="658" y="2551"/>
                  </a:lnTo>
                  <a:lnTo>
                    <a:pt x="675" y="2580"/>
                  </a:lnTo>
                  <a:lnTo>
                    <a:pt x="693" y="2608"/>
                  </a:lnTo>
                  <a:lnTo>
                    <a:pt x="709" y="2633"/>
                  </a:lnTo>
                  <a:lnTo>
                    <a:pt x="726" y="2657"/>
                  </a:lnTo>
                  <a:lnTo>
                    <a:pt x="741" y="2678"/>
                  </a:lnTo>
                  <a:lnTo>
                    <a:pt x="756" y="2698"/>
                  </a:lnTo>
                  <a:lnTo>
                    <a:pt x="770" y="2714"/>
                  </a:lnTo>
                  <a:lnTo>
                    <a:pt x="783" y="2730"/>
                  </a:lnTo>
                  <a:lnTo>
                    <a:pt x="796" y="2742"/>
                  </a:lnTo>
                  <a:lnTo>
                    <a:pt x="807" y="2751"/>
                  </a:lnTo>
                  <a:lnTo>
                    <a:pt x="818" y="2760"/>
                  </a:lnTo>
                  <a:lnTo>
                    <a:pt x="829" y="2765"/>
                  </a:lnTo>
                  <a:lnTo>
                    <a:pt x="833" y="2767"/>
                  </a:lnTo>
                  <a:lnTo>
                    <a:pt x="838" y="2768"/>
                  </a:lnTo>
                  <a:lnTo>
                    <a:pt x="842" y="2768"/>
                  </a:lnTo>
                  <a:lnTo>
                    <a:pt x="846" y="2768"/>
                  </a:lnTo>
                  <a:lnTo>
                    <a:pt x="851" y="2766"/>
                  </a:lnTo>
                  <a:lnTo>
                    <a:pt x="857" y="2765"/>
                  </a:lnTo>
                  <a:lnTo>
                    <a:pt x="862" y="2763"/>
                  </a:lnTo>
                  <a:lnTo>
                    <a:pt x="867" y="2760"/>
                  </a:lnTo>
                  <a:lnTo>
                    <a:pt x="872" y="2756"/>
                  </a:lnTo>
                  <a:lnTo>
                    <a:pt x="877" y="2751"/>
                  </a:lnTo>
                  <a:lnTo>
                    <a:pt x="882" y="2746"/>
                  </a:lnTo>
                  <a:lnTo>
                    <a:pt x="886" y="2741"/>
                  </a:lnTo>
                  <a:lnTo>
                    <a:pt x="892" y="2735"/>
                  </a:lnTo>
                  <a:lnTo>
                    <a:pt x="900" y="2720"/>
                  </a:lnTo>
                  <a:lnTo>
                    <a:pt x="908" y="2704"/>
                  </a:lnTo>
                  <a:lnTo>
                    <a:pt x="916" y="2685"/>
                  </a:lnTo>
                  <a:lnTo>
                    <a:pt x="924" y="2664"/>
                  </a:lnTo>
                  <a:lnTo>
                    <a:pt x="930" y="2640"/>
                  </a:lnTo>
                  <a:lnTo>
                    <a:pt x="937" y="2614"/>
                  </a:lnTo>
                  <a:lnTo>
                    <a:pt x="942" y="2586"/>
                  </a:lnTo>
                  <a:lnTo>
                    <a:pt x="948" y="2558"/>
                  </a:lnTo>
                  <a:lnTo>
                    <a:pt x="952" y="2526"/>
                  </a:lnTo>
                  <a:lnTo>
                    <a:pt x="958" y="2493"/>
                  </a:lnTo>
                  <a:lnTo>
                    <a:pt x="962" y="2458"/>
                  </a:lnTo>
                  <a:lnTo>
                    <a:pt x="965" y="2420"/>
                  </a:lnTo>
                  <a:lnTo>
                    <a:pt x="968" y="2377"/>
                  </a:lnTo>
                  <a:lnTo>
                    <a:pt x="970" y="2331"/>
                  </a:lnTo>
                  <a:lnTo>
                    <a:pt x="971" y="2283"/>
                  </a:lnTo>
                  <a:lnTo>
                    <a:pt x="972" y="2235"/>
                  </a:lnTo>
                  <a:lnTo>
                    <a:pt x="971" y="2184"/>
                  </a:lnTo>
                  <a:lnTo>
                    <a:pt x="969" y="2132"/>
                  </a:lnTo>
                  <a:lnTo>
                    <a:pt x="967" y="2079"/>
                  </a:lnTo>
                  <a:lnTo>
                    <a:pt x="963" y="2025"/>
                  </a:lnTo>
                  <a:lnTo>
                    <a:pt x="959" y="1969"/>
                  </a:lnTo>
                  <a:lnTo>
                    <a:pt x="952" y="1913"/>
                  </a:lnTo>
                  <a:lnTo>
                    <a:pt x="946" y="1856"/>
                  </a:lnTo>
                  <a:lnTo>
                    <a:pt x="939" y="1798"/>
                  </a:lnTo>
                  <a:lnTo>
                    <a:pt x="930" y="1738"/>
                  </a:lnTo>
                  <a:lnTo>
                    <a:pt x="920" y="1678"/>
                  </a:lnTo>
                  <a:lnTo>
                    <a:pt x="910" y="1618"/>
                  </a:lnTo>
                  <a:lnTo>
                    <a:pt x="898" y="1558"/>
                  </a:lnTo>
                  <a:lnTo>
                    <a:pt x="892" y="1525"/>
                  </a:lnTo>
                  <a:lnTo>
                    <a:pt x="884" y="1491"/>
                  </a:lnTo>
                  <a:lnTo>
                    <a:pt x="877" y="1458"/>
                  </a:lnTo>
                  <a:lnTo>
                    <a:pt x="869" y="1425"/>
                  </a:lnTo>
                  <a:lnTo>
                    <a:pt x="870" y="1425"/>
                  </a:lnTo>
                  <a:lnTo>
                    <a:pt x="869" y="1424"/>
                  </a:lnTo>
                  <a:lnTo>
                    <a:pt x="846" y="1325"/>
                  </a:lnTo>
                  <a:lnTo>
                    <a:pt x="822" y="1228"/>
                  </a:lnTo>
                  <a:lnTo>
                    <a:pt x="797" y="1133"/>
                  </a:lnTo>
                  <a:lnTo>
                    <a:pt x="770" y="1041"/>
                  </a:lnTo>
                  <a:lnTo>
                    <a:pt x="742" y="954"/>
                  </a:lnTo>
                  <a:lnTo>
                    <a:pt x="713" y="868"/>
                  </a:lnTo>
                  <a:lnTo>
                    <a:pt x="685" y="787"/>
                  </a:lnTo>
                  <a:lnTo>
                    <a:pt x="655" y="708"/>
                  </a:lnTo>
                  <a:lnTo>
                    <a:pt x="625" y="635"/>
                  </a:lnTo>
                  <a:lnTo>
                    <a:pt x="594" y="565"/>
                  </a:lnTo>
                  <a:lnTo>
                    <a:pt x="578" y="532"/>
                  </a:lnTo>
                  <a:lnTo>
                    <a:pt x="562" y="500"/>
                  </a:lnTo>
                  <a:lnTo>
                    <a:pt x="547" y="469"/>
                  </a:lnTo>
                  <a:lnTo>
                    <a:pt x="531" y="439"/>
                  </a:lnTo>
                  <a:lnTo>
                    <a:pt x="516" y="411"/>
                  </a:lnTo>
                  <a:lnTo>
                    <a:pt x="499" y="385"/>
                  </a:lnTo>
                  <a:lnTo>
                    <a:pt x="484" y="359"/>
                  </a:lnTo>
                  <a:lnTo>
                    <a:pt x="468" y="334"/>
                  </a:lnTo>
                  <a:lnTo>
                    <a:pt x="452" y="311"/>
                  </a:lnTo>
                  <a:lnTo>
                    <a:pt x="436" y="290"/>
                  </a:lnTo>
                  <a:lnTo>
                    <a:pt x="421" y="269"/>
                  </a:lnTo>
                  <a:lnTo>
                    <a:pt x="405" y="251"/>
                  </a:lnTo>
                  <a:lnTo>
                    <a:pt x="385" y="228"/>
                  </a:lnTo>
                  <a:lnTo>
                    <a:pt x="365" y="209"/>
                  </a:lnTo>
                  <a:lnTo>
                    <a:pt x="356" y="201"/>
                  </a:lnTo>
                  <a:lnTo>
                    <a:pt x="347" y="194"/>
                  </a:lnTo>
                  <a:lnTo>
                    <a:pt x="337" y="188"/>
                  </a:lnTo>
                  <a:lnTo>
                    <a:pt x="328" y="182"/>
                  </a:lnTo>
                  <a:lnTo>
                    <a:pt x="318" y="176"/>
                  </a:lnTo>
                  <a:lnTo>
                    <a:pt x="309" y="173"/>
                  </a:lnTo>
                  <a:lnTo>
                    <a:pt x="300" y="171"/>
                  </a:lnTo>
                  <a:lnTo>
                    <a:pt x="293" y="17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6" name="Freeform 51"/>
            <p:cNvSpPr>
              <a:spLocks noChangeArrowheads="1"/>
            </p:cNvSpPr>
            <p:nvPr userDrawn="1"/>
          </p:nvSpPr>
          <p:spPr bwMode="auto">
            <a:xfrm>
              <a:off x="7316788" y="2280347"/>
              <a:ext cx="438150" cy="1536012"/>
            </a:xfrm>
            <a:custGeom>
              <a:avLst/>
              <a:gdLst>
                <a:gd name="T0" fmla="*/ 230 w 971"/>
                <a:gd name="T1" fmla="*/ 1 h 2766"/>
                <a:gd name="T2" fmla="*/ 294 w 971"/>
                <a:gd name="T3" fmla="*/ 26 h 2766"/>
                <a:gd name="T4" fmla="*/ 361 w 971"/>
                <a:gd name="T5" fmla="*/ 82 h 2766"/>
                <a:gd name="T6" fmla="*/ 430 w 971"/>
                <a:gd name="T7" fmla="*/ 165 h 2766"/>
                <a:gd name="T8" fmla="*/ 499 w 971"/>
                <a:gd name="T9" fmla="*/ 273 h 2766"/>
                <a:gd name="T10" fmla="*/ 567 w 971"/>
                <a:gd name="T11" fmla="*/ 404 h 2766"/>
                <a:gd name="T12" fmla="*/ 635 w 971"/>
                <a:gd name="T13" fmla="*/ 555 h 2766"/>
                <a:gd name="T14" fmla="*/ 698 w 971"/>
                <a:gd name="T15" fmla="*/ 724 h 2766"/>
                <a:gd name="T16" fmla="*/ 760 w 971"/>
                <a:gd name="T17" fmla="*/ 910 h 2766"/>
                <a:gd name="T18" fmla="*/ 817 w 971"/>
                <a:gd name="T19" fmla="*/ 1109 h 2766"/>
                <a:gd name="T20" fmla="*/ 867 w 971"/>
                <a:gd name="T21" fmla="*/ 1319 h 2766"/>
                <a:gd name="T22" fmla="*/ 910 w 971"/>
                <a:gd name="T23" fmla="*/ 1521 h 2766"/>
                <a:gd name="T24" fmla="*/ 941 w 971"/>
                <a:gd name="T25" fmla="*/ 1717 h 2766"/>
                <a:gd name="T26" fmla="*/ 961 w 971"/>
                <a:gd name="T27" fmla="*/ 1906 h 2766"/>
                <a:gd name="T28" fmla="*/ 971 w 971"/>
                <a:gd name="T29" fmla="*/ 2083 h 2766"/>
                <a:gd name="T30" fmla="*/ 970 w 971"/>
                <a:gd name="T31" fmla="*/ 2246 h 2766"/>
                <a:gd name="T32" fmla="*/ 960 w 971"/>
                <a:gd name="T33" fmla="*/ 2392 h 2766"/>
                <a:gd name="T34" fmla="*/ 939 w 971"/>
                <a:gd name="T35" fmla="*/ 2519 h 2766"/>
                <a:gd name="T36" fmla="*/ 909 w 971"/>
                <a:gd name="T37" fmla="*/ 2622 h 2766"/>
                <a:gd name="T38" fmla="*/ 869 w 971"/>
                <a:gd name="T39" fmla="*/ 2700 h 2766"/>
                <a:gd name="T40" fmla="*/ 820 w 971"/>
                <a:gd name="T41" fmla="*/ 2749 h 2766"/>
                <a:gd name="T42" fmla="*/ 766 w 971"/>
                <a:gd name="T43" fmla="*/ 2766 h 2766"/>
                <a:gd name="T44" fmla="*/ 712 w 971"/>
                <a:gd name="T45" fmla="*/ 2752 h 2766"/>
                <a:gd name="T46" fmla="*/ 650 w 971"/>
                <a:gd name="T47" fmla="*/ 2706 h 2766"/>
                <a:gd name="T48" fmla="*/ 584 w 971"/>
                <a:gd name="T49" fmla="*/ 2632 h 2766"/>
                <a:gd name="T50" fmla="*/ 515 w 971"/>
                <a:gd name="T51" fmla="*/ 2532 h 2766"/>
                <a:gd name="T52" fmla="*/ 444 w 971"/>
                <a:gd name="T53" fmla="*/ 2409 h 2766"/>
                <a:gd name="T54" fmla="*/ 372 w 971"/>
                <a:gd name="T55" fmla="*/ 2264 h 2766"/>
                <a:gd name="T56" fmla="*/ 303 w 971"/>
                <a:gd name="T57" fmla="*/ 2100 h 2766"/>
                <a:gd name="T58" fmla="*/ 236 w 971"/>
                <a:gd name="T59" fmla="*/ 1920 h 2766"/>
                <a:gd name="T60" fmla="*/ 175 w 971"/>
                <a:gd name="T61" fmla="*/ 1725 h 2766"/>
                <a:gd name="T62" fmla="*/ 121 w 971"/>
                <a:gd name="T63" fmla="*/ 1518 h 2766"/>
                <a:gd name="T64" fmla="*/ 75 w 971"/>
                <a:gd name="T65" fmla="*/ 1312 h 2766"/>
                <a:gd name="T66" fmla="*/ 40 w 971"/>
                <a:gd name="T67" fmla="*/ 1114 h 2766"/>
                <a:gd name="T68" fmla="*/ 17 w 971"/>
                <a:gd name="T69" fmla="*/ 922 h 2766"/>
                <a:gd name="T70" fmla="*/ 3 w 971"/>
                <a:gd name="T71" fmla="*/ 741 h 2766"/>
                <a:gd name="T72" fmla="*/ 0 w 971"/>
                <a:gd name="T73" fmla="*/ 573 h 2766"/>
                <a:gd name="T74" fmla="*/ 7 w 971"/>
                <a:gd name="T75" fmla="*/ 420 h 2766"/>
                <a:gd name="T76" fmla="*/ 25 w 971"/>
                <a:gd name="T77" fmla="*/ 287 h 2766"/>
                <a:gd name="T78" fmla="*/ 52 w 971"/>
                <a:gd name="T79" fmla="*/ 176 h 2766"/>
                <a:gd name="T80" fmla="*/ 89 w 971"/>
                <a:gd name="T81" fmla="*/ 89 h 2766"/>
                <a:gd name="T82" fmla="*/ 134 w 971"/>
                <a:gd name="T83" fmla="*/ 30 h 2766"/>
                <a:gd name="T84" fmla="*/ 190 w 971"/>
                <a:gd name="T85" fmla="*/ 2 h 2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71" h="2766">
                  <a:moveTo>
                    <a:pt x="190" y="2"/>
                  </a:moveTo>
                  <a:lnTo>
                    <a:pt x="209" y="0"/>
                  </a:lnTo>
                  <a:lnTo>
                    <a:pt x="230" y="1"/>
                  </a:lnTo>
                  <a:lnTo>
                    <a:pt x="251" y="6"/>
                  </a:lnTo>
                  <a:lnTo>
                    <a:pt x="272" y="15"/>
                  </a:lnTo>
                  <a:lnTo>
                    <a:pt x="294" y="26"/>
                  </a:lnTo>
                  <a:lnTo>
                    <a:pt x="316" y="42"/>
                  </a:lnTo>
                  <a:lnTo>
                    <a:pt x="338" y="60"/>
                  </a:lnTo>
                  <a:lnTo>
                    <a:pt x="361" y="82"/>
                  </a:lnTo>
                  <a:lnTo>
                    <a:pt x="383" y="107"/>
                  </a:lnTo>
                  <a:lnTo>
                    <a:pt x="406" y="135"/>
                  </a:lnTo>
                  <a:lnTo>
                    <a:pt x="430" y="165"/>
                  </a:lnTo>
                  <a:lnTo>
                    <a:pt x="452" y="199"/>
                  </a:lnTo>
                  <a:lnTo>
                    <a:pt x="475" y="235"/>
                  </a:lnTo>
                  <a:lnTo>
                    <a:pt x="499" y="273"/>
                  </a:lnTo>
                  <a:lnTo>
                    <a:pt x="521" y="314"/>
                  </a:lnTo>
                  <a:lnTo>
                    <a:pt x="544" y="357"/>
                  </a:lnTo>
                  <a:lnTo>
                    <a:pt x="567" y="404"/>
                  </a:lnTo>
                  <a:lnTo>
                    <a:pt x="589" y="452"/>
                  </a:lnTo>
                  <a:lnTo>
                    <a:pt x="612" y="503"/>
                  </a:lnTo>
                  <a:lnTo>
                    <a:pt x="635" y="555"/>
                  </a:lnTo>
                  <a:lnTo>
                    <a:pt x="656" y="610"/>
                  </a:lnTo>
                  <a:lnTo>
                    <a:pt x="678" y="667"/>
                  </a:lnTo>
                  <a:lnTo>
                    <a:pt x="698" y="724"/>
                  </a:lnTo>
                  <a:lnTo>
                    <a:pt x="720" y="785"/>
                  </a:lnTo>
                  <a:lnTo>
                    <a:pt x="740" y="847"/>
                  </a:lnTo>
                  <a:lnTo>
                    <a:pt x="760" y="910"/>
                  </a:lnTo>
                  <a:lnTo>
                    <a:pt x="780" y="975"/>
                  </a:lnTo>
                  <a:lnTo>
                    <a:pt x="798" y="1042"/>
                  </a:lnTo>
                  <a:lnTo>
                    <a:pt x="817" y="1109"/>
                  </a:lnTo>
                  <a:lnTo>
                    <a:pt x="834" y="1178"/>
                  </a:lnTo>
                  <a:lnTo>
                    <a:pt x="851" y="1248"/>
                  </a:lnTo>
                  <a:lnTo>
                    <a:pt x="867" y="1319"/>
                  </a:lnTo>
                  <a:lnTo>
                    <a:pt x="883" y="1387"/>
                  </a:lnTo>
                  <a:lnTo>
                    <a:pt x="897" y="1454"/>
                  </a:lnTo>
                  <a:lnTo>
                    <a:pt x="910" y="1521"/>
                  </a:lnTo>
                  <a:lnTo>
                    <a:pt x="921" y="1587"/>
                  </a:lnTo>
                  <a:lnTo>
                    <a:pt x="931" y="1653"/>
                  </a:lnTo>
                  <a:lnTo>
                    <a:pt x="941" y="1717"/>
                  </a:lnTo>
                  <a:lnTo>
                    <a:pt x="949" y="1781"/>
                  </a:lnTo>
                  <a:lnTo>
                    <a:pt x="956" y="1844"/>
                  </a:lnTo>
                  <a:lnTo>
                    <a:pt x="961" y="1906"/>
                  </a:lnTo>
                  <a:lnTo>
                    <a:pt x="965" y="1966"/>
                  </a:lnTo>
                  <a:lnTo>
                    <a:pt x="968" y="2025"/>
                  </a:lnTo>
                  <a:lnTo>
                    <a:pt x="971" y="2083"/>
                  </a:lnTo>
                  <a:lnTo>
                    <a:pt x="971" y="2140"/>
                  </a:lnTo>
                  <a:lnTo>
                    <a:pt x="971" y="2193"/>
                  </a:lnTo>
                  <a:lnTo>
                    <a:pt x="970" y="2246"/>
                  </a:lnTo>
                  <a:lnTo>
                    <a:pt x="968" y="2297"/>
                  </a:lnTo>
                  <a:lnTo>
                    <a:pt x="964" y="2346"/>
                  </a:lnTo>
                  <a:lnTo>
                    <a:pt x="960" y="2392"/>
                  </a:lnTo>
                  <a:lnTo>
                    <a:pt x="954" y="2438"/>
                  </a:lnTo>
                  <a:lnTo>
                    <a:pt x="948" y="2479"/>
                  </a:lnTo>
                  <a:lnTo>
                    <a:pt x="939" y="2519"/>
                  </a:lnTo>
                  <a:lnTo>
                    <a:pt x="930" y="2556"/>
                  </a:lnTo>
                  <a:lnTo>
                    <a:pt x="920" y="2591"/>
                  </a:lnTo>
                  <a:lnTo>
                    <a:pt x="909" y="2622"/>
                  </a:lnTo>
                  <a:lnTo>
                    <a:pt x="896" y="2652"/>
                  </a:lnTo>
                  <a:lnTo>
                    <a:pt x="884" y="2678"/>
                  </a:lnTo>
                  <a:lnTo>
                    <a:pt x="869" y="2700"/>
                  </a:lnTo>
                  <a:lnTo>
                    <a:pt x="854" y="2720"/>
                  </a:lnTo>
                  <a:lnTo>
                    <a:pt x="838" y="2737"/>
                  </a:lnTo>
                  <a:lnTo>
                    <a:pt x="820" y="2749"/>
                  </a:lnTo>
                  <a:lnTo>
                    <a:pt x="801" y="2759"/>
                  </a:lnTo>
                  <a:lnTo>
                    <a:pt x="783" y="2764"/>
                  </a:lnTo>
                  <a:lnTo>
                    <a:pt x="766" y="2766"/>
                  </a:lnTo>
                  <a:lnTo>
                    <a:pt x="749" y="2765"/>
                  </a:lnTo>
                  <a:lnTo>
                    <a:pt x="730" y="2760"/>
                  </a:lnTo>
                  <a:lnTo>
                    <a:pt x="712" y="2752"/>
                  </a:lnTo>
                  <a:lnTo>
                    <a:pt x="692" y="2740"/>
                  </a:lnTo>
                  <a:lnTo>
                    <a:pt x="672" y="2724"/>
                  </a:lnTo>
                  <a:lnTo>
                    <a:pt x="650" y="2706"/>
                  </a:lnTo>
                  <a:lnTo>
                    <a:pt x="629" y="2684"/>
                  </a:lnTo>
                  <a:lnTo>
                    <a:pt x="607" y="2660"/>
                  </a:lnTo>
                  <a:lnTo>
                    <a:pt x="584" y="2632"/>
                  </a:lnTo>
                  <a:lnTo>
                    <a:pt x="561" y="2601"/>
                  </a:lnTo>
                  <a:lnTo>
                    <a:pt x="538" y="2568"/>
                  </a:lnTo>
                  <a:lnTo>
                    <a:pt x="515" y="2532"/>
                  </a:lnTo>
                  <a:lnTo>
                    <a:pt x="491" y="2493"/>
                  </a:lnTo>
                  <a:lnTo>
                    <a:pt x="468" y="2452"/>
                  </a:lnTo>
                  <a:lnTo>
                    <a:pt x="444" y="2409"/>
                  </a:lnTo>
                  <a:lnTo>
                    <a:pt x="419" y="2362"/>
                  </a:lnTo>
                  <a:lnTo>
                    <a:pt x="396" y="2314"/>
                  </a:lnTo>
                  <a:lnTo>
                    <a:pt x="372" y="2264"/>
                  </a:lnTo>
                  <a:lnTo>
                    <a:pt x="349" y="2211"/>
                  </a:lnTo>
                  <a:lnTo>
                    <a:pt x="326" y="2157"/>
                  </a:lnTo>
                  <a:lnTo>
                    <a:pt x="303" y="2100"/>
                  </a:lnTo>
                  <a:lnTo>
                    <a:pt x="280" y="2042"/>
                  </a:lnTo>
                  <a:lnTo>
                    <a:pt x="259" y="1982"/>
                  </a:lnTo>
                  <a:lnTo>
                    <a:pt x="236" y="1920"/>
                  </a:lnTo>
                  <a:lnTo>
                    <a:pt x="215" y="1856"/>
                  </a:lnTo>
                  <a:lnTo>
                    <a:pt x="195" y="1791"/>
                  </a:lnTo>
                  <a:lnTo>
                    <a:pt x="175" y="1725"/>
                  </a:lnTo>
                  <a:lnTo>
                    <a:pt x="157" y="1657"/>
                  </a:lnTo>
                  <a:lnTo>
                    <a:pt x="138" y="1588"/>
                  </a:lnTo>
                  <a:lnTo>
                    <a:pt x="121" y="1518"/>
                  </a:lnTo>
                  <a:lnTo>
                    <a:pt x="104" y="1447"/>
                  </a:lnTo>
                  <a:lnTo>
                    <a:pt x="89" y="1379"/>
                  </a:lnTo>
                  <a:lnTo>
                    <a:pt x="75" y="1312"/>
                  </a:lnTo>
                  <a:lnTo>
                    <a:pt x="62" y="1245"/>
                  </a:lnTo>
                  <a:lnTo>
                    <a:pt x="51" y="1179"/>
                  </a:lnTo>
                  <a:lnTo>
                    <a:pt x="40" y="1114"/>
                  </a:lnTo>
                  <a:lnTo>
                    <a:pt x="31" y="1049"/>
                  </a:lnTo>
                  <a:lnTo>
                    <a:pt x="23" y="985"/>
                  </a:lnTo>
                  <a:lnTo>
                    <a:pt x="17" y="922"/>
                  </a:lnTo>
                  <a:lnTo>
                    <a:pt x="10" y="860"/>
                  </a:lnTo>
                  <a:lnTo>
                    <a:pt x="6" y="801"/>
                  </a:lnTo>
                  <a:lnTo>
                    <a:pt x="3" y="741"/>
                  </a:lnTo>
                  <a:lnTo>
                    <a:pt x="1" y="683"/>
                  </a:lnTo>
                  <a:lnTo>
                    <a:pt x="0" y="627"/>
                  </a:lnTo>
                  <a:lnTo>
                    <a:pt x="0" y="573"/>
                  </a:lnTo>
                  <a:lnTo>
                    <a:pt x="1" y="520"/>
                  </a:lnTo>
                  <a:lnTo>
                    <a:pt x="4" y="470"/>
                  </a:lnTo>
                  <a:lnTo>
                    <a:pt x="7" y="420"/>
                  </a:lnTo>
                  <a:lnTo>
                    <a:pt x="12" y="374"/>
                  </a:lnTo>
                  <a:lnTo>
                    <a:pt x="18" y="330"/>
                  </a:lnTo>
                  <a:lnTo>
                    <a:pt x="25" y="287"/>
                  </a:lnTo>
                  <a:lnTo>
                    <a:pt x="32" y="247"/>
                  </a:lnTo>
                  <a:lnTo>
                    <a:pt x="41" y="210"/>
                  </a:lnTo>
                  <a:lnTo>
                    <a:pt x="52" y="176"/>
                  </a:lnTo>
                  <a:lnTo>
                    <a:pt x="63" y="144"/>
                  </a:lnTo>
                  <a:lnTo>
                    <a:pt x="75" y="115"/>
                  </a:lnTo>
                  <a:lnTo>
                    <a:pt x="89" y="89"/>
                  </a:lnTo>
                  <a:lnTo>
                    <a:pt x="102" y="66"/>
                  </a:lnTo>
                  <a:lnTo>
                    <a:pt x="118" y="46"/>
                  </a:lnTo>
                  <a:lnTo>
                    <a:pt x="134" y="30"/>
                  </a:lnTo>
                  <a:lnTo>
                    <a:pt x="152" y="17"/>
                  </a:lnTo>
                  <a:lnTo>
                    <a:pt x="170" y="8"/>
                  </a:lnTo>
                  <a:lnTo>
                    <a:pt x="190" y="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7" name="Freeform 52"/>
            <p:cNvSpPr>
              <a:spLocks noChangeArrowheads="1"/>
            </p:cNvSpPr>
            <p:nvPr userDrawn="1"/>
          </p:nvSpPr>
          <p:spPr bwMode="auto">
            <a:xfrm>
              <a:off x="7713663" y="5200202"/>
              <a:ext cx="338137" cy="639111"/>
            </a:xfrm>
            <a:custGeom>
              <a:avLst/>
              <a:gdLst>
                <a:gd name="T0" fmla="*/ 584 w 765"/>
                <a:gd name="T1" fmla="*/ 249 h 1149"/>
                <a:gd name="T2" fmla="*/ 203 w 765"/>
                <a:gd name="T3" fmla="*/ 903 h 1149"/>
                <a:gd name="T4" fmla="*/ 765 w 765"/>
                <a:gd name="T5" fmla="*/ 91 h 1149"/>
                <a:gd name="T6" fmla="*/ 722 w 765"/>
                <a:gd name="T7" fmla="*/ 771 h 1149"/>
                <a:gd name="T8" fmla="*/ 718 w 765"/>
                <a:gd name="T9" fmla="*/ 792 h 1149"/>
                <a:gd name="T10" fmla="*/ 709 w 765"/>
                <a:gd name="T11" fmla="*/ 812 h 1149"/>
                <a:gd name="T12" fmla="*/ 696 w 765"/>
                <a:gd name="T13" fmla="*/ 828 h 1149"/>
                <a:gd name="T14" fmla="*/ 678 w 765"/>
                <a:gd name="T15" fmla="*/ 842 h 1149"/>
                <a:gd name="T16" fmla="*/ 127 w 765"/>
                <a:gd name="T17" fmla="*/ 1138 h 1149"/>
                <a:gd name="T18" fmla="*/ 114 w 765"/>
                <a:gd name="T19" fmla="*/ 1145 h 1149"/>
                <a:gd name="T20" fmla="*/ 99 w 765"/>
                <a:gd name="T21" fmla="*/ 1148 h 1149"/>
                <a:gd name="T22" fmla="*/ 85 w 765"/>
                <a:gd name="T23" fmla="*/ 1149 h 1149"/>
                <a:gd name="T24" fmla="*/ 70 w 765"/>
                <a:gd name="T25" fmla="*/ 1148 h 1149"/>
                <a:gd name="T26" fmla="*/ 54 w 765"/>
                <a:gd name="T27" fmla="*/ 1143 h 1149"/>
                <a:gd name="T28" fmla="*/ 38 w 765"/>
                <a:gd name="T29" fmla="*/ 1134 h 1149"/>
                <a:gd name="T30" fmla="*/ 26 w 765"/>
                <a:gd name="T31" fmla="*/ 1124 h 1149"/>
                <a:gd name="T32" fmla="*/ 16 w 765"/>
                <a:gd name="T33" fmla="*/ 1112 h 1149"/>
                <a:gd name="T34" fmla="*/ 8 w 765"/>
                <a:gd name="T35" fmla="*/ 1097 h 1149"/>
                <a:gd name="T36" fmla="*/ 2 w 765"/>
                <a:gd name="T37" fmla="*/ 1082 h 1149"/>
                <a:gd name="T38" fmla="*/ 0 w 765"/>
                <a:gd name="T39" fmla="*/ 1065 h 1149"/>
                <a:gd name="T40" fmla="*/ 2 w 765"/>
                <a:gd name="T41" fmla="*/ 1048 h 1149"/>
                <a:gd name="T42" fmla="*/ 129 w 765"/>
                <a:gd name="T43" fmla="*/ 365 h 1149"/>
                <a:gd name="T44" fmla="*/ 135 w 765"/>
                <a:gd name="T45" fmla="*/ 348 h 1149"/>
                <a:gd name="T46" fmla="*/ 146 w 765"/>
                <a:gd name="T47" fmla="*/ 331 h 1149"/>
                <a:gd name="T48" fmla="*/ 159 w 765"/>
                <a:gd name="T49" fmla="*/ 317 h 1149"/>
                <a:gd name="T50" fmla="*/ 630 w 765"/>
                <a:gd name="T51" fmla="*/ 16 h 1149"/>
                <a:gd name="T52" fmla="*/ 642 w 765"/>
                <a:gd name="T53" fmla="*/ 9 h 1149"/>
                <a:gd name="T54" fmla="*/ 655 w 765"/>
                <a:gd name="T55" fmla="*/ 3 h 1149"/>
                <a:gd name="T56" fmla="*/ 670 w 765"/>
                <a:gd name="T57" fmla="*/ 0 h 1149"/>
                <a:gd name="T58" fmla="*/ 685 w 765"/>
                <a:gd name="T59" fmla="*/ 0 h 1149"/>
                <a:gd name="T60" fmla="*/ 702 w 765"/>
                <a:gd name="T61" fmla="*/ 3 h 1149"/>
                <a:gd name="T62" fmla="*/ 718 w 765"/>
                <a:gd name="T63" fmla="*/ 9 h 1149"/>
                <a:gd name="T64" fmla="*/ 732 w 765"/>
                <a:gd name="T65" fmla="*/ 18 h 1149"/>
                <a:gd name="T66" fmla="*/ 744 w 765"/>
                <a:gd name="T67" fmla="*/ 29 h 1149"/>
                <a:gd name="T68" fmla="*/ 753 w 765"/>
                <a:gd name="T69" fmla="*/ 43 h 1149"/>
                <a:gd name="T70" fmla="*/ 760 w 765"/>
                <a:gd name="T71" fmla="*/ 57 h 1149"/>
                <a:gd name="T72" fmla="*/ 765 w 765"/>
                <a:gd name="T73" fmla="*/ 74 h 1149"/>
                <a:gd name="T74" fmla="*/ 765 w 765"/>
                <a:gd name="T75" fmla="*/ 91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65" h="1149">
                  <a:moveTo>
                    <a:pt x="556" y="713"/>
                  </a:moveTo>
                  <a:lnTo>
                    <a:pt x="584" y="249"/>
                  </a:lnTo>
                  <a:lnTo>
                    <a:pt x="291" y="435"/>
                  </a:lnTo>
                  <a:lnTo>
                    <a:pt x="203" y="903"/>
                  </a:lnTo>
                  <a:lnTo>
                    <a:pt x="556" y="713"/>
                  </a:lnTo>
                  <a:close/>
                  <a:moveTo>
                    <a:pt x="765" y="91"/>
                  </a:moveTo>
                  <a:lnTo>
                    <a:pt x="722" y="771"/>
                  </a:lnTo>
                  <a:lnTo>
                    <a:pt x="720" y="782"/>
                  </a:lnTo>
                  <a:lnTo>
                    <a:pt x="718" y="792"/>
                  </a:lnTo>
                  <a:lnTo>
                    <a:pt x="714" y="802"/>
                  </a:lnTo>
                  <a:lnTo>
                    <a:pt x="709" y="812"/>
                  </a:lnTo>
                  <a:lnTo>
                    <a:pt x="703" y="820"/>
                  </a:lnTo>
                  <a:lnTo>
                    <a:pt x="696" y="828"/>
                  </a:lnTo>
                  <a:lnTo>
                    <a:pt x="687" y="835"/>
                  </a:lnTo>
                  <a:lnTo>
                    <a:pt x="678" y="842"/>
                  </a:lnTo>
                  <a:lnTo>
                    <a:pt x="127" y="1138"/>
                  </a:lnTo>
                  <a:lnTo>
                    <a:pt x="120" y="1142"/>
                  </a:lnTo>
                  <a:lnTo>
                    <a:pt x="114" y="1145"/>
                  </a:lnTo>
                  <a:lnTo>
                    <a:pt x="106" y="1147"/>
                  </a:lnTo>
                  <a:lnTo>
                    <a:pt x="99" y="1148"/>
                  </a:lnTo>
                  <a:lnTo>
                    <a:pt x="92" y="1149"/>
                  </a:lnTo>
                  <a:lnTo>
                    <a:pt x="85" y="1149"/>
                  </a:lnTo>
                  <a:lnTo>
                    <a:pt x="78" y="1149"/>
                  </a:lnTo>
                  <a:lnTo>
                    <a:pt x="70" y="1148"/>
                  </a:lnTo>
                  <a:lnTo>
                    <a:pt x="62" y="1146"/>
                  </a:lnTo>
                  <a:lnTo>
                    <a:pt x="54" y="1143"/>
                  </a:lnTo>
                  <a:lnTo>
                    <a:pt x="46" y="1139"/>
                  </a:lnTo>
                  <a:lnTo>
                    <a:pt x="38" y="1134"/>
                  </a:lnTo>
                  <a:lnTo>
                    <a:pt x="32" y="1130"/>
                  </a:lnTo>
                  <a:lnTo>
                    <a:pt x="26" y="1124"/>
                  </a:lnTo>
                  <a:lnTo>
                    <a:pt x="21" y="1119"/>
                  </a:lnTo>
                  <a:lnTo>
                    <a:pt x="16" y="1112"/>
                  </a:lnTo>
                  <a:lnTo>
                    <a:pt x="12" y="1104"/>
                  </a:lnTo>
                  <a:lnTo>
                    <a:pt x="8" y="1097"/>
                  </a:lnTo>
                  <a:lnTo>
                    <a:pt x="4" y="1090"/>
                  </a:lnTo>
                  <a:lnTo>
                    <a:pt x="2" y="1082"/>
                  </a:lnTo>
                  <a:lnTo>
                    <a:pt x="1" y="1074"/>
                  </a:lnTo>
                  <a:lnTo>
                    <a:pt x="0" y="1065"/>
                  </a:lnTo>
                  <a:lnTo>
                    <a:pt x="1" y="1056"/>
                  </a:lnTo>
                  <a:lnTo>
                    <a:pt x="2" y="1048"/>
                  </a:lnTo>
                  <a:lnTo>
                    <a:pt x="128" y="375"/>
                  </a:lnTo>
                  <a:lnTo>
                    <a:pt x="129" y="365"/>
                  </a:lnTo>
                  <a:lnTo>
                    <a:pt x="132" y="356"/>
                  </a:lnTo>
                  <a:lnTo>
                    <a:pt x="135" y="348"/>
                  </a:lnTo>
                  <a:lnTo>
                    <a:pt x="140" y="339"/>
                  </a:lnTo>
                  <a:lnTo>
                    <a:pt x="146" y="331"/>
                  </a:lnTo>
                  <a:lnTo>
                    <a:pt x="152" y="323"/>
                  </a:lnTo>
                  <a:lnTo>
                    <a:pt x="159" y="317"/>
                  </a:lnTo>
                  <a:lnTo>
                    <a:pt x="168" y="311"/>
                  </a:lnTo>
                  <a:lnTo>
                    <a:pt x="630" y="16"/>
                  </a:lnTo>
                  <a:lnTo>
                    <a:pt x="636" y="13"/>
                  </a:lnTo>
                  <a:lnTo>
                    <a:pt x="642" y="9"/>
                  </a:lnTo>
                  <a:lnTo>
                    <a:pt x="648" y="6"/>
                  </a:lnTo>
                  <a:lnTo>
                    <a:pt x="655" y="3"/>
                  </a:lnTo>
                  <a:lnTo>
                    <a:pt x="663" y="1"/>
                  </a:lnTo>
                  <a:lnTo>
                    <a:pt x="670" y="0"/>
                  </a:lnTo>
                  <a:lnTo>
                    <a:pt x="677" y="0"/>
                  </a:lnTo>
                  <a:lnTo>
                    <a:pt x="685" y="0"/>
                  </a:lnTo>
                  <a:lnTo>
                    <a:pt x="694" y="1"/>
                  </a:lnTo>
                  <a:lnTo>
                    <a:pt x="702" y="3"/>
                  </a:lnTo>
                  <a:lnTo>
                    <a:pt x="710" y="6"/>
                  </a:lnTo>
                  <a:lnTo>
                    <a:pt x="718" y="9"/>
                  </a:lnTo>
                  <a:lnTo>
                    <a:pt x="725" y="14"/>
                  </a:lnTo>
                  <a:lnTo>
                    <a:pt x="732" y="18"/>
                  </a:lnTo>
                  <a:lnTo>
                    <a:pt x="738" y="23"/>
                  </a:lnTo>
                  <a:lnTo>
                    <a:pt x="744" y="29"/>
                  </a:lnTo>
                  <a:lnTo>
                    <a:pt x="749" y="35"/>
                  </a:lnTo>
                  <a:lnTo>
                    <a:pt x="753" y="43"/>
                  </a:lnTo>
                  <a:lnTo>
                    <a:pt x="757" y="50"/>
                  </a:lnTo>
                  <a:lnTo>
                    <a:pt x="760" y="57"/>
                  </a:lnTo>
                  <a:lnTo>
                    <a:pt x="763" y="65"/>
                  </a:lnTo>
                  <a:lnTo>
                    <a:pt x="765" y="74"/>
                  </a:lnTo>
                  <a:lnTo>
                    <a:pt x="765" y="83"/>
                  </a:lnTo>
                  <a:lnTo>
                    <a:pt x="765" y="9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8" name="Freeform 53"/>
            <p:cNvSpPr>
              <a:spLocks noChangeArrowheads="1"/>
            </p:cNvSpPr>
            <p:nvPr userDrawn="1"/>
          </p:nvSpPr>
          <p:spPr bwMode="auto">
            <a:xfrm>
              <a:off x="7748588" y="5244958"/>
              <a:ext cx="266700" cy="549598"/>
            </a:xfrm>
            <a:custGeom>
              <a:avLst/>
              <a:gdLst>
                <a:gd name="T0" fmla="*/ 551 w 594"/>
                <a:gd name="T1" fmla="*/ 679 h 977"/>
                <a:gd name="T2" fmla="*/ 594 w 594"/>
                <a:gd name="T3" fmla="*/ 0 h 977"/>
                <a:gd name="T4" fmla="*/ 128 w 594"/>
                <a:gd name="T5" fmla="*/ 297 h 977"/>
                <a:gd name="T6" fmla="*/ 0 w 594"/>
                <a:gd name="T7" fmla="*/ 977 h 977"/>
                <a:gd name="T8" fmla="*/ 551 w 594"/>
                <a:gd name="T9" fmla="*/ 679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4" h="977">
                  <a:moveTo>
                    <a:pt x="551" y="679"/>
                  </a:moveTo>
                  <a:lnTo>
                    <a:pt x="594" y="0"/>
                  </a:lnTo>
                  <a:lnTo>
                    <a:pt x="128" y="297"/>
                  </a:lnTo>
                  <a:lnTo>
                    <a:pt x="0" y="977"/>
                  </a:lnTo>
                  <a:lnTo>
                    <a:pt x="551" y="6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69" name="Freeform 54"/>
            <p:cNvSpPr>
              <a:spLocks noChangeArrowheads="1"/>
            </p:cNvSpPr>
            <p:nvPr userDrawn="1"/>
          </p:nvSpPr>
          <p:spPr bwMode="auto">
            <a:xfrm>
              <a:off x="3054349" y="833846"/>
              <a:ext cx="1238250" cy="780538"/>
            </a:xfrm>
            <a:custGeom>
              <a:avLst/>
              <a:gdLst>
                <a:gd name="T0" fmla="*/ 92 w 2756"/>
                <a:gd name="T1" fmla="*/ 820 h 1413"/>
                <a:gd name="T2" fmla="*/ 258 w 2756"/>
                <a:gd name="T3" fmla="*/ 678 h 1413"/>
                <a:gd name="T4" fmla="*/ 443 w 2756"/>
                <a:gd name="T5" fmla="*/ 542 h 1413"/>
                <a:gd name="T6" fmla="*/ 660 w 2756"/>
                <a:gd name="T7" fmla="*/ 408 h 1413"/>
                <a:gd name="T8" fmla="*/ 947 w 2756"/>
                <a:gd name="T9" fmla="*/ 265 h 1413"/>
                <a:gd name="T10" fmla="*/ 1255 w 2756"/>
                <a:gd name="T11" fmla="*/ 146 h 1413"/>
                <a:gd name="T12" fmla="*/ 1579 w 2756"/>
                <a:gd name="T13" fmla="*/ 60 h 1413"/>
                <a:gd name="T14" fmla="*/ 1918 w 2756"/>
                <a:gd name="T15" fmla="*/ 10 h 1413"/>
                <a:gd name="T16" fmla="*/ 2265 w 2756"/>
                <a:gd name="T17" fmla="*/ 2 h 1413"/>
                <a:gd name="T18" fmla="*/ 2617 w 2756"/>
                <a:gd name="T19" fmla="*/ 40 h 1413"/>
                <a:gd name="T20" fmla="*/ 2719 w 2756"/>
                <a:gd name="T21" fmla="*/ 67 h 1413"/>
                <a:gd name="T22" fmla="*/ 2746 w 2756"/>
                <a:gd name="T23" fmla="*/ 98 h 1413"/>
                <a:gd name="T24" fmla="*/ 2756 w 2756"/>
                <a:gd name="T25" fmla="*/ 138 h 1413"/>
                <a:gd name="T26" fmla="*/ 2741 w 2756"/>
                <a:gd name="T27" fmla="*/ 186 h 1413"/>
                <a:gd name="T28" fmla="*/ 2696 w 2756"/>
                <a:gd name="T29" fmla="*/ 219 h 1413"/>
                <a:gd name="T30" fmla="*/ 2418 w 2756"/>
                <a:gd name="T31" fmla="*/ 341 h 1413"/>
                <a:gd name="T32" fmla="*/ 1836 w 2756"/>
                <a:gd name="T33" fmla="*/ 633 h 1413"/>
                <a:gd name="T34" fmla="*/ 1204 w 2756"/>
                <a:gd name="T35" fmla="*/ 974 h 1413"/>
                <a:gd name="T36" fmla="*/ 730 w 2756"/>
                <a:gd name="T37" fmla="*/ 1234 h 1413"/>
                <a:gd name="T38" fmla="*/ 469 w 2756"/>
                <a:gd name="T39" fmla="*/ 1378 h 1413"/>
                <a:gd name="T40" fmla="*/ 382 w 2756"/>
                <a:gd name="T41" fmla="*/ 1413 h 1413"/>
                <a:gd name="T42" fmla="*/ 313 w 2756"/>
                <a:gd name="T43" fmla="*/ 1407 h 1413"/>
                <a:gd name="T44" fmla="*/ 250 w 2756"/>
                <a:gd name="T45" fmla="*/ 1384 h 1413"/>
                <a:gd name="T46" fmla="*/ 207 w 2756"/>
                <a:gd name="T47" fmla="*/ 1347 h 1413"/>
                <a:gd name="T48" fmla="*/ 179 w 2756"/>
                <a:gd name="T49" fmla="*/ 1300 h 1413"/>
                <a:gd name="T50" fmla="*/ 155 w 2756"/>
                <a:gd name="T51" fmla="*/ 1196 h 1413"/>
                <a:gd name="T52" fmla="*/ 139 w 2756"/>
                <a:gd name="T53" fmla="*/ 1084 h 1413"/>
                <a:gd name="T54" fmla="*/ 116 w 2756"/>
                <a:gd name="T55" fmla="*/ 1041 h 1413"/>
                <a:gd name="T56" fmla="*/ 76 w 2756"/>
                <a:gd name="T57" fmla="*/ 1031 h 1413"/>
                <a:gd name="T58" fmla="*/ 37 w 2756"/>
                <a:gd name="T59" fmla="*/ 1016 h 1413"/>
                <a:gd name="T60" fmla="*/ 10 w 2756"/>
                <a:gd name="T61" fmla="*/ 986 h 1413"/>
                <a:gd name="T62" fmla="*/ 0 w 2756"/>
                <a:gd name="T63" fmla="*/ 945 h 1413"/>
                <a:gd name="T64" fmla="*/ 10 w 2756"/>
                <a:gd name="T65" fmla="*/ 904 h 1413"/>
                <a:gd name="T66" fmla="*/ 397 w 2756"/>
                <a:gd name="T67" fmla="*/ 786 h 1413"/>
                <a:gd name="T68" fmla="*/ 257 w 2756"/>
                <a:gd name="T69" fmla="*/ 920 h 1413"/>
                <a:gd name="T70" fmla="*/ 291 w 2756"/>
                <a:gd name="T71" fmla="*/ 980 h 1413"/>
                <a:gd name="T72" fmla="*/ 315 w 2756"/>
                <a:gd name="T73" fmla="*/ 1096 h 1413"/>
                <a:gd name="T74" fmla="*/ 331 w 2756"/>
                <a:gd name="T75" fmla="*/ 1198 h 1413"/>
                <a:gd name="T76" fmla="*/ 348 w 2756"/>
                <a:gd name="T77" fmla="*/ 1229 h 1413"/>
                <a:gd name="T78" fmla="*/ 453 w 2756"/>
                <a:gd name="T79" fmla="*/ 1191 h 1413"/>
                <a:gd name="T80" fmla="*/ 710 w 2756"/>
                <a:gd name="T81" fmla="*/ 1050 h 1413"/>
                <a:gd name="T82" fmla="*/ 1158 w 2756"/>
                <a:gd name="T83" fmla="*/ 803 h 1413"/>
                <a:gd name="T84" fmla="*/ 1680 w 2756"/>
                <a:gd name="T85" fmla="*/ 521 h 1413"/>
                <a:gd name="T86" fmla="*/ 2180 w 2756"/>
                <a:gd name="T87" fmla="*/ 266 h 1413"/>
                <a:gd name="T88" fmla="*/ 2189 w 2756"/>
                <a:gd name="T89" fmla="*/ 171 h 1413"/>
                <a:gd name="T90" fmla="*/ 1909 w 2756"/>
                <a:gd name="T91" fmla="*/ 183 h 1413"/>
                <a:gd name="T92" fmla="*/ 1634 w 2756"/>
                <a:gd name="T93" fmla="*/ 224 h 1413"/>
                <a:gd name="T94" fmla="*/ 1368 w 2756"/>
                <a:gd name="T95" fmla="*/ 291 h 1413"/>
                <a:gd name="T96" fmla="*/ 1114 w 2756"/>
                <a:gd name="T97" fmla="*/ 379 h 1413"/>
                <a:gd name="T98" fmla="*/ 874 w 2756"/>
                <a:gd name="T99" fmla="*/ 487 h 1413"/>
                <a:gd name="T100" fmla="*/ 653 w 2756"/>
                <a:gd name="T101" fmla="*/ 610 h 1413"/>
                <a:gd name="T102" fmla="*/ 467 w 2756"/>
                <a:gd name="T103" fmla="*/ 734 h 1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56" h="1413">
                  <a:moveTo>
                    <a:pt x="25" y="884"/>
                  </a:moveTo>
                  <a:lnTo>
                    <a:pt x="26" y="883"/>
                  </a:lnTo>
                  <a:lnTo>
                    <a:pt x="31" y="879"/>
                  </a:lnTo>
                  <a:lnTo>
                    <a:pt x="61" y="850"/>
                  </a:lnTo>
                  <a:lnTo>
                    <a:pt x="92" y="820"/>
                  </a:lnTo>
                  <a:lnTo>
                    <a:pt x="123" y="792"/>
                  </a:lnTo>
                  <a:lnTo>
                    <a:pt x="156" y="763"/>
                  </a:lnTo>
                  <a:lnTo>
                    <a:pt x="189" y="735"/>
                  </a:lnTo>
                  <a:lnTo>
                    <a:pt x="223" y="706"/>
                  </a:lnTo>
                  <a:lnTo>
                    <a:pt x="258" y="678"/>
                  </a:lnTo>
                  <a:lnTo>
                    <a:pt x="293" y="650"/>
                  </a:lnTo>
                  <a:lnTo>
                    <a:pt x="329" y="622"/>
                  </a:lnTo>
                  <a:lnTo>
                    <a:pt x="367" y="596"/>
                  </a:lnTo>
                  <a:lnTo>
                    <a:pt x="405" y="569"/>
                  </a:lnTo>
                  <a:lnTo>
                    <a:pt x="443" y="542"/>
                  </a:lnTo>
                  <a:lnTo>
                    <a:pt x="483" y="515"/>
                  </a:lnTo>
                  <a:lnTo>
                    <a:pt x="523" y="489"/>
                  </a:lnTo>
                  <a:lnTo>
                    <a:pt x="565" y="465"/>
                  </a:lnTo>
                  <a:lnTo>
                    <a:pt x="606" y="439"/>
                  </a:lnTo>
                  <a:lnTo>
                    <a:pt x="660" y="408"/>
                  </a:lnTo>
                  <a:lnTo>
                    <a:pt x="716" y="377"/>
                  </a:lnTo>
                  <a:lnTo>
                    <a:pt x="773" y="347"/>
                  </a:lnTo>
                  <a:lnTo>
                    <a:pt x="829" y="319"/>
                  </a:lnTo>
                  <a:lnTo>
                    <a:pt x="888" y="292"/>
                  </a:lnTo>
                  <a:lnTo>
                    <a:pt x="947" y="265"/>
                  </a:lnTo>
                  <a:lnTo>
                    <a:pt x="1006" y="239"/>
                  </a:lnTo>
                  <a:lnTo>
                    <a:pt x="1067" y="214"/>
                  </a:lnTo>
                  <a:lnTo>
                    <a:pt x="1129" y="191"/>
                  </a:lnTo>
                  <a:lnTo>
                    <a:pt x="1192" y="168"/>
                  </a:lnTo>
                  <a:lnTo>
                    <a:pt x="1255" y="146"/>
                  </a:lnTo>
                  <a:lnTo>
                    <a:pt x="1319" y="127"/>
                  </a:lnTo>
                  <a:lnTo>
                    <a:pt x="1382" y="108"/>
                  </a:lnTo>
                  <a:lnTo>
                    <a:pt x="1447" y="91"/>
                  </a:lnTo>
                  <a:lnTo>
                    <a:pt x="1513" y="75"/>
                  </a:lnTo>
                  <a:lnTo>
                    <a:pt x="1579" y="60"/>
                  </a:lnTo>
                  <a:lnTo>
                    <a:pt x="1646" y="47"/>
                  </a:lnTo>
                  <a:lnTo>
                    <a:pt x="1713" y="36"/>
                  </a:lnTo>
                  <a:lnTo>
                    <a:pt x="1781" y="26"/>
                  </a:lnTo>
                  <a:lnTo>
                    <a:pt x="1849" y="16"/>
                  </a:lnTo>
                  <a:lnTo>
                    <a:pt x="1918" y="10"/>
                  </a:lnTo>
                  <a:lnTo>
                    <a:pt x="1987" y="5"/>
                  </a:lnTo>
                  <a:lnTo>
                    <a:pt x="2056" y="1"/>
                  </a:lnTo>
                  <a:lnTo>
                    <a:pt x="2125" y="0"/>
                  </a:lnTo>
                  <a:lnTo>
                    <a:pt x="2195" y="0"/>
                  </a:lnTo>
                  <a:lnTo>
                    <a:pt x="2265" y="2"/>
                  </a:lnTo>
                  <a:lnTo>
                    <a:pt x="2335" y="5"/>
                  </a:lnTo>
                  <a:lnTo>
                    <a:pt x="2405" y="11"/>
                  </a:lnTo>
                  <a:lnTo>
                    <a:pt x="2476" y="18"/>
                  </a:lnTo>
                  <a:lnTo>
                    <a:pt x="2546" y="28"/>
                  </a:lnTo>
                  <a:lnTo>
                    <a:pt x="2617" y="40"/>
                  </a:lnTo>
                  <a:lnTo>
                    <a:pt x="2688" y="53"/>
                  </a:lnTo>
                  <a:lnTo>
                    <a:pt x="2697" y="55"/>
                  </a:lnTo>
                  <a:lnTo>
                    <a:pt x="2705" y="59"/>
                  </a:lnTo>
                  <a:lnTo>
                    <a:pt x="2712" y="63"/>
                  </a:lnTo>
                  <a:lnTo>
                    <a:pt x="2719" y="67"/>
                  </a:lnTo>
                  <a:lnTo>
                    <a:pt x="2726" y="72"/>
                  </a:lnTo>
                  <a:lnTo>
                    <a:pt x="2732" y="77"/>
                  </a:lnTo>
                  <a:lnTo>
                    <a:pt x="2737" y="83"/>
                  </a:lnTo>
                  <a:lnTo>
                    <a:pt x="2742" y="91"/>
                  </a:lnTo>
                  <a:lnTo>
                    <a:pt x="2746" y="98"/>
                  </a:lnTo>
                  <a:lnTo>
                    <a:pt x="2749" y="105"/>
                  </a:lnTo>
                  <a:lnTo>
                    <a:pt x="2752" y="113"/>
                  </a:lnTo>
                  <a:lnTo>
                    <a:pt x="2754" y="120"/>
                  </a:lnTo>
                  <a:lnTo>
                    <a:pt x="2755" y="129"/>
                  </a:lnTo>
                  <a:lnTo>
                    <a:pt x="2756" y="138"/>
                  </a:lnTo>
                  <a:lnTo>
                    <a:pt x="2755" y="146"/>
                  </a:lnTo>
                  <a:lnTo>
                    <a:pt x="2754" y="154"/>
                  </a:lnTo>
                  <a:lnTo>
                    <a:pt x="2751" y="166"/>
                  </a:lnTo>
                  <a:lnTo>
                    <a:pt x="2746" y="177"/>
                  </a:lnTo>
                  <a:lnTo>
                    <a:pt x="2741" y="186"/>
                  </a:lnTo>
                  <a:lnTo>
                    <a:pt x="2734" y="196"/>
                  </a:lnTo>
                  <a:lnTo>
                    <a:pt x="2726" y="203"/>
                  </a:lnTo>
                  <a:lnTo>
                    <a:pt x="2716" y="210"/>
                  </a:lnTo>
                  <a:lnTo>
                    <a:pt x="2706" y="215"/>
                  </a:lnTo>
                  <a:lnTo>
                    <a:pt x="2696" y="219"/>
                  </a:lnTo>
                  <a:lnTo>
                    <a:pt x="2654" y="236"/>
                  </a:lnTo>
                  <a:lnTo>
                    <a:pt x="2611" y="253"/>
                  </a:lnTo>
                  <a:lnTo>
                    <a:pt x="2565" y="273"/>
                  </a:lnTo>
                  <a:lnTo>
                    <a:pt x="2517" y="295"/>
                  </a:lnTo>
                  <a:lnTo>
                    <a:pt x="2418" y="341"/>
                  </a:lnTo>
                  <a:lnTo>
                    <a:pt x="2310" y="392"/>
                  </a:lnTo>
                  <a:lnTo>
                    <a:pt x="2197" y="447"/>
                  </a:lnTo>
                  <a:lnTo>
                    <a:pt x="2080" y="506"/>
                  </a:lnTo>
                  <a:lnTo>
                    <a:pt x="1959" y="569"/>
                  </a:lnTo>
                  <a:lnTo>
                    <a:pt x="1836" y="633"/>
                  </a:lnTo>
                  <a:lnTo>
                    <a:pt x="1709" y="700"/>
                  </a:lnTo>
                  <a:lnTo>
                    <a:pt x="1582" y="768"/>
                  </a:lnTo>
                  <a:lnTo>
                    <a:pt x="1455" y="837"/>
                  </a:lnTo>
                  <a:lnTo>
                    <a:pt x="1329" y="905"/>
                  </a:lnTo>
                  <a:lnTo>
                    <a:pt x="1204" y="974"/>
                  </a:lnTo>
                  <a:lnTo>
                    <a:pt x="1082" y="1041"/>
                  </a:lnTo>
                  <a:lnTo>
                    <a:pt x="963" y="1106"/>
                  </a:lnTo>
                  <a:lnTo>
                    <a:pt x="849" y="1169"/>
                  </a:lnTo>
                  <a:lnTo>
                    <a:pt x="789" y="1202"/>
                  </a:lnTo>
                  <a:lnTo>
                    <a:pt x="730" y="1234"/>
                  </a:lnTo>
                  <a:lnTo>
                    <a:pt x="674" y="1266"/>
                  </a:lnTo>
                  <a:lnTo>
                    <a:pt x="620" y="1296"/>
                  </a:lnTo>
                  <a:lnTo>
                    <a:pt x="568" y="1324"/>
                  </a:lnTo>
                  <a:lnTo>
                    <a:pt x="517" y="1351"/>
                  </a:lnTo>
                  <a:lnTo>
                    <a:pt x="469" y="1378"/>
                  </a:lnTo>
                  <a:lnTo>
                    <a:pt x="422" y="1403"/>
                  </a:lnTo>
                  <a:lnTo>
                    <a:pt x="413" y="1407"/>
                  </a:lnTo>
                  <a:lnTo>
                    <a:pt x="403" y="1411"/>
                  </a:lnTo>
                  <a:lnTo>
                    <a:pt x="393" y="1413"/>
                  </a:lnTo>
                  <a:lnTo>
                    <a:pt x="382" y="1413"/>
                  </a:lnTo>
                  <a:lnTo>
                    <a:pt x="380" y="1413"/>
                  </a:lnTo>
                  <a:lnTo>
                    <a:pt x="362" y="1413"/>
                  </a:lnTo>
                  <a:lnTo>
                    <a:pt x="344" y="1411"/>
                  </a:lnTo>
                  <a:lnTo>
                    <a:pt x="328" y="1410"/>
                  </a:lnTo>
                  <a:lnTo>
                    <a:pt x="313" y="1407"/>
                  </a:lnTo>
                  <a:lnTo>
                    <a:pt x="299" y="1404"/>
                  </a:lnTo>
                  <a:lnTo>
                    <a:pt x="285" y="1400"/>
                  </a:lnTo>
                  <a:lnTo>
                    <a:pt x="272" y="1395"/>
                  </a:lnTo>
                  <a:lnTo>
                    <a:pt x="261" y="1389"/>
                  </a:lnTo>
                  <a:lnTo>
                    <a:pt x="250" y="1384"/>
                  </a:lnTo>
                  <a:lnTo>
                    <a:pt x="240" y="1378"/>
                  </a:lnTo>
                  <a:lnTo>
                    <a:pt x="231" y="1371"/>
                  </a:lnTo>
                  <a:lnTo>
                    <a:pt x="223" y="1364"/>
                  </a:lnTo>
                  <a:lnTo>
                    <a:pt x="214" y="1355"/>
                  </a:lnTo>
                  <a:lnTo>
                    <a:pt x="207" y="1347"/>
                  </a:lnTo>
                  <a:lnTo>
                    <a:pt x="201" y="1338"/>
                  </a:lnTo>
                  <a:lnTo>
                    <a:pt x="195" y="1329"/>
                  </a:lnTo>
                  <a:lnTo>
                    <a:pt x="189" y="1319"/>
                  </a:lnTo>
                  <a:lnTo>
                    <a:pt x="183" y="1310"/>
                  </a:lnTo>
                  <a:lnTo>
                    <a:pt x="179" y="1300"/>
                  </a:lnTo>
                  <a:lnTo>
                    <a:pt x="175" y="1288"/>
                  </a:lnTo>
                  <a:lnTo>
                    <a:pt x="168" y="1267"/>
                  </a:lnTo>
                  <a:lnTo>
                    <a:pt x="163" y="1244"/>
                  </a:lnTo>
                  <a:lnTo>
                    <a:pt x="159" y="1220"/>
                  </a:lnTo>
                  <a:lnTo>
                    <a:pt x="155" y="1196"/>
                  </a:lnTo>
                  <a:lnTo>
                    <a:pt x="152" y="1171"/>
                  </a:lnTo>
                  <a:lnTo>
                    <a:pt x="150" y="1145"/>
                  </a:lnTo>
                  <a:lnTo>
                    <a:pt x="146" y="1124"/>
                  </a:lnTo>
                  <a:lnTo>
                    <a:pt x="143" y="1104"/>
                  </a:lnTo>
                  <a:lnTo>
                    <a:pt x="139" y="1084"/>
                  </a:lnTo>
                  <a:lnTo>
                    <a:pt x="134" y="1067"/>
                  </a:lnTo>
                  <a:lnTo>
                    <a:pt x="130" y="1058"/>
                  </a:lnTo>
                  <a:lnTo>
                    <a:pt x="126" y="1052"/>
                  </a:lnTo>
                  <a:lnTo>
                    <a:pt x="122" y="1046"/>
                  </a:lnTo>
                  <a:lnTo>
                    <a:pt x="116" y="1041"/>
                  </a:lnTo>
                  <a:lnTo>
                    <a:pt x="109" y="1037"/>
                  </a:lnTo>
                  <a:lnTo>
                    <a:pt x="102" y="1034"/>
                  </a:lnTo>
                  <a:lnTo>
                    <a:pt x="95" y="1032"/>
                  </a:lnTo>
                  <a:lnTo>
                    <a:pt x="86" y="1031"/>
                  </a:lnTo>
                  <a:lnTo>
                    <a:pt x="76" y="1031"/>
                  </a:lnTo>
                  <a:lnTo>
                    <a:pt x="68" y="1029"/>
                  </a:lnTo>
                  <a:lnTo>
                    <a:pt x="60" y="1027"/>
                  </a:lnTo>
                  <a:lnTo>
                    <a:pt x="53" y="1024"/>
                  </a:lnTo>
                  <a:lnTo>
                    <a:pt x="44" y="1020"/>
                  </a:lnTo>
                  <a:lnTo>
                    <a:pt x="37" y="1016"/>
                  </a:lnTo>
                  <a:lnTo>
                    <a:pt x="31" y="1011"/>
                  </a:lnTo>
                  <a:lnTo>
                    <a:pt x="25" y="1006"/>
                  </a:lnTo>
                  <a:lnTo>
                    <a:pt x="20" y="1000"/>
                  </a:lnTo>
                  <a:lnTo>
                    <a:pt x="15" y="994"/>
                  </a:lnTo>
                  <a:lnTo>
                    <a:pt x="10" y="986"/>
                  </a:lnTo>
                  <a:lnTo>
                    <a:pt x="6" y="978"/>
                  </a:lnTo>
                  <a:lnTo>
                    <a:pt x="4" y="971"/>
                  </a:lnTo>
                  <a:lnTo>
                    <a:pt x="2" y="963"/>
                  </a:lnTo>
                  <a:lnTo>
                    <a:pt x="0" y="953"/>
                  </a:lnTo>
                  <a:lnTo>
                    <a:pt x="0" y="945"/>
                  </a:lnTo>
                  <a:lnTo>
                    <a:pt x="0" y="936"/>
                  </a:lnTo>
                  <a:lnTo>
                    <a:pt x="2" y="928"/>
                  </a:lnTo>
                  <a:lnTo>
                    <a:pt x="4" y="919"/>
                  </a:lnTo>
                  <a:lnTo>
                    <a:pt x="6" y="911"/>
                  </a:lnTo>
                  <a:lnTo>
                    <a:pt x="10" y="904"/>
                  </a:lnTo>
                  <a:lnTo>
                    <a:pt x="15" y="897"/>
                  </a:lnTo>
                  <a:lnTo>
                    <a:pt x="20" y="890"/>
                  </a:lnTo>
                  <a:lnTo>
                    <a:pt x="25" y="884"/>
                  </a:lnTo>
                  <a:close/>
                  <a:moveTo>
                    <a:pt x="397" y="786"/>
                  </a:moveTo>
                  <a:lnTo>
                    <a:pt x="358" y="817"/>
                  </a:lnTo>
                  <a:lnTo>
                    <a:pt x="319" y="847"/>
                  </a:lnTo>
                  <a:lnTo>
                    <a:pt x="282" y="879"/>
                  </a:lnTo>
                  <a:lnTo>
                    <a:pt x="247" y="910"/>
                  </a:lnTo>
                  <a:lnTo>
                    <a:pt x="257" y="920"/>
                  </a:lnTo>
                  <a:lnTo>
                    <a:pt x="265" y="931"/>
                  </a:lnTo>
                  <a:lnTo>
                    <a:pt x="273" y="942"/>
                  </a:lnTo>
                  <a:lnTo>
                    <a:pt x="279" y="954"/>
                  </a:lnTo>
                  <a:lnTo>
                    <a:pt x="285" y="967"/>
                  </a:lnTo>
                  <a:lnTo>
                    <a:pt x="291" y="980"/>
                  </a:lnTo>
                  <a:lnTo>
                    <a:pt x="296" y="994"/>
                  </a:lnTo>
                  <a:lnTo>
                    <a:pt x="300" y="1007"/>
                  </a:lnTo>
                  <a:lnTo>
                    <a:pt x="306" y="1036"/>
                  </a:lnTo>
                  <a:lnTo>
                    <a:pt x="311" y="1066"/>
                  </a:lnTo>
                  <a:lnTo>
                    <a:pt x="315" y="1096"/>
                  </a:lnTo>
                  <a:lnTo>
                    <a:pt x="318" y="1127"/>
                  </a:lnTo>
                  <a:lnTo>
                    <a:pt x="320" y="1146"/>
                  </a:lnTo>
                  <a:lnTo>
                    <a:pt x="324" y="1164"/>
                  </a:lnTo>
                  <a:lnTo>
                    <a:pt x="327" y="1181"/>
                  </a:lnTo>
                  <a:lnTo>
                    <a:pt x="331" y="1198"/>
                  </a:lnTo>
                  <a:lnTo>
                    <a:pt x="334" y="1205"/>
                  </a:lnTo>
                  <a:lnTo>
                    <a:pt x="337" y="1212"/>
                  </a:lnTo>
                  <a:lnTo>
                    <a:pt x="340" y="1218"/>
                  </a:lnTo>
                  <a:lnTo>
                    <a:pt x="344" y="1223"/>
                  </a:lnTo>
                  <a:lnTo>
                    <a:pt x="348" y="1229"/>
                  </a:lnTo>
                  <a:lnTo>
                    <a:pt x="353" y="1233"/>
                  </a:lnTo>
                  <a:lnTo>
                    <a:pt x="359" y="1237"/>
                  </a:lnTo>
                  <a:lnTo>
                    <a:pt x="366" y="1239"/>
                  </a:lnTo>
                  <a:lnTo>
                    <a:pt x="408" y="1216"/>
                  </a:lnTo>
                  <a:lnTo>
                    <a:pt x="453" y="1191"/>
                  </a:lnTo>
                  <a:lnTo>
                    <a:pt x="501" y="1166"/>
                  </a:lnTo>
                  <a:lnTo>
                    <a:pt x="550" y="1138"/>
                  </a:lnTo>
                  <a:lnTo>
                    <a:pt x="602" y="1110"/>
                  </a:lnTo>
                  <a:lnTo>
                    <a:pt x="655" y="1080"/>
                  </a:lnTo>
                  <a:lnTo>
                    <a:pt x="710" y="1050"/>
                  </a:lnTo>
                  <a:lnTo>
                    <a:pt x="766" y="1019"/>
                  </a:lnTo>
                  <a:lnTo>
                    <a:pt x="860" y="967"/>
                  </a:lnTo>
                  <a:lnTo>
                    <a:pt x="957" y="914"/>
                  </a:lnTo>
                  <a:lnTo>
                    <a:pt x="1056" y="859"/>
                  </a:lnTo>
                  <a:lnTo>
                    <a:pt x="1158" y="803"/>
                  </a:lnTo>
                  <a:lnTo>
                    <a:pt x="1261" y="747"/>
                  </a:lnTo>
                  <a:lnTo>
                    <a:pt x="1365" y="690"/>
                  </a:lnTo>
                  <a:lnTo>
                    <a:pt x="1470" y="634"/>
                  </a:lnTo>
                  <a:lnTo>
                    <a:pt x="1575" y="577"/>
                  </a:lnTo>
                  <a:lnTo>
                    <a:pt x="1680" y="521"/>
                  </a:lnTo>
                  <a:lnTo>
                    <a:pt x="1783" y="467"/>
                  </a:lnTo>
                  <a:lnTo>
                    <a:pt x="1885" y="414"/>
                  </a:lnTo>
                  <a:lnTo>
                    <a:pt x="1986" y="363"/>
                  </a:lnTo>
                  <a:lnTo>
                    <a:pt x="2084" y="313"/>
                  </a:lnTo>
                  <a:lnTo>
                    <a:pt x="2180" y="266"/>
                  </a:lnTo>
                  <a:lnTo>
                    <a:pt x="2271" y="220"/>
                  </a:lnTo>
                  <a:lnTo>
                    <a:pt x="2360" y="179"/>
                  </a:lnTo>
                  <a:lnTo>
                    <a:pt x="2303" y="175"/>
                  </a:lnTo>
                  <a:lnTo>
                    <a:pt x="2246" y="172"/>
                  </a:lnTo>
                  <a:lnTo>
                    <a:pt x="2189" y="171"/>
                  </a:lnTo>
                  <a:lnTo>
                    <a:pt x="2132" y="171"/>
                  </a:lnTo>
                  <a:lnTo>
                    <a:pt x="2077" y="172"/>
                  </a:lnTo>
                  <a:lnTo>
                    <a:pt x="2020" y="175"/>
                  </a:lnTo>
                  <a:lnTo>
                    <a:pt x="1964" y="178"/>
                  </a:lnTo>
                  <a:lnTo>
                    <a:pt x="1909" y="183"/>
                  </a:lnTo>
                  <a:lnTo>
                    <a:pt x="1853" y="189"/>
                  </a:lnTo>
                  <a:lnTo>
                    <a:pt x="1798" y="196"/>
                  </a:lnTo>
                  <a:lnTo>
                    <a:pt x="1743" y="204"/>
                  </a:lnTo>
                  <a:lnTo>
                    <a:pt x="1688" y="213"/>
                  </a:lnTo>
                  <a:lnTo>
                    <a:pt x="1634" y="224"/>
                  </a:lnTo>
                  <a:lnTo>
                    <a:pt x="1580" y="235"/>
                  </a:lnTo>
                  <a:lnTo>
                    <a:pt x="1527" y="247"/>
                  </a:lnTo>
                  <a:lnTo>
                    <a:pt x="1473" y="261"/>
                  </a:lnTo>
                  <a:lnTo>
                    <a:pt x="1421" y="275"/>
                  </a:lnTo>
                  <a:lnTo>
                    <a:pt x="1368" y="291"/>
                  </a:lnTo>
                  <a:lnTo>
                    <a:pt x="1316" y="306"/>
                  </a:lnTo>
                  <a:lnTo>
                    <a:pt x="1265" y="323"/>
                  </a:lnTo>
                  <a:lnTo>
                    <a:pt x="1213" y="341"/>
                  </a:lnTo>
                  <a:lnTo>
                    <a:pt x="1164" y="360"/>
                  </a:lnTo>
                  <a:lnTo>
                    <a:pt x="1114" y="379"/>
                  </a:lnTo>
                  <a:lnTo>
                    <a:pt x="1064" y="400"/>
                  </a:lnTo>
                  <a:lnTo>
                    <a:pt x="1016" y="420"/>
                  </a:lnTo>
                  <a:lnTo>
                    <a:pt x="967" y="442"/>
                  </a:lnTo>
                  <a:lnTo>
                    <a:pt x="920" y="465"/>
                  </a:lnTo>
                  <a:lnTo>
                    <a:pt x="874" y="487"/>
                  </a:lnTo>
                  <a:lnTo>
                    <a:pt x="827" y="512"/>
                  </a:lnTo>
                  <a:lnTo>
                    <a:pt x="781" y="536"/>
                  </a:lnTo>
                  <a:lnTo>
                    <a:pt x="737" y="561"/>
                  </a:lnTo>
                  <a:lnTo>
                    <a:pt x="692" y="586"/>
                  </a:lnTo>
                  <a:lnTo>
                    <a:pt x="653" y="610"/>
                  </a:lnTo>
                  <a:lnTo>
                    <a:pt x="615" y="634"/>
                  </a:lnTo>
                  <a:lnTo>
                    <a:pt x="577" y="659"/>
                  </a:lnTo>
                  <a:lnTo>
                    <a:pt x="540" y="683"/>
                  </a:lnTo>
                  <a:lnTo>
                    <a:pt x="503" y="708"/>
                  </a:lnTo>
                  <a:lnTo>
                    <a:pt x="467" y="734"/>
                  </a:lnTo>
                  <a:lnTo>
                    <a:pt x="431" y="761"/>
                  </a:lnTo>
                  <a:lnTo>
                    <a:pt x="397" y="7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0" name="Freeform 55"/>
            <p:cNvSpPr>
              <a:spLocks noChangeArrowheads="1"/>
            </p:cNvSpPr>
            <p:nvPr userDrawn="1"/>
          </p:nvSpPr>
          <p:spPr bwMode="auto">
            <a:xfrm>
              <a:off x="3098799" y="878601"/>
              <a:ext cx="1158875" cy="691027"/>
            </a:xfrm>
            <a:custGeom>
              <a:avLst/>
              <a:gdLst>
                <a:gd name="T0" fmla="*/ 52 w 2585"/>
                <a:gd name="T1" fmla="*/ 809 h 1243"/>
                <a:gd name="T2" fmla="*/ 167 w 2585"/>
                <a:gd name="T3" fmla="*/ 708 h 1243"/>
                <a:gd name="T4" fmla="*/ 290 w 2585"/>
                <a:gd name="T5" fmla="*/ 610 h 1243"/>
                <a:gd name="T6" fmla="*/ 423 w 2585"/>
                <a:gd name="T7" fmla="*/ 516 h 1243"/>
                <a:gd name="T8" fmla="*/ 565 w 2585"/>
                <a:gd name="T9" fmla="*/ 427 h 1243"/>
                <a:gd name="T10" fmla="*/ 713 w 2585"/>
                <a:gd name="T11" fmla="*/ 345 h 1243"/>
                <a:gd name="T12" fmla="*/ 870 w 2585"/>
                <a:gd name="T13" fmla="*/ 268 h 1243"/>
                <a:gd name="T14" fmla="*/ 1034 w 2585"/>
                <a:gd name="T15" fmla="*/ 200 h 1243"/>
                <a:gd name="T16" fmla="*/ 1203 w 2585"/>
                <a:gd name="T17" fmla="*/ 141 h 1243"/>
                <a:gd name="T18" fmla="*/ 1377 w 2585"/>
                <a:gd name="T19" fmla="*/ 90 h 1243"/>
                <a:gd name="T20" fmla="*/ 1555 w 2585"/>
                <a:gd name="T21" fmla="*/ 50 h 1243"/>
                <a:gd name="T22" fmla="*/ 1737 w 2585"/>
                <a:gd name="T23" fmla="*/ 21 h 1243"/>
                <a:gd name="T24" fmla="*/ 1923 w 2585"/>
                <a:gd name="T25" fmla="*/ 4 h 1243"/>
                <a:gd name="T26" fmla="*/ 2110 w 2585"/>
                <a:gd name="T27" fmla="*/ 0 h 1243"/>
                <a:gd name="T28" fmla="*/ 2299 w 2585"/>
                <a:gd name="T29" fmla="*/ 10 h 1243"/>
                <a:gd name="T30" fmla="*/ 2489 w 2585"/>
                <a:gd name="T31" fmla="*/ 34 h 1243"/>
                <a:gd name="T32" fmla="*/ 2531 w 2585"/>
                <a:gd name="T33" fmla="*/ 74 h 1243"/>
                <a:gd name="T34" fmla="*/ 2414 w 2585"/>
                <a:gd name="T35" fmla="*/ 124 h 1243"/>
                <a:gd name="T36" fmla="*/ 2285 w 2585"/>
                <a:gd name="T37" fmla="*/ 183 h 1243"/>
                <a:gd name="T38" fmla="*/ 2145 w 2585"/>
                <a:gd name="T39" fmla="*/ 250 h 1243"/>
                <a:gd name="T40" fmla="*/ 1921 w 2585"/>
                <a:gd name="T41" fmla="*/ 362 h 1243"/>
                <a:gd name="T42" fmla="*/ 1603 w 2585"/>
                <a:gd name="T43" fmla="*/ 528 h 1243"/>
                <a:gd name="T44" fmla="*/ 1278 w 2585"/>
                <a:gd name="T45" fmla="*/ 703 h 1243"/>
                <a:gd name="T46" fmla="*/ 961 w 2585"/>
                <a:gd name="T47" fmla="*/ 878 h 1243"/>
                <a:gd name="T48" fmla="*/ 665 w 2585"/>
                <a:gd name="T49" fmla="*/ 1040 h 1243"/>
                <a:gd name="T50" fmla="*/ 406 w 2585"/>
                <a:gd name="T51" fmla="*/ 1183 h 1243"/>
                <a:gd name="T52" fmla="*/ 274 w 2585"/>
                <a:gd name="T53" fmla="*/ 1242 h 1243"/>
                <a:gd name="T54" fmla="*/ 237 w 2585"/>
                <a:gd name="T55" fmla="*/ 1233 h 1243"/>
                <a:gd name="T56" fmla="*/ 208 w 2585"/>
                <a:gd name="T57" fmla="*/ 1218 h 1243"/>
                <a:gd name="T58" fmla="*/ 186 w 2585"/>
                <a:gd name="T59" fmla="*/ 1195 h 1243"/>
                <a:gd name="T60" fmla="*/ 172 w 2585"/>
                <a:gd name="T61" fmla="*/ 1168 h 1243"/>
                <a:gd name="T62" fmla="*/ 161 w 2585"/>
                <a:gd name="T63" fmla="*/ 1138 h 1243"/>
                <a:gd name="T64" fmla="*/ 152 w 2585"/>
                <a:gd name="T65" fmla="*/ 1087 h 1243"/>
                <a:gd name="T66" fmla="*/ 144 w 2585"/>
                <a:gd name="T67" fmla="*/ 1016 h 1243"/>
                <a:gd name="T68" fmla="*/ 135 w 2585"/>
                <a:gd name="T69" fmla="*/ 964 h 1243"/>
                <a:gd name="T70" fmla="*/ 124 w 2585"/>
                <a:gd name="T71" fmla="*/ 934 h 1243"/>
                <a:gd name="T72" fmla="*/ 109 w 2585"/>
                <a:gd name="T73" fmla="*/ 906 h 1243"/>
                <a:gd name="T74" fmla="*/ 88 w 2585"/>
                <a:gd name="T75" fmla="*/ 885 h 1243"/>
                <a:gd name="T76" fmla="*/ 59 w 2585"/>
                <a:gd name="T77" fmla="*/ 869 h 1243"/>
                <a:gd name="T78" fmla="*/ 22 w 2585"/>
                <a:gd name="T79" fmla="*/ 861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85" h="1243">
                  <a:moveTo>
                    <a:pt x="0" y="860"/>
                  </a:moveTo>
                  <a:lnTo>
                    <a:pt x="52" y="809"/>
                  </a:lnTo>
                  <a:lnTo>
                    <a:pt x="108" y="758"/>
                  </a:lnTo>
                  <a:lnTo>
                    <a:pt x="167" y="708"/>
                  </a:lnTo>
                  <a:lnTo>
                    <a:pt x="227" y="658"/>
                  </a:lnTo>
                  <a:lnTo>
                    <a:pt x="290" y="610"/>
                  </a:lnTo>
                  <a:lnTo>
                    <a:pt x="355" y="562"/>
                  </a:lnTo>
                  <a:lnTo>
                    <a:pt x="423" y="516"/>
                  </a:lnTo>
                  <a:lnTo>
                    <a:pt x="493" y="470"/>
                  </a:lnTo>
                  <a:lnTo>
                    <a:pt x="565" y="427"/>
                  </a:lnTo>
                  <a:lnTo>
                    <a:pt x="638" y="385"/>
                  </a:lnTo>
                  <a:lnTo>
                    <a:pt x="713" y="345"/>
                  </a:lnTo>
                  <a:lnTo>
                    <a:pt x="792" y="306"/>
                  </a:lnTo>
                  <a:lnTo>
                    <a:pt x="870" y="268"/>
                  </a:lnTo>
                  <a:lnTo>
                    <a:pt x="951" y="233"/>
                  </a:lnTo>
                  <a:lnTo>
                    <a:pt x="1034" y="200"/>
                  </a:lnTo>
                  <a:lnTo>
                    <a:pt x="1117" y="169"/>
                  </a:lnTo>
                  <a:lnTo>
                    <a:pt x="1203" y="141"/>
                  </a:lnTo>
                  <a:lnTo>
                    <a:pt x="1289" y="114"/>
                  </a:lnTo>
                  <a:lnTo>
                    <a:pt x="1377" y="90"/>
                  </a:lnTo>
                  <a:lnTo>
                    <a:pt x="1465" y="68"/>
                  </a:lnTo>
                  <a:lnTo>
                    <a:pt x="1555" y="50"/>
                  </a:lnTo>
                  <a:lnTo>
                    <a:pt x="1646" y="34"/>
                  </a:lnTo>
                  <a:lnTo>
                    <a:pt x="1737" y="21"/>
                  </a:lnTo>
                  <a:lnTo>
                    <a:pt x="1829" y="11"/>
                  </a:lnTo>
                  <a:lnTo>
                    <a:pt x="1923" y="4"/>
                  </a:lnTo>
                  <a:lnTo>
                    <a:pt x="2015" y="0"/>
                  </a:lnTo>
                  <a:lnTo>
                    <a:pt x="2110" y="0"/>
                  </a:lnTo>
                  <a:lnTo>
                    <a:pt x="2204" y="3"/>
                  </a:lnTo>
                  <a:lnTo>
                    <a:pt x="2299" y="10"/>
                  </a:lnTo>
                  <a:lnTo>
                    <a:pt x="2394" y="20"/>
                  </a:lnTo>
                  <a:lnTo>
                    <a:pt x="2489" y="34"/>
                  </a:lnTo>
                  <a:lnTo>
                    <a:pt x="2585" y="52"/>
                  </a:lnTo>
                  <a:lnTo>
                    <a:pt x="2531" y="74"/>
                  </a:lnTo>
                  <a:lnTo>
                    <a:pt x="2475" y="97"/>
                  </a:lnTo>
                  <a:lnTo>
                    <a:pt x="2414" y="124"/>
                  </a:lnTo>
                  <a:lnTo>
                    <a:pt x="2351" y="152"/>
                  </a:lnTo>
                  <a:lnTo>
                    <a:pt x="2285" y="183"/>
                  </a:lnTo>
                  <a:lnTo>
                    <a:pt x="2216" y="216"/>
                  </a:lnTo>
                  <a:lnTo>
                    <a:pt x="2145" y="250"/>
                  </a:lnTo>
                  <a:lnTo>
                    <a:pt x="2072" y="286"/>
                  </a:lnTo>
                  <a:lnTo>
                    <a:pt x="1921" y="362"/>
                  </a:lnTo>
                  <a:lnTo>
                    <a:pt x="1764" y="444"/>
                  </a:lnTo>
                  <a:lnTo>
                    <a:pt x="1603" y="528"/>
                  </a:lnTo>
                  <a:lnTo>
                    <a:pt x="1441" y="616"/>
                  </a:lnTo>
                  <a:lnTo>
                    <a:pt x="1278" y="703"/>
                  </a:lnTo>
                  <a:lnTo>
                    <a:pt x="1117" y="791"/>
                  </a:lnTo>
                  <a:lnTo>
                    <a:pt x="961" y="878"/>
                  </a:lnTo>
                  <a:lnTo>
                    <a:pt x="809" y="961"/>
                  </a:lnTo>
                  <a:lnTo>
                    <a:pt x="665" y="1040"/>
                  </a:lnTo>
                  <a:lnTo>
                    <a:pt x="530" y="1115"/>
                  </a:lnTo>
                  <a:lnTo>
                    <a:pt x="406" y="1183"/>
                  </a:lnTo>
                  <a:lnTo>
                    <a:pt x="296" y="1243"/>
                  </a:lnTo>
                  <a:lnTo>
                    <a:pt x="274" y="1242"/>
                  </a:lnTo>
                  <a:lnTo>
                    <a:pt x="254" y="1238"/>
                  </a:lnTo>
                  <a:lnTo>
                    <a:pt x="237" y="1233"/>
                  </a:lnTo>
                  <a:lnTo>
                    <a:pt x="221" y="1226"/>
                  </a:lnTo>
                  <a:lnTo>
                    <a:pt x="208" y="1218"/>
                  </a:lnTo>
                  <a:lnTo>
                    <a:pt x="196" y="1207"/>
                  </a:lnTo>
                  <a:lnTo>
                    <a:pt x="186" y="1195"/>
                  </a:lnTo>
                  <a:lnTo>
                    <a:pt x="178" y="1183"/>
                  </a:lnTo>
                  <a:lnTo>
                    <a:pt x="172" y="1168"/>
                  </a:lnTo>
                  <a:lnTo>
                    <a:pt x="165" y="1154"/>
                  </a:lnTo>
                  <a:lnTo>
                    <a:pt x="161" y="1138"/>
                  </a:lnTo>
                  <a:lnTo>
                    <a:pt x="157" y="1122"/>
                  </a:lnTo>
                  <a:lnTo>
                    <a:pt x="152" y="1087"/>
                  </a:lnTo>
                  <a:lnTo>
                    <a:pt x="148" y="1051"/>
                  </a:lnTo>
                  <a:lnTo>
                    <a:pt x="144" y="1016"/>
                  </a:lnTo>
                  <a:lnTo>
                    <a:pt x="138" y="981"/>
                  </a:lnTo>
                  <a:lnTo>
                    <a:pt x="135" y="964"/>
                  </a:lnTo>
                  <a:lnTo>
                    <a:pt x="129" y="949"/>
                  </a:lnTo>
                  <a:lnTo>
                    <a:pt x="124" y="934"/>
                  </a:lnTo>
                  <a:lnTo>
                    <a:pt x="117" y="920"/>
                  </a:lnTo>
                  <a:lnTo>
                    <a:pt x="109" y="906"/>
                  </a:lnTo>
                  <a:lnTo>
                    <a:pt x="100" y="895"/>
                  </a:lnTo>
                  <a:lnTo>
                    <a:pt x="88" y="885"/>
                  </a:lnTo>
                  <a:lnTo>
                    <a:pt x="75" y="877"/>
                  </a:lnTo>
                  <a:lnTo>
                    <a:pt x="59" y="869"/>
                  </a:lnTo>
                  <a:lnTo>
                    <a:pt x="42" y="864"/>
                  </a:lnTo>
                  <a:lnTo>
                    <a:pt x="22" y="861"/>
                  </a:lnTo>
                  <a:lnTo>
                    <a:pt x="0" y="8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1" name="Freeform 56"/>
            <p:cNvSpPr>
              <a:spLocks noChangeArrowheads="1"/>
            </p:cNvSpPr>
            <p:nvPr userDrawn="1"/>
          </p:nvSpPr>
          <p:spPr bwMode="auto">
            <a:xfrm>
              <a:off x="1774824" y="6336995"/>
              <a:ext cx="79375" cy="44755"/>
            </a:xfrm>
            <a:custGeom>
              <a:avLst/>
              <a:gdLst>
                <a:gd name="T0" fmla="*/ 0 w 180"/>
                <a:gd name="T1" fmla="*/ 86 h 86"/>
                <a:gd name="T2" fmla="*/ 22 w 180"/>
                <a:gd name="T3" fmla="*/ 45 h 86"/>
                <a:gd name="T4" fmla="*/ 26 w 180"/>
                <a:gd name="T5" fmla="*/ 38 h 86"/>
                <a:gd name="T6" fmla="*/ 31 w 180"/>
                <a:gd name="T7" fmla="*/ 30 h 86"/>
                <a:gd name="T8" fmla="*/ 37 w 180"/>
                <a:gd name="T9" fmla="*/ 25 h 86"/>
                <a:gd name="T10" fmla="*/ 43 w 180"/>
                <a:gd name="T11" fmla="*/ 19 h 86"/>
                <a:gd name="T12" fmla="*/ 51 w 180"/>
                <a:gd name="T13" fmla="*/ 15 h 86"/>
                <a:gd name="T14" fmla="*/ 58 w 180"/>
                <a:gd name="T15" fmla="*/ 11 h 86"/>
                <a:gd name="T16" fmla="*/ 65 w 180"/>
                <a:gd name="T17" fmla="*/ 7 h 86"/>
                <a:gd name="T18" fmla="*/ 72 w 180"/>
                <a:gd name="T19" fmla="*/ 5 h 86"/>
                <a:gd name="T20" fmla="*/ 80 w 180"/>
                <a:gd name="T21" fmla="*/ 3 h 86"/>
                <a:gd name="T22" fmla="*/ 89 w 180"/>
                <a:gd name="T23" fmla="*/ 1 h 86"/>
                <a:gd name="T24" fmla="*/ 97 w 180"/>
                <a:gd name="T25" fmla="*/ 0 h 86"/>
                <a:gd name="T26" fmla="*/ 105 w 180"/>
                <a:gd name="T27" fmla="*/ 1 h 86"/>
                <a:gd name="T28" fmla="*/ 113 w 180"/>
                <a:gd name="T29" fmla="*/ 3 h 86"/>
                <a:gd name="T30" fmla="*/ 121 w 180"/>
                <a:gd name="T31" fmla="*/ 5 h 86"/>
                <a:gd name="T32" fmla="*/ 129 w 180"/>
                <a:gd name="T33" fmla="*/ 8 h 86"/>
                <a:gd name="T34" fmla="*/ 137 w 180"/>
                <a:gd name="T35" fmla="*/ 11 h 86"/>
                <a:gd name="T36" fmla="*/ 146 w 180"/>
                <a:gd name="T37" fmla="*/ 18 h 86"/>
                <a:gd name="T38" fmla="*/ 156 w 180"/>
                <a:gd name="T39" fmla="*/ 25 h 86"/>
                <a:gd name="T40" fmla="*/ 163 w 180"/>
                <a:gd name="T41" fmla="*/ 33 h 86"/>
                <a:gd name="T42" fmla="*/ 169 w 180"/>
                <a:gd name="T43" fmla="*/ 43 h 86"/>
                <a:gd name="T44" fmla="*/ 174 w 180"/>
                <a:gd name="T45" fmla="*/ 53 h 86"/>
                <a:gd name="T46" fmla="*/ 177 w 180"/>
                <a:gd name="T47" fmla="*/ 64 h 86"/>
                <a:gd name="T48" fmla="*/ 179 w 180"/>
                <a:gd name="T49" fmla="*/ 75 h 86"/>
                <a:gd name="T50" fmla="*/ 180 w 180"/>
                <a:gd name="T51" fmla="*/ 86 h 86"/>
                <a:gd name="T52" fmla="*/ 0 w 180"/>
                <a:gd name="T5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0" h="86">
                  <a:moveTo>
                    <a:pt x="0" y="86"/>
                  </a:moveTo>
                  <a:lnTo>
                    <a:pt x="22" y="45"/>
                  </a:lnTo>
                  <a:lnTo>
                    <a:pt x="26" y="38"/>
                  </a:lnTo>
                  <a:lnTo>
                    <a:pt x="31" y="30"/>
                  </a:lnTo>
                  <a:lnTo>
                    <a:pt x="37" y="25"/>
                  </a:lnTo>
                  <a:lnTo>
                    <a:pt x="43" y="19"/>
                  </a:lnTo>
                  <a:lnTo>
                    <a:pt x="51" y="15"/>
                  </a:lnTo>
                  <a:lnTo>
                    <a:pt x="58" y="11"/>
                  </a:lnTo>
                  <a:lnTo>
                    <a:pt x="65" y="7"/>
                  </a:lnTo>
                  <a:lnTo>
                    <a:pt x="72" y="5"/>
                  </a:lnTo>
                  <a:lnTo>
                    <a:pt x="80" y="3"/>
                  </a:lnTo>
                  <a:lnTo>
                    <a:pt x="89" y="1"/>
                  </a:lnTo>
                  <a:lnTo>
                    <a:pt x="97" y="0"/>
                  </a:lnTo>
                  <a:lnTo>
                    <a:pt x="105" y="1"/>
                  </a:lnTo>
                  <a:lnTo>
                    <a:pt x="113" y="3"/>
                  </a:lnTo>
                  <a:lnTo>
                    <a:pt x="121" y="5"/>
                  </a:lnTo>
                  <a:lnTo>
                    <a:pt x="129" y="8"/>
                  </a:lnTo>
                  <a:lnTo>
                    <a:pt x="137" y="11"/>
                  </a:lnTo>
                  <a:lnTo>
                    <a:pt x="146" y="18"/>
                  </a:lnTo>
                  <a:lnTo>
                    <a:pt x="156" y="25"/>
                  </a:lnTo>
                  <a:lnTo>
                    <a:pt x="163" y="33"/>
                  </a:lnTo>
                  <a:lnTo>
                    <a:pt x="169" y="43"/>
                  </a:lnTo>
                  <a:lnTo>
                    <a:pt x="174" y="53"/>
                  </a:lnTo>
                  <a:lnTo>
                    <a:pt x="177" y="64"/>
                  </a:lnTo>
                  <a:lnTo>
                    <a:pt x="179" y="75"/>
                  </a:lnTo>
                  <a:lnTo>
                    <a:pt x="18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2" name="Freeform 57"/>
            <p:cNvSpPr>
              <a:spLocks noChangeArrowheads="1"/>
            </p:cNvSpPr>
            <p:nvPr userDrawn="1"/>
          </p:nvSpPr>
          <p:spPr bwMode="auto">
            <a:xfrm>
              <a:off x="1198562" y="5626275"/>
              <a:ext cx="409575" cy="753685"/>
            </a:xfrm>
            <a:custGeom>
              <a:avLst/>
              <a:gdLst>
                <a:gd name="T0" fmla="*/ 23 w 903"/>
                <a:gd name="T1" fmla="*/ 1267 h 1361"/>
                <a:gd name="T2" fmla="*/ 64 w 903"/>
                <a:gd name="T3" fmla="*/ 1128 h 1361"/>
                <a:gd name="T4" fmla="*/ 112 w 903"/>
                <a:gd name="T5" fmla="*/ 992 h 1361"/>
                <a:gd name="T6" fmla="*/ 170 w 903"/>
                <a:gd name="T7" fmla="*/ 859 h 1361"/>
                <a:gd name="T8" fmla="*/ 234 w 903"/>
                <a:gd name="T9" fmla="*/ 729 h 1361"/>
                <a:gd name="T10" fmla="*/ 306 w 903"/>
                <a:gd name="T11" fmla="*/ 602 h 1361"/>
                <a:gd name="T12" fmla="*/ 384 w 903"/>
                <a:gd name="T13" fmla="*/ 480 h 1361"/>
                <a:gd name="T14" fmla="*/ 469 w 903"/>
                <a:gd name="T15" fmla="*/ 360 h 1361"/>
                <a:gd name="T16" fmla="*/ 560 w 903"/>
                <a:gd name="T17" fmla="*/ 245 h 1361"/>
                <a:gd name="T18" fmla="*/ 657 w 903"/>
                <a:gd name="T19" fmla="*/ 133 h 1361"/>
                <a:gd name="T20" fmla="*/ 759 w 903"/>
                <a:gd name="T21" fmla="*/ 26 h 1361"/>
                <a:gd name="T22" fmla="*/ 780 w 903"/>
                <a:gd name="T23" fmla="*/ 11 h 1361"/>
                <a:gd name="T24" fmla="*/ 803 w 903"/>
                <a:gd name="T25" fmla="*/ 2 h 1361"/>
                <a:gd name="T26" fmla="*/ 827 w 903"/>
                <a:gd name="T27" fmla="*/ 1 h 1361"/>
                <a:gd name="T28" fmla="*/ 851 w 903"/>
                <a:gd name="T29" fmla="*/ 6 h 1361"/>
                <a:gd name="T30" fmla="*/ 872 w 903"/>
                <a:gd name="T31" fmla="*/ 20 h 1361"/>
                <a:gd name="T32" fmla="*/ 892 w 903"/>
                <a:gd name="T33" fmla="*/ 42 h 1361"/>
                <a:gd name="T34" fmla="*/ 902 w 903"/>
                <a:gd name="T35" fmla="*/ 70 h 1361"/>
                <a:gd name="T36" fmla="*/ 902 w 903"/>
                <a:gd name="T37" fmla="*/ 99 h 1361"/>
                <a:gd name="T38" fmla="*/ 881 w 903"/>
                <a:gd name="T39" fmla="*/ 239 h 1361"/>
                <a:gd name="T40" fmla="*/ 856 w 903"/>
                <a:gd name="T41" fmla="*/ 445 h 1361"/>
                <a:gd name="T42" fmla="*/ 838 w 903"/>
                <a:gd name="T43" fmla="*/ 646 h 1361"/>
                <a:gd name="T44" fmla="*/ 829 w 903"/>
                <a:gd name="T45" fmla="*/ 846 h 1361"/>
                <a:gd name="T46" fmla="*/ 827 w 903"/>
                <a:gd name="T47" fmla="*/ 1045 h 1361"/>
                <a:gd name="T48" fmla="*/ 830 w 903"/>
                <a:gd name="T49" fmla="*/ 1200 h 1361"/>
                <a:gd name="T50" fmla="*/ 832 w 903"/>
                <a:gd name="T51" fmla="*/ 1269 h 1361"/>
                <a:gd name="T52" fmla="*/ 835 w 903"/>
                <a:gd name="T53" fmla="*/ 1338 h 1361"/>
                <a:gd name="T54" fmla="*/ 667 w 903"/>
                <a:gd name="T55" fmla="*/ 1361 h 1361"/>
                <a:gd name="T56" fmla="*/ 0 w 903"/>
                <a:gd name="T57" fmla="*/ 1361 h 1361"/>
                <a:gd name="T58" fmla="*/ 606 w 903"/>
                <a:gd name="T59" fmla="*/ 460 h 1361"/>
                <a:gd name="T60" fmla="*/ 502 w 903"/>
                <a:gd name="T61" fmla="*/ 608 h 1361"/>
                <a:gd name="T62" fmla="*/ 444 w 903"/>
                <a:gd name="T63" fmla="*/ 700 h 1361"/>
                <a:gd name="T64" fmla="*/ 391 w 903"/>
                <a:gd name="T65" fmla="*/ 794 h 1361"/>
                <a:gd name="T66" fmla="*/ 342 w 903"/>
                <a:gd name="T67" fmla="*/ 890 h 1361"/>
                <a:gd name="T68" fmla="*/ 298 w 903"/>
                <a:gd name="T69" fmla="*/ 988 h 1361"/>
                <a:gd name="T70" fmla="*/ 258 w 903"/>
                <a:gd name="T71" fmla="*/ 1087 h 1361"/>
                <a:gd name="T72" fmla="*/ 221 w 903"/>
                <a:gd name="T73" fmla="*/ 1189 h 1361"/>
                <a:gd name="T74" fmla="*/ 191 w 903"/>
                <a:gd name="T75" fmla="*/ 1292 h 1361"/>
                <a:gd name="T76" fmla="*/ 696 w 903"/>
                <a:gd name="T77" fmla="*/ 346 h 1361"/>
                <a:gd name="T78" fmla="*/ 657 w 903"/>
                <a:gd name="T79" fmla="*/ 1080 h 1361"/>
                <a:gd name="T80" fmla="*/ 658 w 903"/>
                <a:gd name="T81" fmla="*/ 923 h 1361"/>
                <a:gd name="T82" fmla="*/ 662 w 903"/>
                <a:gd name="T83" fmla="*/ 767 h 1361"/>
                <a:gd name="T84" fmla="*/ 672 w 903"/>
                <a:gd name="T85" fmla="*/ 611 h 1361"/>
                <a:gd name="T86" fmla="*/ 685 w 903"/>
                <a:gd name="T87" fmla="*/ 452 h 1361"/>
                <a:gd name="T88" fmla="*/ 660 w 903"/>
                <a:gd name="T89" fmla="*/ 1184 h 1361"/>
                <a:gd name="T90" fmla="*/ 664 w 903"/>
                <a:gd name="T91" fmla="*/ 1317 h 1361"/>
                <a:gd name="T92" fmla="*/ 662 w 903"/>
                <a:gd name="T93" fmla="*/ 1250 h 1361"/>
                <a:gd name="T94" fmla="*/ 660 w 903"/>
                <a:gd name="T95" fmla="*/ 1184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3" h="1361">
                  <a:moveTo>
                    <a:pt x="0" y="1361"/>
                  </a:moveTo>
                  <a:lnTo>
                    <a:pt x="10" y="1314"/>
                  </a:lnTo>
                  <a:lnTo>
                    <a:pt x="23" y="1267"/>
                  </a:lnTo>
                  <a:lnTo>
                    <a:pt x="35" y="1220"/>
                  </a:lnTo>
                  <a:lnTo>
                    <a:pt x="48" y="1173"/>
                  </a:lnTo>
                  <a:lnTo>
                    <a:pt x="64" y="1128"/>
                  </a:lnTo>
                  <a:lnTo>
                    <a:pt x="79" y="1082"/>
                  </a:lnTo>
                  <a:lnTo>
                    <a:pt x="96" y="1036"/>
                  </a:lnTo>
                  <a:lnTo>
                    <a:pt x="112" y="992"/>
                  </a:lnTo>
                  <a:lnTo>
                    <a:pt x="131" y="947"/>
                  </a:lnTo>
                  <a:lnTo>
                    <a:pt x="149" y="902"/>
                  </a:lnTo>
                  <a:lnTo>
                    <a:pt x="170" y="859"/>
                  </a:lnTo>
                  <a:lnTo>
                    <a:pt x="191" y="815"/>
                  </a:lnTo>
                  <a:lnTo>
                    <a:pt x="212" y="771"/>
                  </a:lnTo>
                  <a:lnTo>
                    <a:pt x="234" y="729"/>
                  </a:lnTo>
                  <a:lnTo>
                    <a:pt x="258" y="687"/>
                  </a:lnTo>
                  <a:lnTo>
                    <a:pt x="281" y="645"/>
                  </a:lnTo>
                  <a:lnTo>
                    <a:pt x="306" y="602"/>
                  </a:lnTo>
                  <a:lnTo>
                    <a:pt x="331" y="561"/>
                  </a:lnTo>
                  <a:lnTo>
                    <a:pt x="357" y="520"/>
                  </a:lnTo>
                  <a:lnTo>
                    <a:pt x="384" y="480"/>
                  </a:lnTo>
                  <a:lnTo>
                    <a:pt x="412" y="439"/>
                  </a:lnTo>
                  <a:lnTo>
                    <a:pt x="440" y="399"/>
                  </a:lnTo>
                  <a:lnTo>
                    <a:pt x="469" y="360"/>
                  </a:lnTo>
                  <a:lnTo>
                    <a:pt x="499" y="321"/>
                  </a:lnTo>
                  <a:lnTo>
                    <a:pt x="529" y="283"/>
                  </a:lnTo>
                  <a:lnTo>
                    <a:pt x="560" y="245"/>
                  </a:lnTo>
                  <a:lnTo>
                    <a:pt x="591" y="207"/>
                  </a:lnTo>
                  <a:lnTo>
                    <a:pt x="624" y="170"/>
                  </a:lnTo>
                  <a:lnTo>
                    <a:pt x="657" y="133"/>
                  </a:lnTo>
                  <a:lnTo>
                    <a:pt x="690" y="97"/>
                  </a:lnTo>
                  <a:lnTo>
                    <a:pt x="725" y="61"/>
                  </a:lnTo>
                  <a:lnTo>
                    <a:pt x="759" y="26"/>
                  </a:lnTo>
                  <a:lnTo>
                    <a:pt x="766" y="20"/>
                  </a:lnTo>
                  <a:lnTo>
                    <a:pt x="773" y="15"/>
                  </a:lnTo>
                  <a:lnTo>
                    <a:pt x="780" y="11"/>
                  </a:lnTo>
                  <a:lnTo>
                    <a:pt x="788" y="6"/>
                  </a:lnTo>
                  <a:lnTo>
                    <a:pt x="795" y="4"/>
                  </a:lnTo>
                  <a:lnTo>
                    <a:pt x="803" y="2"/>
                  </a:lnTo>
                  <a:lnTo>
                    <a:pt x="812" y="1"/>
                  </a:lnTo>
                  <a:lnTo>
                    <a:pt x="820" y="0"/>
                  </a:lnTo>
                  <a:lnTo>
                    <a:pt x="827" y="1"/>
                  </a:lnTo>
                  <a:lnTo>
                    <a:pt x="835" y="2"/>
                  </a:lnTo>
                  <a:lnTo>
                    <a:pt x="844" y="4"/>
                  </a:lnTo>
                  <a:lnTo>
                    <a:pt x="851" y="6"/>
                  </a:lnTo>
                  <a:lnTo>
                    <a:pt x="859" y="11"/>
                  </a:lnTo>
                  <a:lnTo>
                    <a:pt x="866" y="15"/>
                  </a:lnTo>
                  <a:lnTo>
                    <a:pt x="872" y="20"/>
                  </a:lnTo>
                  <a:lnTo>
                    <a:pt x="880" y="25"/>
                  </a:lnTo>
                  <a:lnTo>
                    <a:pt x="886" y="33"/>
                  </a:lnTo>
                  <a:lnTo>
                    <a:pt x="892" y="42"/>
                  </a:lnTo>
                  <a:lnTo>
                    <a:pt x="896" y="51"/>
                  </a:lnTo>
                  <a:lnTo>
                    <a:pt x="900" y="60"/>
                  </a:lnTo>
                  <a:lnTo>
                    <a:pt x="902" y="70"/>
                  </a:lnTo>
                  <a:lnTo>
                    <a:pt x="903" y="80"/>
                  </a:lnTo>
                  <a:lnTo>
                    <a:pt x="903" y="90"/>
                  </a:lnTo>
                  <a:lnTo>
                    <a:pt x="902" y="99"/>
                  </a:lnTo>
                  <a:lnTo>
                    <a:pt x="891" y="169"/>
                  </a:lnTo>
                  <a:lnTo>
                    <a:pt x="881" y="239"/>
                  </a:lnTo>
                  <a:lnTo>
                    <a:pt x="871" y="309"/>
                  </a:lnTo>
                  <a:lnTo>
                    <a:pt x="863" y="377"/>
                  </a:lnTo>
                  <a:lnTo>
                    <a:pt x="856" y="445"/>
                  </a:lnTo>
                  <a:lnTo>
                    <a:pt x="849" y="512"/>
                  </a:lnTo>
                  <a:lnTo>
                    <a:pt x="844" y="580"/>
                  </a:lnTo>
                  <a:lnTo>
                    <a:pt x="838" y="646"/>
                  </a:lnTo>
                  <a:lnTo>
                    <a:pt x="834" y="713"/>
                  </a:lnTo>
                  <a:lnTo>
                    <a:pt x="831" y="780"/>
                  </a:lnTo>
                  <a:lnTo>
                    <a:pt x="829" y="846"/>
                  </a:lnTo>
                  <a:lnTo>
                    <a:pt x="827" y="912"/>
                  </a:lnTo>
                  <a:lnTo>
                    <a:pt x="827" y="978"/>
                  </a:lnTo>
                  <a:lnTo>
                    <a:pt x="827" y="1045"/>
                  </a:lnTo>
                  <a:lnTo>
                    <a:pt x="828" y="1111"/>
                  </a:lnTo>
                  <a:lnTo>
                    <a:pt x="829" y="1178"/>
                  </a:lnTo>
                  <a:lnTo>
                    <a:pt x="830" y="1200"/>
                  </a:lnTo>
                  <a:lnTo>
                    <a:pt x="831" y="1223"/>
                  </a:lnTo>
                  <a:lnTo>
                    <a:pt x="831" y="1246"/>
                  </a:lnTo>
                  <a:lnTo>
                    <a:pt x="832" y="1269"/>
                  </a:lnTo>
                  <a:lnTo>
                    <a:pt x="833" y="1292"/>
                  </a:lnTo>
                  <a:lnTo>
                    <a:pt x="834" y="1315"/>
                  </a:lnTo>
                  <a:lnTo>
                    <a:pt x="835" y="1338"/>
                  </a:lnTo>
                  <a:lnTo>
                    <a:pt x="837" y="1361"/>
                  </a:lnTo>
                  <a:lnTo>
                    <a:pt x="689" y="1361"/>
                  </a:lnTo>
                  <a:lnTo>
                    <a:pt x="667" y="1361"/>
                  </a:lnTo>
                  <a:lnTo>
                    <a:pt x="416" y="1361"/>
                  </a:lnTo>
                  <a:lnTo>
                    <a:pt x="173" y="1361"/>
                  </a:lnTo>
                  <a:lnTo>
                    <a:pt x="0" y="1361"/>
                  </a:lnTo>
                  <a:close/>
                  <a:moveTo>
                    <a:pt x="696" y="346"/>
                  </a:moveTo>
                  <a:lnTo>
                    <a:pt x="650" y="402"/>
                  </a:lnTo>
                  <a:lnTo>
                    <a:pt x="606" y="460"/>
                  </a:lnTo>
                  <a:lnTo>
                    <a:pt x="562" y="518"/>
                  </a:lnTo>
                  <a:lnTo>
                    <a:pt x="521" y="578"/>
                  </a:lnTo>
                  <a:lnTo>
                    <a:pt x="502" y="608"/>
                  </a:lnTo>
                  <a:lnTo>
                    <a:pt x="482" y="638"/>
                  </a:lnTo>
                  <a:lnTo>
                    <a:pt x="463" y="669"/>
                  </a:lnTo>
                  <a:lnTo>
                    <a:pt x="444" y="700"/>
                  </a:lnTo>
                  <a:lnTo>
                    <a:pt x="426" y="731"/>
                  </a:lnTo>
                  <a:lnTo>
                    <a:pt x="408" y="762"/>
                  </a:lnTo>
                  <a:lnTo>
                    <a:pt x="391" y="794"/>
                  </a:lnTo>
                  <a:lnTo>
                    <a:pt x="374" y="826"/>
                  </a:lnTo>
                  <a:lnTo>
                    <a:pt x="358" y="858"/>
                  </a:lnTo>
                  <a:lnTo>
                    <a:pt x="342" y="890"/>
                  </a:lnTo>
                  <a:lnTo>
                    <a:pt x="327" y="922"/>
                  </a:lnTo>
                  <a:lnTo>
                    <a:pt x="312" y="955"/>
                  </a:lnTo>
                  <a:lnTo>
                    <a:pt x="298" y="988"/>
                  </a:lnTo>
                  <a:lnTo>
                    <a:pt x="283" y="1021"/>
                  </a:lnTo>
                  <a:lnTo>
                    <a:pt x="270" y="1054"/>
                  </a:lnTo>
                  <a:lnTo>
                    <a:pt x="258" y="1087"/>
                  </a:lnTo>
                  <a:lnTo>
                    <a:pt x="245" y="1121"/>
                  </a:lnTo>
                  <a:lnTo>
                    <a:pt x="233" y="1155"/>
                  </a:lnTo>
                  <a:lnTo>
                    <a:pt x="221" y="1189"/>
                  </a:lnTo>
                  <a:lnTo>
                    <a:pt x="211" y="1223"/>
                  </a:lnTo>
                  <a:lnTo>
                    <a:pt x="201" y="1257"/>
                  </a:lnTo>
                  <a:lnTo>
                    <a:pt x="191" y="1292"/>
                  </a:lnTo>
                  <a:lnTo>
                    <a:pt x="182" y="1326"/>
                  </a:lnTo>
                  <a:lnTo>
                    <a:pt x="173" y="1361"/>
                  </a:lnTo>
                  <a:lnTo>
                    <a:pt x="696" y="346"/>
                  </a:lnTo>
                  <a:close/>
                  <a:moveTo>
                    <a:pt x="660" y="1184"/>
                  </a:moveTo>
                  <a:lnTo>
                    <a:pt x="658" y="1131"/>
                  </a:lnTo>
                  <a:lnTo>
                    <a:pt x="657" y="1080"/>
                  </a:lnTo>
                  <a:lnTo>
                    <a:pt x="657" y="1027"/>
                  </a:lnTo>
                  <a:lnTo>
                    <a:pt x="657" y="975"/>
                  </a:lnTo>
                  <a:lnTo>
                    <a:pt x="658" y="923"/>
                  </a:lnTo>
                  <a:lnTo>
                    <a:pt x="658" y="871"/>
                  </a:lnTo>
                  <a:lnTo>
                    <a:pt x="660" y="819"/>
                  </a:lnTo>
                  <a:lnTo>
                    <a:pt x="662" y="767"/>
                  </a:lnTo>
                  <a:lnTo>
                    <a:pt x="664" y="715"/>
                  </a:lnTo>
                  <a:lnTo>
                    <a:pt x="667" y="663"/>
                  </a:lnTo>
                  <a:lnTo>
                    <a:pt x="672" y="611"/>
                  </a:lnTo>
                  <a:lnTo>
                    <a:pt x="675" y="558"/>
                  </a:lnTo>
                  <a:lnTo>
                    <a:pt x="680" y="505"/>
                  </a:lnTo>
                  <a:lnTo>
                    <a:pt x="685" y="452"/>
                  </a:lnTo>
                  <a:lnTo>
                    <a:pt x="690" y="399"/>
                  </a:lnTo>
                  <a:lnTo>
                    <a:pt x="696" y="346"/>
                  </a:lnTo>
                  <a:lnTo>
                    <a:pt x="660" y="1184"/>
                  </a:lnTo>
                  <a:close/>
                  <a:moveTo>
                    <a:pt x="667" y="1361"/>
                  </a:moveTo>
                  <a:lnTo>
                    <a:pt x="666" y="1338"/>
                  </a:lnTo>
                  <a:lnTo>
                    <a:pt x="664" y="1317"/>
                  </a:lnTo>
                  <a:lnTo>
                    <a:pt x="663" y="1294"/>
                  </a:lnTo>
                  <a:lnTo>
                    <a:pt x="663" y="1272"/>
                  </a:lnTo>
                  <a:lnTo>
                    <a:pt x="662" y="1250"/>
                  </a:lnTo>
                  <a:lnTo>
                    <a:pt x="661" y="1228"/>
                  </a:lnTo>
                  <a:lnTo>
                    <a:pt x="660" y="1206"/>
                  </a:lnTo>
                  <a:lnTo>
                    <a:pt x="660" y="1184"/>
                  </a:lnTo>
                  <a:lnTo>
                    <a:pt x="667" y="13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3" name="Freeform 58"/>
            <p:cNvSpPr>
              <a:spLocks noChangeArrowheads="1"/>
            </p:cNvSpPr>
            <p:nvPr userDrawn="1"/>
          </p:nvSpPr>
          <p:spPr bwMode="auto">
            <a:xfrm>
              <a:off x="1241424" y="5671032"/>
              <a:ext cx="330200" cy="708929"/>
            </a:xfrm>
            <a:custGeom>
              <a:avLst/>
              <a:gdLst>
                <a:gd name="T0" fmla="*/ 0 w 732"/>
                <a:gd name="T1" fmla="*/ 1275 h 1275"/>
                <a:gd name="T2" fmla="*/ 10 w 732"/>
                <a:gd name="T3" fmla="*/ 1230 h 1275"/>
                <a:gd name="T4" fmla="*/ 22 w 732"/>
                <a:gd name="T5" fmla="*/ 1185 h 1275"/>
                <a:gd name="T6" fmla="*/ 35 w 732"/>
                <a:gd name="T7" fmla="*/ 1141 h 1275"/>
                <a:gd name="T8" fmla="*/ 48 w 732"/>
                <a:gd name="T9" fmla="*/ 1097 h 1275"/>
                <a:gd name="T10" fmla="*/ 61 w 732"/>
                <a:gd name="T11" fmla="*/ 1052 h 1275"/>
                <a:gd name="T12" fmla="*/ 77 w 732"/>
                <a:gd name="T13" fmla="*/ 1009 h 1275"/>
                <a:gd name="T14" fmla="*/ 93 w 732"/>
                <a:gd name="T15" fmla="*/ 966 h 1275"/>
                <a:gd name="T16" fmla="*/ 110 w 732"/>
                <a:gd name="T17" fmla="*/ 922 h 1275"/>
                <a:gd name="T18" fmla="*/ 127 w 732"/>
                <a:gd name="T19" fmla="*/ 880 h 1275"/>
                <a:gd name="T20" fmla="*/ 146 w 732"/>
                <a:gd name="T21" fmla="*/ 838 h 1275"/>
                <a:gd name="T22" fmla="*/ 165 w 732"/>
                <a:gd name="T23" fmla="*/ 796 h 1275"/>
                <a:gd name="T24" fmla="*/ 185 w 732"/>
                <a:gd name="T25" fmla="*/ 754 h 1275"/>
                <a:gd name="T26" fmla="*/ 206 w 732"/>
                <a:gd name="T27" fmla="*/ 713 h 1275"/>
                <a:gd name="T28" fmla="*/ 227 w 732"/>
                <a:gd name="T29" fmla="*/ 672 h 1275"/>
                <a:gd name="T30" fmla="*/ 250 w 732"/>
                <a:gd name="T31" fmla="*/ 632 h 1275"/>
                <a:gd name="T32" fmla="*/ 273 w 732"/>
                <a:gd name="T33" fmla="*/ 592 h 1275"/>
                <a:gd name="T34" fmla="*/ 296 w 732"/>
                <a:gd name="T35" fmla="*/ 551 h 1275"/>
                <a:gd name="T36" fmla="*/ 321 w 732"/>
                <a:gd name="T37" fmla="*/ 512 h 1275"/>
                <a:gd name="T38" fmla="*/ 346 w 732"/>
                <a:gd name="T39" fmla="*/ 473 h 1275"/>
                <a:gd name="T40" fmla="*/ 371 w 732"/>
                <a:gd name="T41" fmla="*/ 434 h 1275"/>
                <a:gd name="T42" fmla="*/ 398 w 732"/>
                <a:gd name="T43" fmla="*/ 396 h 1275"/>
                <a:gd name="T44" fmla="*/ 425 w 732"/>
                <a:gd name="T45" fmla="*/ 358 h 1275"/>
                <a:gd name="T46" fmla="*/ 453 w 732"/>
                <a:gd name="T47" fmla="*/ 320 h 1275"/>
                <a:gd name="T48" fmla="*/ 482 w 732"/>
                <a:gd name="T49" fmla="*/ 283 h 1275"/>
                <a:gd name="T50" fmla="*/ 510 w 732"/>
                <a:gd name="T51" fmla="*/ 246 h 1275"/>
                <a:gd name="T52" fmla="*/ 540 w 732"/>
                <a:gd name="T53" fmla="*/ 210 h 1275"/>
                <a:gd name="T54" fmla="*/ 571 w 732"/>
                <a:gd name="T55" fmla="*/ 174 h 1275"/>
                <a:gd name="T56" fmla="*/ 602 w 732"/>
                <a:gd name="T57" fmla="*/ 138 h 1275"/>
                <a:gd name="T58" fmla="*/ 634 w 732"/>
                <a:gd name="T59" fmla="*/ 103 h 1275"/>
                <a:gd name="T60" fmla="*/ 666 w 732"/>
                <a:gd name="T61" fmla="*/ 68 h 1275"/>
                <a:gd name="T62" fmla="*/ 699 w 732"/>
                <a:gd name="T63" fmla="*/ 34 h 1275"/>
                <a:gd name="T64" fmla="*/ 732 w 732"/>
                <a:gd name="T65" fmla="*/ 0 h 1275"/>
                <a:gd name="T66" fmla="*/ 718 w 732"/>
                <a:gd name="T67" fmla="*/ 83 h 1275"/>
                <a:gd name="T68" fmla="*/ 706 w 732"/>
                <a:gd name="T69" fmla="*/ 165 h 1275"/>
                <a:gd name="T70" fmla="*/ 696 w 732"/>
                <a:gd name="T71" fmla="*/ 246 h 1275"/>
                <a:gd name="T72" fmla="*/ 687 w 732"/>
                <a:gd name="T73" fmla="*/ 328 h 1275"/>
                <a:gd name="T74" fmla="*/ 678 w 732"/>
                <a:gd name="T75" fmla="*/ 407 h 1275"/>
                <a:gd name="T76" fmla="*/ 672 w 732"/>
                <a:gd name="T77" fmla="*/ 487 h 1275"/>
                <a:gd name="T78" fmla="*/ 666 w 732"/>
                <a:gd name="T79" fmla="*/ 566 h 1275"/>
                <a:gd name="T80" fmla="*/ 662 w 732"/>
                <a:gd name="T81" fmla="*/ 645 h 1275"/>
                <a:gd name="T82" fmla="*/ 658 w 732"/>
                <a:gd name="T83" fmla="*/ 723 h 1275"/>
                <a:gd name="T84" fmla="*/ 656 w 732"/>
                <a:gd name="T85" fmla="*/ 802 h 1275"/>
                <a:gd name="T86" fmla="*/ 655 w 732"/>
                <a:gd name="T87" fmla="*/ 880 h 1275"/>
                <a:gd name="T88" fmla="*/ 655 w 732"/>
                <a:gd name="T89" fmla="*/ 959 h 1275"/>
                <a:gd name="T90" fmla="*/ 656 w 732"/>
                <a:gd name="T91" fmla="*/ 1037 h 1275"/>
                <a:gd name="T92" fmla="*/ 658 w 732"/>
                <a:gd name="T93" fmla="*/ 1116 h 1275"/>
                <a:gd name="T94" fmla="*/ 661 w 732"/>
                <a:gd name="T95" fmla="*/ 1196 h 1275"/>
                <a:gd name="T96" fmla="*/ 665 w 732"/>
                <a:gd name="T97" fmla="*/ 1275 h 1275"/>
                <a:gd name="T98" fmla="*/ 0 w 732"/>
                <a:gd name="T99" fmla="*/ 1275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2" h="1275">
                  <a:moveTo>
                    <a:pt x="0" y="1275"/>
                  </a:moveTo>
                  <a:lnTo>
                    <a:pt x="10" y="1230"/>
                  </a:lnTo>
                  <a:lnTo>
                    <a:pt x="22" y="1185"/>
                  </a:lnTo>
                  <a:lnTo>
                    <a:pt x="35" y="1141"/>
                  </a:lnTo>
                  <a:lnTo>
                    <a:pt x="48" y="1097"/>
                  </a:lnTo>
                  <a:lnTo>
                    <a:pt x="61" y="1052"/>
                  </a:lnTo>
                  <a:lnTo>
                    <a:pt x="77" y="1009"/>
                  </a:lnTo>
                  <a:lnTo>
                    <a:pt x="93" y="966"/>
                  </a:lnTo>
                  <a:lnTo>
                    <a:pt x="110" y="922"/>
                  </a:lnTo>
                  <a:lnTo>
                    <a:pt x="127" y="880"/>
                  </a:lnTo>
                  <a:lnTo>
                    <a:pt x="146" y="838"/>
                  </a:lnTo>
                  <a:lnTo>
                    <a:pt x="165" y="796"/>
                  </a:lnTo>
                  <a:lnTo>
                    <a:pt x="185" y="754"/>
                  </a:lnTo>
                  <a:lnTo>
                    <a:pt x="206" y="713"/>
                  </a:lnTo>
                  <a:lnTo>
                    <a:pt x="227" y="672"/>
                  </a:lnTo>
                  <a:lnTo>
                    <a:pt x="250" y="632"/>
                  </a:lnTo>
                  <a:lnTo>
                    <a:pt x="273" y="592"/>
                  </a:lnTo>
                  <a:lnTo>
                    <a:pt x="296" y="551"/>
                  </a:lnTo>
                  <a:lnTo>
                    <a:pt x="321" y="512"/>
                  </a:lnTo>
                  <a:lnTo>
                    <a:pt x="346" y="473"/>
                  </a:lnTo>
                  <a:lnTo>
                    <a:pt x="371" y="434"/>
                  </a:lnTo>
                  <a:lnTo>
                    <a:pt x="398" y="396"/>
                  </a:lnTo>
                  <a:lnTo>
                    <a:pt x="425" y="358"/>
                  </a:lnTo>
                  <a:lnTo>
                    <a:pt x="453" y="320"/>
                  </a:lnTo>
                  <a:lnTo>
                    <a:pt x="482" y="283"/>
                  </a:lnTo>
                  <a:lnTo>
                    <a:pt x="510" y="246"/>
                  </a:lnTo>
                  <a:lnTo>
                    <a:pt x="540" y="210"/>
                  </a:lnTo>
                  <a:lnTo>
                    <a:pt x="571" y="174"/>
                  </a:lnTo>
                  <a:lnTo>
                    <a:pt x="602" y="138"/>
                  </a:lnTo>
                  <a:lnTo>
                    <a:pt x="634" y="103"/>
                  </a:lnTo>
                  <a:lnTo>
                    <a:pt x="666" y="68"/>
                  </a:lnTo>
                  <a:lnTo>
                    <a:pt x="699" y="34"/>
                  </a:lnTo>
                  <a:lnTo>
                    <a:pt x="732" y="0"/>
                  </a:lnTo>
                  <a:lnTo>
                    <a:pt x="718" y="83"/>
                  </a:lnTo>
                  <a:lnTo>
                    <a:pt x="706" y="165"/>
                  </a:lnTo>
                  <a:lnTo>
                    <a:pt x="696" y="246"/>
                  </a:lnTo>
                  <a:lnTo>
                    <a:pt x="687" y="328"/>
                  </a:lnTo>
                  <a:lnTo>
                    <a:pt x="678" y="407"/>
                  </a:lnTo>
                  <a:lnTo>
                    <a:pt x="672" y="487"/>
                  </a:lnTo>
                  <a:lnTo>
                    <a:pt x="666" y="566"/>
                  </a:lnTo>
                  <a:lnTo>
                    <a:pt x="662" y="645"/>
                  </a:lnTo>
                  <a:lnTo>
                    <a:pt x="658" y="723"/>
                  </a:lnTo>
                  <a:lnTo>
                    <a:pt x="656" y="802"/>
                  </a:lnTo>
                  <a:lnTo>
                    <a:pt x="655" y="880"/>
                  </a:lnTo>
                  <a:lnTo>
                    <a:pt x="655" y="959"/>
                  </a:lnTo>
                  <a:lnTo>
                    <a:pt x="656" y="1037"/>
                  </a:lnTo>
                  <a:lnTo>
                    <a:pt x="658" y="1116"/>
                  </a:lnTo>
                  <a:lnTo>
                    <a:pt x="661" y="1196"/>
                  </a:lnTo>
                  <a:lnTo>
                    <a:pt x="665" y="1275"/>
                  </a:lnTo>
                  <a:lnTo>
                    <a:pt x="0" y="127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4" name="Freeform 59"/>
            <p:cNvSpPr>
              <a:spLocks noChangeArrowheads="1"/>
            </p:cNvSpPr>
            <p:nvPr userDrawn="1"/>
          </p:nvSpPr>
          <p:spPr bwMode="auto">
            <a:xfrm>
              <a:off x="1169987" y="4704310"/>
              <a:ext cx="611187" cy="1675650"/>
            </a:xfrm>
            <a:custGeom>
              <a:avLst/>
              <a:gdLst>
                <a:gd name="T0" fmla="*/ 13 w 1354"/>
                <a:gd name="T1" fmla="*/ 2927 h 3018"/>
                <a:gd name="T2" fmla="*/ 36 w 1354"/>
                <a:gd name="T3" fmla="*/ 2791 h 3018"/>
                <a:gd name="T4" fmla="*/ 61 w 1354"/>
                <a:gd name="T5" fmla="*/ 2658 h 3018"/>
                <a:gd name="T6" fmla="*/ 118 w 1354"/>
                <a:gd name="T7" fmla="*/ 2379 h 3018"/>
                <a:gd name="T8" fmla="*/ 186 w 1354"/>
                <a:gd name="T9" fmla="*/ 2106 h 3018"/>
                <a:gd name="T10" fmla="*/ 264 w 1354"/>
                <a:gd name="T11" fmla="*/ 1838 h 3018"/>
                <a:gd name="T12" fmla="*/ 351 w 1354"/>
                <a:gd name="T13" fmla="*/ 1576 h 3018"/>
                <a:gd name="T14" fmla="*/ 449 w 1354"/>
                <a:gd name="T15" fmla="*/ 1320 h 3018"/>
                <a:gd name="T16" fmla="*/ 557 w 1354"/>
                <a:gd name="T17" fmla="*/ 1073 h 3018"/>
                <a:gd name="T18" fmla="*/ 676 w 1354"/>
                <a:gd name="T19" fmla="*/ 834 h 3018"/>
                <a:gd name="T20" fmla="*/ 805 w 1354"/>
                <a:gd name="T21" fmla="*/ 602 h 3018"/>
                <a:gd name="T22" fmla="*/ 946 w 1354"/>
                <a:gd name="T23" fmla="*/ 380 h 3018"/>
                <a:gd name="T24" fmla="*/ 1097 w 1354"/>
                <a:gd name="T25" fmla="*/ 167 h 3018"/>
                <a:gd name="T26" fmla="*/ 1211 w 1354"/>
                <a:gd name="T27" fmla="*/ 24 h 3018"/>
                <a:gd name="T28" fmla="*/ 1232 w 1354"/>
                <a:gd name="T29" fmla="*/ 9 h 3018"/>
                <a:gd name="T30" fmla="*/ 1255 w 1354"/>
                <a:gd name="T31" fmla="*/ 1 h 3018"/>
                <a:gd name="T32" fmla="*/ 1279 w 1354"/>
                <a:gd name="T33" fmla="*/ 0 h 3018"/>
                <a:gd name="T34" fmla="*/ 1303 w 1354"/>
                <a:gd name="T35" fmla="*/ 6 h 3018"/>
                <a:gd name="T36" fmla="*/ 1325 w 1354"/>
                <a:gd name="T37" fmla="*/ 19 h 3018"/>
                <a:gd name="T38" fmla="*/ 1348 w 1354"/>
                <a:gd name="T39" fmla="*/ 50 h 3018"/>
                <a:gd name="T40" fmla="*/ 1354 w 1354"/>
                <a:gd name="T41" fmla="*/ 87 h 3018"/>
                <a:gd name="T42" fmla="*/ 1350 w 1354"/>
                <a:gd name="T43" fmla="*/ 113 h 3018"/>
                <a:gd name="T44" fmla="*/ 1261 w 1354"/>
                <a:gd name="T45" fmla="*/ 381 h 3018"/>
                <a:gd name="T46" fmla="*/ 1182 w 1354"/>
                <a:gd name="T47" fmla="*/ 639 h 3018"/>
                <a:gd name="T48" fmla="*/ 1112 w 1354"/>
                <a:gd name="T49" fmla="*/ 891 h 3018"/>
                <a:gd name="T50" fmla="*/ 1052 w 1354"/>
                <a:gd name="T51" fmla="*/ 1139 h 3018"/>
                <a:gd name="T52" fmla="*/ 999 w 1354"/>
                <a:gd name="T53" fmla="*/ 1384 h 3018"/>
                <a:gd name="T54" fmla="*/ 953 w 1354"/>
                <a:gd name="T55" fmla="*/ 1632 h 3018"/>
                <a:gd name="T56" fmla="*/ 912 w 1354"/>
                <a:gd name="T57" fmla="*/ 1881 h 3018"/>
                <a:gd name="T58" fmla="*/ 878 w 1354"/>
                <a:gd name="T59" fmla="*/ 2136 h 3018"/>
                <a:gd name="T60" fmla="*/ 847 w 1354"/>
                <a:gd name="T61" fmla="*/ 2397 h 3018"/>
                <a:gd name="T62" fmla="*/ 820 w 1354"/>
                <a:gd name="T63" fmla="*/ 2668 h 3018"/>
                <a:gd name="T64" fmla="*/ 801 w 1354"/>
                <a:gd name="T65" fmla="*/ 2867 h 3018"/>
                <a:gd name="T66" fmla="*/ 787 w 1354"/>
                <a:gd name="T67" fmla="*/ 2899 h 3018"/>
                <a:gd name="T68" fmla="*/ 785 w 1354"/>
                <a:gd name="T69" fmla="*/ 2902 h 3018"/>
                <a:gd name="T70" fmla="*/ 506 w 1354"/>
                <a:gd name="T71" fmla="*/ 2993 h 3018"/>
                <a:gd name="T72" fmla="*/ 561 w 1354"/>
                <a:gd name="T73" fmla="*/ 2917 h 3018"/>
                <a:gd name="T74" fmla="*/ 618 w 1354"/>
                <a:gd name="T75" fmla="*/ 2842 h 3018"/>
                <a:gd name="T76" fmla="*/ 653 w 1354"/>
                <a:gd name="T77" fmla="*/ 2630 h 3018"/>
                <a:gd name="T78" fmla="*/ 680 w 1354"/>
                <a:gd name="T79" fmla="*/ 2361 h 3018"/>
                <a:gd name="T80" fmla="*/ 711 w 1354"/>
                <a:gd name="T81" fmla="*/ 2101 h 3018"/>
                <a:gd name="T82" fmla="*/ 746 w 1354"/>
                <a:gd name="T83" fmla="*/ 1847 h 3018"/>
                <a:gd name="T84" fmla="*/ 786 w 1354"/>
                <a:gd name="T85" fmla="*/ 1599 h 3018"/>
                <a:gd name="T86" fmla="*/ 826 w 1354"/>
                <a:gd name="T87" fmla="*/ 1381 h 3018"/>
                <a:gd name="T88" fmla="*/ 860 w 1354"/>
                <a:gd name="T89" fmla="*/ 1219 h 3018"/>
                <a:gd name="T90" fmla="*/ 897 w 1354"/>
                <a:gd name="T91" fmla="*/ 1057 h 3018"/>
                <a:gd name="T92" fmla="*/ 937 w 1354"/>
                <a:gd name="T93" fmla="*/ 894 h 3018"/>
                <a:gd name="T94" fmla="*/ 981 w 1354"/>
                <a:gd name="T95" fmla="*/ 730 h 3018"/>
                <a:gd name="T96" fmla="*/ 1028 w 1354"/>
                <a:gd name="T97" fmla="*/ 563 h 3018"/>
                <a:gd name="T98" fmla="*/ 921 w 1354"/>
                <a:gd name="T99" fmla="*/ 739 h 3018"/>
                <a:gd name="T100" fmla="*/ 821 w 1354"/>
                <a:gd name="T101" fmla="*/ 920 h 3018"/>
                <a:gd name="T102" fmla="*/ 728 w 1354"/>
                <a:gd name="T103" fmla="*/ 1107 h 3018"/>
                <a:gd name="T104" fmla="*/ 642 w 1354"/>
                <a:gd name="T105" fmla="*/ 1300 h 3018"/>
                <a:gd name="T106" fmla="*/ 561 w 1354"/>
                <a:gd name="T107" fmla="*/ 1496 h 3018"/>
                <a:gd name="T108" fmla="*/ 488 w 1354"/>
                <a:gd name="T109" fmla="*/ 1697 h 3018"/>
                <a:gd name="T110" fmla="*/ 421 w 1354"/>
                <a:gd name="T111" fmla="*/ 1904 h 3018"/>
                <a:gd name="T112" fmla="*/ 360 w 1354"/>
                <a:gd name="T113" fmla="*/ 2113 h 3018"/>
                <a:gd name="T114" fmla="*/ 305 w 1354"/>
                <a:gd name="T115" fmla="*/ 2326 h 3018"/>
                <a:gd name="T116" fmla="*/ 256 w 1354"/>
                <a:gd name="T117" fmla="*/ 2544 h 3018"/>
                <a:gd name="T118" fmla="*/ 219 w 1354"/>
                <a:gd name="T119" fmla="*/ 2730 h 3018"/>
                <a:gd name="T120" fmla="*/ 198 w 1354"/>
                <a:gd name="T121" fmla="*/ 2854 h 3018"/>
                <a:gd name="T122" fmla="*/ 177 w 1354"/>
                <a:gd name="T123" fmla="*/ 2977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54" h="3018">
                  <a:moveTo>
                    <a:pt x="0" y="3018"/>
                  </a:moveTo>
                  <a:lnTo>
                    <a:pt x="7" y="2973"/>
                  </a:lnTo>
                  <a:lnTo>
                    <a:pt x="13" y="2927"/>
                  </a:lnTo>
                  <a:lnTo>
                    <a:pt x="21" y="2882"/>
                  </a:lnTo>
                  <a:lnTo>
                    <a:pt x="29" y="2837"/>
                  </a:lnTo>
                  <a:lnTo>
                    <a:pt x="36" y="2791"/>
                  </a:lnTo>
                  <a:lnTo>
                    <a:pt x="44" y="2747"/>
                  </a:lnTo>
                  <a:lnTo>
                    <a:pt x="53" y="2703"/>
                  </a:lnTo>
                  <a:lnTo>
                    <a:pt x="61" y="2658"/>
                  </a:lnTo>
                  <a:lnTo>
                    <a:pt x="79" y="2564"/>
                  </a:lnTo>
                  <a:lnTo>
                    <a:pt x="98" y="2472"/>
                  </a:lnTo>
                  <a:lnTo>
                    <a:pt x="118" y="2379"/>
                  </a:lnTo>
                  <a:lnTo>
                    <a:pt x="140" y="2287"/>
                  </a:lnTo>
                  <a:lnTo>
                    <a:pt x="163" y="2196"/>
                  </a:lnTo>
                  <a:lnTo>
                    <a:pt x="186" y="2106"/>
                  </a:lnTo>
                  <a:lnTo>
                    <a:pt x="211" y="2015"/>
                  </a:lnTo>
                  <a:lnTo>
                    <a:pt x="237" y="1926"/>
                  </a:lnTo>
                  <a:lnTo>
                    <a:pt x="264" y="1838"/>
                  </a:lnTo>
                  <a:lnTo>
                    <a:pt x="293" y="1749"/>
                  </a:lnTo>
                  <a:lnTo>
                    <a:pt x="321" y="1662"/>
                  </a:lnTo>
                  <a:lnTo>
                    <a:pt x="351" y="1576"/>
                  </a:lnTo>
                  <a:lnTo>
                    <a:pt x="383" y="1490"/>
                  </a:lnTo>
                  <a:lnTo>
                    <a:pt x="415" y="1405"/>
                  </a:lnTo>
                  <a:lnTo>
                    <a:pt x="449" y="1320"/>
                  </a:lnTo>
                  <a:lnTo>
                    <a:pt x="484" y="1237"/>
                  </a:lnTo>
                  <a:lnTo>
                    <a:pt x="520" y="1154"/>
                  </a:lnTo>
                  <a:lnTo>
                    <a:pt x="557" y="1073"/>
                  </a:lnTo>
                  <a:lnTo>
                    <a:pt x="595" y="992"/>
                  </a:lnTo>
                  <a:lnTo>
                    <a:pt x="634" y="912"/>
                  </a:lnTo>
                  <a:lnTo>
                    <a:pt x="676" y="834"/>
                  </a:lnTo>
                  <a:lnTo>
                    <a:pt x="717" y="755"/>
                  </a:lnTo>
                  <a:lnTo>
                    <a:pt x="760" y="678"/>
                  </a:lnTo>
                  <a:lnTo>
                    <a:pt x="805" y="602"/>
                  </a:lnTo>
                  <a:lnTo>
                    <a:pt x="851" y="526"/>
                  </a:lnTo>
                  <a:lnTo>
                    <a:pt x="897" y="452"/>
                  </a:lnTo>
                  <a:lnTo>
                    <a:pt x="946" y="380"/>
                  </a:lnTo>
                  <a:lnTo>
                    <a:pt x="995" y="308"/>
                  </a:lnTo>
                  <a:lnTo>
                    <a:pt x="1045" y="237"/>
                  </a:lnTo>
                  <a:lnTo>
                    <a:pt x="1097" y="167"/>
                  </a:lnTo>
                  <a:lnTo>
                    <a:pt x="1151" y="99"/>
                  </a:lnTo>
                  <a:lnTo>
                    <a:pt x="1205" y="31"/>
                  </a:lnTo>
                  <a:lnTo>
                    <a:pt x="1211" y="24"/>
                  </a:lnTo>
                  <a:lnTo>
                    <a:pt x="1217" y="18"/>
                  </a:lnTo>
                  <a:lnTo>
                    <a:pt x="1224" y="13"/>
                  </a:lnTo>
                  <a:lnTo>
                    <a:pt x="1232" y="9"/>
                  </a:lnTo>
                  <a:lnTo>
                    <a:pt x="1239" y="6"/>
                  </a:lnTo>
                  <a:lnTo>
                    <a:pt x="1246" y="3"/>
                  </a:lnTo>
                  <a:lnTo>
                    <a:pt x="1255" y="1"/>
                  </a:lnTo>
                  <a:lnTo>
                    <a:pt x="1263" y="0"/>
                  </a:lnTo>
                  <a:lnTo>
                    <a:pt x="1271" y="0"/>
                  </a:lnTo>
                  <a:lnTo>
                    <a:pt x="1279" y="0"/>
                  </a:lnTo>
                  <a:lnTo>
                    <a:pt x="1286" y="2"/>
                  </a:lnTo>
                  <a:lnTo>
                    <a:pt x="1295" y="3"/>
                  </a:lnTo>
                  <a:lnTo>
                    <a:pt x="1303" y="6"/>
                  </a:lnTo>
                  <a:lnTo>
                    <a:pt x="1310" y="10"/>
                  </a:lnTo>
                  <a:lnTo>
                    <a:pt x="1317" y="14"/>
                  </a:lnTo>
                  <a:lnTo>
                    <a:pt x="1325" y="19"/>
                  </a:lnTo>
                  <a:lnTo>
                    <a:pt x="1334" y="29"/>
                  </a:lnTo>
                  <a:lnTo>
                    <a:pt x="1342" y="39"/>
                  </a:lnTo>
                  <a:lnTo>
                    <a:pt x="1348" y="50"/>
                  </a:lnTo>
                  <a:lnTo>
                    <a:pt x="1352" y="63"/>
                  </a:lnTo>
                  <a:lnTo>
                    <a:pt x="1354" y="75"/>
                  </a:lnTo>
                  <a:lnTo>
                    <a:pt x="1354" y="87"/>
                  </a:lnTo>
                  <a:lnTo>
                    <a:pt x="1353" y="101"/>
                  </a:lnTo>
                  <a:lnTo>
                    <a:pt x="1350" y="113"/>
                  </a:lnTo>
                  <a:lnTo>
                    <a:pt x="1319" y="204"/>
                  </a:lnTo>
                  <a:lnTo>
                    <a:pt x="1290" y="292"/>
                  </a:lnTo>
                  <a:lnTo>
                    <a:pt x="1261" y="381"/>
                  </a:lnTo>
                  <a:lnTo>
                    <a:pt x="1234" y="468"/>
                  </a:lnTo>
                  <a:lnTo>
                    <a:pt x="1207" y="554"/>
                  </a:lnTo>
                  <a:lnTo>
                    <a:pt x="1182" y="639"/>
                  </a:lnTo>
                  <a:lnTo>
                    <a:pt x="1158" y="723"/>
                  </a:lnTo>
                  <a:lnTo>
                    <a:pt x="1135" y="808"/>
                  </a:lnTo>
                  <a:lnTo>
                    <a:pt x="1112" y="891"/>
                  </a:lnTo>
                  <a:lnTo>
                    <a:pt x="1092" y="974"/>
                  </a:lnTo>
                  <a:lnTo>
                    <a:pt x="1071" y="1056"/>
                  </a:lnTo>
                  <a:lnTo>
                    <a:pt x="1052" y="1139"/>
                  </a:lnTo>
                  <a:lnTo>
                    <a:pt x="1033" y="1221"/>
                  </a:lnTo>
                  <a:lnTo>
                    <a:pt x="1016" y="1303"/>
                  </a:lnTo>
                  <a:lnTo>
                    <a:pt x="999" y="1384"/>
                  </a:lnTo>
                  <a:lnTo>
                    <a:pt x="983" y="1467"/>
                  </a:lnTo>
                  <a:lnTo>
                    <a:pt x="967" y="1549"/>
                  </a:lnTo>
                  <a:lnTo>
                    <a:pt x="953" y="1632"/>
                  </a:lnTo>
                  <a:lnTo>
                    <a:pt x="938" y="1714"/>
                  </a:lnTo>
                  <a:lnTo>
                    <a:pt x="925" y="1797"/>
                  </a:lnTo>
                  <a:lnTo>
                    <a:pt x="912" y="1881"/>
                  </a:lnTo>
                  <a:lnTo>
                    <a:pt x="900" y="1966"/>
                  </a:lnTo>
                  <a:lnTo>
                    <a:pt x="888" y="2050"/>
                  </a:lnTo>
                  <a:lnTo>
                    <a:pt x="878" y="2136"/>
                  </a:lnTo>
                  <a:lnTo>
                    <a:pt x="866" y="2222"/>
                  </a:lnTo>
                  <a:lnTo>
                    <a:pt x="856" y="2309"/>
                  </a:lnTo>
                  <a:lnTo>
                    <a:pt x="847" y="2397"/>
                  </a:lnTo>
                  <a:lnTo>
                    <a:pt x="837" y="2486"/>
                  </a:lnTo>
                  <a:lnTo>
                    <a:pt x="828" y="2577"/>
                  </a:lnTo>
                  <a:lnTo>
                    <a:pt x="820" y="2668"/>
                  </a:lnTo>
                  <a:lnTo>
                    <a:pt x="812" y="2760"/>
                  </a:lnTo>
                  <a:lnTo>
                    <a:pt x="803" y="2854"/>
                  </a:lnTo>
                  <a:lnTo>
                    <a:pt x="801" y="2867"/>
                  </a:lnTo>
                  <a:lnTo>
                    <a:pt x="798" y="2879"/>
                  </a:lnTo>
                  <a:lnTo>
                    <a:pt x="793" y="2889"/>
                  </a:lnTo>
                  <a:lnTo>
                    <a:pt x="787" y="2899"/>
                  </a:lnTo>
                  <a:lnTo>
                    <a:pt x="786" y="2900"/>
                  </a:lnTo>
                  <a:lnTo>
                    <a:pt x="785" y="2902"/>
                  </a:lnTo>
                  <a:lnTo>
                    <a:pt x="698" y="3018"/>
                  </a:lnTo>
                  <a:lnTo>
                    <a:pt x="487" y="3018"/>
                  </a:lnTo>
                  <a:lnTo>
                    <a:pt x="506" y="2993"/>
                  </a:lnTo>
                  <a:lnTo>
                    <a:pt x="524" y="2967"/>
                  </a:lnTo>
                  <a:lnTo>
                    <a:pt x="543" y="2943"/>
                  </a:lnTo>
                  <a:lnTo>
                    <a:pt x="561" y="2917"/>
                  </a:lnTo>
                  <a:lnTo>
                    <a:pt x="581" y="2892"/>
                  </a:lnTo>
                  <a:lnTo>
                    <a:pt x="599" y="2867"/>
                  </a:lnTo>
                  <a:lnTo>
                    <a:pt x="618" y="2842"/>
                  </a:lnTo>
                  <a:lnTo>
                    <a:pt x="637" y="2817"/>
                  </a:lnTo>
                  <a:lnTo>
                    <a:pt x="645" y="2723"/>
                  </a:lnTo>
                  <a:lnTo>
                    <a:pt x="653" y="2630"/>
                  </a:lnTo>
                  <a:lnTo>
                    <a:pt x="662" y="2540"/>
                  </a:lnTo>
                  <a:lnTo>
                    <a:pt x="671" y="2450"/>
                  </a:lnTo>
                  <a:lnTo>
                    <a:pt x="680" y="2361"/>
                  </a:lnTo>
                  <a:lnTo>
                    <a:pt x="690" y="2273"/>
                  </a:lnTo>
                  <a:lnTo>
                    <a:pt x="700" y="2186"/>
                  </a:lnTo>
                  <a:lnTo>
                    <a:pt x="711" y="2101"/>
                  </a:lnTo>
                  <a:lnTo>
                    <a:pt x="722" y="2015"/>
                  </a:lnTo>
                  <a:lnTo>
                    <a:pt x="733" y="1930"/>
                  </a:lnTo>
                  <a:lnTo>
                    <a:pt x="746" y="1847"/>
                  </a:lnTo>
                  <a:lnTo>
                    <a:pt x="759" y="1763"/>
                  </a:lnTo>
                  <a:lnTo>
                    <a:pt x="771" y="1681"/>
                  </a:lnTo>
                  <a:lnTo>
                    <a:pt x="786" y="1599"/>
                  </a:lnTo>
                  <a:lnTo>
                    <a:pt x="800" y="1517"/>
                  </a:lnTo>
                  <a:lnTo>
                    <a:pt x="816" y="1435"/>
                  </a:lnTo>
                  <a:lnTo>
                    <a:pt x="826" y="1381"/>
                  </a:lnTo>
                  <a:lnTo>
                    <a:pt x="837" y="1327"/>
                  </a:lnTo>
                  <a:lnTo>
                    <a:pt x="849" y="1273"/>
                  </a:lnTo>
                  <a:lnTo>
                    <a:pt x="860" y="1219"/>
                  </a:lnTo>
                  <a:lnTo>
                    <a:pt x="871" y="1166"/>
                  </a:lnTo>
                  <a:lnTo>
                    <a:pt x="884" y="1112"/>
                  </a:lnTo>
                  <a:lnTo>
                    <a:pt x="897" y="1057"/>
                  </a:lnTo>
                  <a:lnTo>
                    <a:pt x="909" y="1003"/>
                  </a:lnTo>
                  <a:lnTo>
                    <a:pt x="923" y="949"/>
                  </a:lnTo>
                  <a:lnTo>
                    <a:pt x="937" y="894"/>
                  </a:lnTo>
                  <a:lnTo>
                    <a:pt x="951" y="840"/>
                  </a:lnTo>
                  <a:lnTo>
                    <a:pt x="965" y="785"/>
                  </a:lnTo>
                  <a:lnTo>
                    <a:pt x="981" y="730"/>
                  </a:lnTo>
                  <a:lnTo>
                    <a:pt x="996" y="675"/>
                  </a:lnTo>
                  <a:lnTo>
                    <a:pt x="1011" y="619"/>
                  </a:lnTo>
                  <a:lnTo>
                    <a:pt x="1028" y="563"/>
                  </a:lnTo>
                  <a:lnTo>
                    <a:pt x="992" y="621"/>
                  </a:lnTo>
                  <a:lnTo>
                    <a:pt x="956" y="680"/>
                  </a:lnTo>
                  <a:lnTo>
                    <a:pt x="921" y="739"/>
                  </a:lnTo>
                  <a:lnTo>
                    <a:pt x="887" y="799"/>
                  </a:lnTo>
                  <a:lnTo>
                    <a:pt x="854" y="859"/>
                  </a:lnTo>
                  <a:lnTo>
                    <a:pt x="821" y="920"/>
                  </a:lnTo>
                  <a:lnTo>
                    <a:pt x="789" y="982"/>
                  </a:lnTo>
                  <a:lnTo>
                    <a:pt x="758" y="1044"/>
                  </a:lnTo>
                  <a:lnTo>
                    <a:pt x="728" y="1107"/>
                  </a:lnTo>
                  <a:lnTo>
                    <a:pt x="698" y="1171"/>
                  </a:lnTo>
                  <a:lnTo>
                    <a:pt x="669" y="1235"/>
                  </a:lnTo>
                  <a:lnTo>
                    <a:pt x="642" y="1300"/>
                  </a:lnTo>
                  <a:lnTo>
                    <a:pt x="614" y="1365"/>
                  </a:lnTo>
                  <a:lnTo>
                    <a:pt x="587" y="1429"/>
                  </a:lnTo>
                  <a:lnTo>
                    <a:pt x="561" y="1496"/>
                  </a:lnTo>
                  <a:lnTo>
                    <a:pt x="537" y="1562"/>
                  </a:lnTo>
                  <a:lnTo>
                    <a:pt x="512" y="1629"/>
                  </a:lnTo>
                  <a:lnTo>
                    <a:pt x="488" y="1697"/>
                  </a:lnTo>
                  <a:lnTo>
                    <a:pt x="465" y="1766"/>
                  </a:lnTo>
                  <a:lnTo>
                    <a:pt x="443" y="1835"/>
                  </a:lnTo>
                  <a:lnTo>
                    <a:pt x="421" y="1904"/>
                  </a:lnTo>
                  <a:lnTo>
                    <a:pt x="400" y="1973"/>
                  </a:lnTo>
                  <a:lnTo>
                    <a:pt x="380" y="2043"/>
                  </a:lnTo>
                  <a:lnTo>
                    <a:pt x="360" y="2113"/>
                  </a:lnTo>
                  <a:lnTo>
                    <a:pt x="341" y="2184"/>
                  </a:lnTo>
                  <a:lnTo>
                    <a:pt x="322" y="2255"/>
                  </a:lnTo>
                  <a:lnTo>
                    <a:pt x="305" y="2326"/>
                  </a:lnTo>
                  <a:lnTo>
                    <a:pt x="288" y="2398"/>
                  </a:lnTo>
                  <a:lnTo>
                    <a:pt x="272" y="2471"/>
                  </a:lnTo>
                  <a:lnTo>
                    <a:pt x="256" y="2544"/>
                  </a:lnTo>
                  <a:lnTo>
                    <a:pt x="241" y="2616"/>
                  </a:lnTo>
                  <a:lnTo>
                    <a:pt x="227" y="2689"/>
                  </a:lnTo>
                  <a:lnTo>
                    <a:pt x="219" y="2730"/>
                  </a:lnTo>
                  <a:lnTo>
                    <a:pt x="212" y="2772"/>
                  </a:lnTo>
                  <a:lnTo>
                    <a:pt x="205" y="2813"/>
                  </a:lnTo>
                  <a:lnTo>
                    <a:pt x="198" y="2854"/>
                  </a:lnTo>
                  <a:lnTo>
                    <a:pt x="191" y="2895"/>
                  </a:lnTo>
                  <a:lnTo>
                    <a:pt x="183" y="2936"/>
                  </a:lnTo>
                  <a:lnTo>
                    <a:pt x="177" y="2977"/>
                  </a:lnTo>
                  <a:lnTo>
                    <a:pt x="171" y="3018"/>
                  </a:lnTo>
                  <a:lnTo>
                    <a:pt x="0" y="30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5" name="Freeform 60"/>
            <p:cNvSpPr>
              <a:spLocks noChangeArrowheads="1"/>
            </p:cNvSpPr>
            <p:nvPr userDrawn="1"/>
          </p:nvSpPr>
          <p:spPr bwMode="auto">
            <a:xfrm>
              <a:off x="1206499" y="4756226"/>
              <a:ext cx="531813" cy="1623734"/>
            </a:xfrm>
            <a:custGeom>
              <a:avLst/>
              <a:gdLst>
                <a:gd name="T0" fmla="*/ 17 w 1185"/>
                <a:gd name="T1" fmla="*/ 2828 h 2933"/>
                <a:gd name="T2" fmla="*/ 53 w 1185"/>
                <a:gd name="T3" fmla="*/ 2621 h 2933"/>
                <a:gd name="T4" fmla="*/ 94 w 1185"/>
                <a:gd name="T5" fmla="*/ 2414 h 2933"/>
                <a:gd name="T6" fmla="*/ 140 w 1185"/>
                <a:gd name="T7" fmla="*/ 2212 h 2933"/>
                <a:gd name="T8" fmla="*/ 191 w 1185"/>
                <a:gd name="T9" fmla="*/ 2012 h 2933"/>
                <a:gd name="T10" fmla="*/ 248 w 1185"/>
                <a:gd name="T11" fmla="*/ 1816 h 2933"/>
                <a:gd name="T12" fmla="*/ 311 w 1185"/>
                <a:gd name="T13" fmla="*/ 1623 h 2933"/>
                <a:gd name="T14" fmla="*/ 377 w 1185"/>
                <a:gd name="T15" fmla="*/ 1433 h 2933"/>
                <a:gd name="T16" fmla="*/ 451 w 1185"/>
                <a:gd name="T17" fmla="*/ 1248 h 2933"/>
                <a:gd name="T18" fmla="*/ 529 w 1185"/>
                <a:gd name="T19" fmla="*/ 1066 h 2933"/>
                <a:gd name="T20" fmla="*/ 613 w 1185"/>
                <a:gd name="T21" fmla="*/ 889 h 2933"/>
                <a:gd name="T22" fmla="*/ 704 w 1185"/>
                <a:gd name="T23" fmla="*/ 716 h 2933"/>
                <a:gd name="T24" fmla="*/ 800 w 1185"/>
                <a:gd name="T25" fmla="*/ 548 h 2933"/>
                <a:gd name="T26" fmla="*/ 903 w 1185"/>
                <a:gd name="T27" fmla="*/ 385 h 2933"/>
                <a:gd name="T28" fmla="*/ 1011 w 1185"/>
                <a:gd name="T29" fmla="*/ 227 h 2933"/>
                <a:gd name="T30" fmla="*/ 1125 w 1185"/>
                <a:gd name="T31" fmla="*/ 74 h 2933"/>
                <a:gd name="T32" fmla="*/ 1154 w 1185"/>
                <a:gd name="T33" fmla="*/ 91 h 2933"/>
                <a:gd name="T34" fmla="*/ 1095 w 1185"/>
                <a:gd name="T35" fmla="*/ 270 h 2933"/>
                <a:gd name="T36" fmla="*/ 1041 w 1185"/>
                <a:gd name="T37" fmla="*/ 445 h 2933"/>
                <a:gd name="T38" fmla="*/ 991 w 1185"/>
                <a:gd name="T39" fmla="*/ 616 h 2933"/>
                <a:gd name="T40" fmla="*/ 946 w 1185"/>
                <a:gd name="T41" fmla="*/ 785 h 2933"/>
                <a:gd name="T42" fmla="*/ 904 w 1185"/>
                <a:gd name="T43" fmla="*/ 952 h 2933"/>
                <a:gd name="T44" fmla="*/ 866 w 1185"/>
                <a:gd name="T45" fmla="*/ 1118 h 2933"/>
                <a:gd name="T46" fmla="*/ 831 w 1185"/>
                <a:gd name="T47" fmla="*/ 1283 h 2933"/>
                <a:gd name="T48" fmla="*/ 799 w 1185"/>
                <a:gd name="T49" fmla="*/ 1449 h 2933"/>
                <a:gd name="T50" fmla="*/ 770 w 1185"/>
                <a:gd name="T51" fmla="*/ 1615 h 2933"/>
                <a:gd name="T52" fmla="*/ 743 w 1185"/>
                <a:gd name="T53" fmla="*/ 1783 h 2933"/>
                <a:gd name="T54" fmla="*/ 719 w 1185"/>
                <a:gd name="T55" fmla="*/ 1953 h 2933"/>
                <a:gd name="T56" fmla="*/ 698 w 1185"/>
                <a:gd name="T57" fmla="*/ 2125 h 2933"/>
                <a:gd name="T58" fmla="*/ 677 w 1185"/>
                <a:gd name="T59" fmla="*/ 2302 h 2933"/>
                <a:gd name="T60" fmla="*/ 650 w 1185"/>
                <a:gd name="T61" fmla="*/ 2574 h 2933"/>
                <a:gd name="T62" fmla="*/ 507 w 1185"/>
                <a:gd name="T63" fmla="*/ 2933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85" h="2933">
                  <a:moveTo>
                    <a:pt x="0" y="2933"/>
                  </a:moveTo>
                  <a:lnTo>
                    <a:pt x="17" y="2828"/>
                  </a:lnTo>
                  <a:lnTo>
                    <a:pt x="34" y="2724"/>
                  </a:lnTo>
                  <a:lnTo>
                    <a:pt x="53" y="2621"/>
                  </a:lnTo>
                  <a:lnTo>
                    <a:pt x="73" y="2518"/>
                  </a:lnTo>
                  <a:lnTo>
                    <a:pt x="94" y="2414"/>
                  </a:lnTo>
                  <a:lnTo>
                    <a:pt x="116" y="2313"/>
                  </a:lnTo>
                  <a:lnTo>
                    <a:pt x="140" y="2212"/>
                  </a:lnTo>
                  <a:lnTo>
                    <a:pt x="165" y="2111"/>
                  </a:lnTo>
                  <a:lnTo>
                    <a:pt x="191" y="2012"/>
                  </a:lnTo>
                  <a:lnTo>
                    <a:pt x="219" y="1913"/>
                  </a:lnTo>
                  <a:lnTo>
                    <a:pt x="248" y="1816"/>
                  </a:lnTo>
                  <a:lnTo>
                    <a:pt x="279" y="1719"/>
                  </a:lnTo>
                  <a:lnTo>
                    <a:pt x="311" y="1623"/>
                  </a:lnTo>
                  <a:lnTo>
                    <a:pt x="343" y="1528"/>
                  </a:lnTo>
                  <a:lnTo>
                    <a:pt x="377" y="1433"/>
                  </a:lnTo>
                  <a:lnTo>
                    <a:pt x="414" y="1339"/>
                  </a:lnTo>
                  <a:lnTo>
                    <a:pt x="451" y="1248"/>
                  </a:lnTo>
                  <a:lnTo>
                    <a:pt x="489" y="1156"/>
                  </a:lnTo>
                  <a:lnTo>
                    <a:pt x="529" y="1066"/>
                  </a:lnTo>
                  <a:lnTo>
                    <a:pt x="571" y="976"/>
                  </a:lnTo>
                  <a:lnTo>
                    <a:pt x="613" y="889"/>
                  </a:lnTo>
                  <a:lnTo>
                    <a:pt x="658" y="801"/>
                  </a:lnTo>
                  <a:lnTo>
                    <a:pt x="704" y="716"/>
                  </a:lnTo>
                  <a:lnTo>
                    <a:pt x="751" y="631"/>
                  </a:lnTo>
                  <a:lnTo>
                    <a:pt x="800" y="548"/>
                  </a:lnTo>
                  <a:lnTo>
                    <a:pt x="850" y="465"/>
                  </a:lnTo>
                  <a:lnTo>
                    <a:pt x="903" y="385"/>
                  </a:lnTo>
                  <a:lnTo>
                    <a:pt x="956" y="305"/>
                  </a:lnTo>
                  <a:lnTo>
                    <a:pt x="1011" y="227"/>
                  </a:lnTo>
                  <a:lnTo>
                    <a:pt x="1068" y="150"/>
                  </a:lnTo>
                  <a:lnTo>
                    <a:pt x="1125" y="74"/>
                  </a:lnTo>
                  <a:lnTo>
                    <a:pt x="1185" y="0"/>
                  </a:lnTo>
                  <a:lnTo>
                    <a:pt x="1154" y="91"/>
                  </a:lnTo>
                  <a:lnTo>
                    <a:pt x="1124" y="181"/>
                  </a:lnTo>
                  <a:lnTo>
                    <a:pt x="1095" y="270"/>
                  </a:lnTo>
                  <a:lnTo>
                    <a:pt x="1068" y="358"/>
                  </a:lnTo>
                  <a:lnTo>
                    <a:pt x="1041" y="445"/>
                  </a:lnTo>
                  <a:lnTo>
                    <a:pt x="1016" y="531"/>
                  </a:lnTo>
                  <a:lnTo>
                    <a:pt x="991" y="616"/>
                  </a:lnTo>
                  <a:lnTo>
                    <a:pt x="968" y="701"/>
                  </a:lnTo>
                  <a:lnTo>
                    <a:pt x="946" y="785"/>
                  </a:lnTo>
                  <a:lnTo>
                    <a:pt x="924" y="868"/>
                  </a:lnTo>
                  <a:lnTo>
                    <a:pt x="904" y="952"/>
                  </a:lnTo>
                  <a:lnTo>
                    <a:pt x="884" y="1035"/>
                  </a:lnTo>
                  <a:lnTo>
                    <a:pt x="866" y="1118"/>
                  </a:lnTo>
                  <a:lnTo>
                    <a:pt x="847" y="1200"/>
                  </a:lnTo>
                  <a:lnTo>
                    <a:pt x="831" y="1283"/>
                  </a:lnTo>
                  <a:lnTo>
                    <a:pt x="814" y="1365"/>
                  </a:lnTo>
                  <a:lnTo>
                    <a:pt x="799" y="1449"/>
                  </a:lnTo>
                  <a:lnTo>
                    <a:pt x="783" y="1531"/>
                  </a:lnTo>
                  <a:lnTo>
                    <a:pt x="770" y="1615"/>
                  </a:lnTo>
                  <a:lnTo>
                    <a:pt x="757" y="1698"/>
                  </a:lnTo>
                  <a:lnTo>
                    <a:pt x="743" y="1783"/>
                  </a:lnTo>
                  <a:lnTo>
                    <a:pt x="731" y="1867"/>
                  </a:lnTo>
                  <a:lnTo>
                    <a:pt x="719" y="1953"/>
                  </a:lnTo>
                  <a:lnTo>
                    <a:pt x="708" y="2038"/>
                  </a:lnTo>
                  <a:lnTo>
                    <a:pt x="698" y="2125"/>
                  </a:lnTo>
                  <a:lnTo>
                    <a:pt x="687" y="2213"/>
                  </a:lnTo>
                  <a:lnTo>
                    <a:pt x="677" y="2302"/>
                  </a:lnTo>
                  <a:lnTo>
                    <a:pt x="668" y="2392"/>
                  </a:lnTo>
                  <a:lnTo>
                    <a:pt x="650" y="2574"/>
                  </a:lnTo>
                  <a:lnTo>
                    <a:pt x="634" y="2763"/>
                  </a:lnTo>
                  <a:lnTo>
                    <a:pt x="507" y="2933"/>
                  </a:lnTo>
                  <a:lnTo>
                    <a:pt x="0" y="29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6" name="Freeform 61"/>
            <p:cNvSpPr>
              <a:spLocks noChangeArrowheads="1"/>
            </p:cNvSpPr>
            <p:nvPr userDrawn="1"/>
          </p:nvSpPr>
          <p:spPr bwMode="auto">
            <a:xfrm>
              <a:off x="939799" y="3078787"/>
              <a:ext cx="1454150" cy="2457977"/>
            </a:xfrm>
            <a:custGeom>
              <a:avLst/>
              <a:gdLst>
                <a:gd name="T0" fmla="*/ 143 w 3223"/>
                <a:gd name="T1" fmla="*/ 3169 h 4423"/>
                <a:gd name="T2" fmla="*/ 410 w 3223"/>
                <a:gd name="T3" fmla="*/ 2728 h 4423"/>
                <a:gd name="T4" fmla="*/ 694 w 3223"/>
                <a:gd name="T5" fmla="*/ 2299 h 4423"/>
                <a:gd name="T6" fmla="*/ 1066 w 3223"/>
                <a:gd name="T7" fmla="*/ 1794 h 4423"/>
                <a:gd name="T8" fmla="*/ 1476 w 3223"/>
                <a:gd name="T9" fmla="*/ 1306 h 4423"/>
                <a:gd name="T10" fmla="*/ 1910 w 3223"/>
                <a:gd name="T11" fmla="*/ 866 h 4423"/>
                <a:gd name="T12" fmla="*/ 2367 w 3223"/>
                <a:gd name="T13" fmla="*/ 477 h 4423"/>
                <a:gd name="T14" fmla="*/ 2848 w 3223"/>
                <a:gd name="T15" fmla="*/ 148 h 4423"/>
                <a:gd name="T16" fmla="*/ 3122 w 3223"/>
                <a:gd name="T17" fmla="*/ 1 h 4423"/>
                <a:gd name="T18" fmla="*/ 3170 w 3223"/>
                <a:gd name="T19" fmla="*/ 6 h 4423"/>
                <a:gd name="T20" fmla="*/ 3209 w 3223"/>
                <a:gd name="T21" fmla="*/ 38 h 4423"/>
                <a:gd name="T22" fmla="*/ 3223 w 3223"/>
                <a:gd name="T23" fmla="*/ 84 h 4423"/>
                <a:gd name="T24" fmla="*/ 3203 w 3223"/>
                <a:gd name="T25" fmla="*/ 139 h 4423"/>
                <a:gd name="T26" fmla="*/ 2915 w 3223"/>
                <a:gd name="T27" fmla="*/ 456 h 4423"/>
                <a:gd name="T28" fmla="*/ 2537 w 3223"/>
                <a:gd name="T29" fmla="*/ 911 h 4423"/>
                <a:gd name="T30" fmla="*/ 2201 w 3223"/>
                <a:gd name="T31" fmla="*/ 1371 h 4423"/>
                <a:gd name="T32" fmla="*/ 1894 w 3223"/>
                <a:gd name="T33" fmla="*/ 1851 h 4423"/>
                <a:gd name="T34" fmla="*/ 1597 w 3223"/>
                <a:gd name="T35" fmla="*/ 2373 h 4423"/>
                <a:gd name="T36" fmla="*/ 1331 w 3223"/>
                <a:gd name="T37" fmla="*/ 2995 h 4423"/>
                <a:gd name="T38" fmla="*/ 1155 w 3223"/>
                <a:gd name="T39" fmla="*/ 3591 h 4423"/>
                <a:gd name="T40" fmla="*/ 999 w 3223"/>
                <a:gd name="T41" fmla="*/ 4009 h 4423"/>
                <a:gd name="T42" fmla="*/ 860 w 3223"/>
                <a:gd name="T43" fmla="*/ 4271 h 4423"/>
                <a:gd name="T44" fmla="*/ 737 w 3223"/>
                <a:gd name="T45" fmla="*/ 4400 h 4423"/>
                <a:gd name="T46" fmla="*/ 626 w 3223"/>
                <a:gd name="T47" fmla="*/ 4419 h 4423"/>
                <a:gd name="T48" fmla="*/ 564 w 3223"/>
                <a:gd name="T49" fmla="*/ 4389 h 4423"/>
                <a:gd name="T50" fmla="*/ 500 w 3223"/>
                <a:gd name="T51" fmla="*/ 4320 h 4423"/>
                <a:gd name="T52" fmla="*/ 436 w 3223"/>
                <a:gd name="T53" fmla="*/ 4207 h 4423"/>
                <a:gd name="T54" fmla="*/ 310 w 3223"/>
                <a:gd name="T55" fmla="*/ 3867 h 4423"/>
                <a:gd name="T56" fmla="*/ 216 w 3223"/>
                <a:gd name="T57" fmla="*/ 3622 h 4423"/>
                <a:gd name="T58" fmla="*/ 164 w 3223"/>
                <a:gd name="T59" fmla="*/ 3534 h 4423"/>
                <a:gd name="T60" fmla="*/ 132 w 3223"/>
                <a:gd name="T61" fmla="*/ 3515 h 4423"/>
                <a:gd name="T62" fmla="*/ 90 w 3223"/>
                <a:gd name="T63" fmla="*/ 3529 h 4423"/>
                <a:gd name="T64" fmla="*/ 42 w 3223"/>
                <a:gd name="T65" fmla="*/ 3517 h 4423"/>
                <a:gd name="T66" fmla="*/ 7 w 3223"/>
                <a:gd name="T67" fmla="*/ 3476 h 4423"/>
                <a:gd name="T68" fmla="*/ 7 w 3223"/>
                <a:gd name="T69" fmla="*/ 3411 h 4423"/>
                <a:gd name="T70" fmla="*/ 402 w 3223"/>
                <a:gd name="T71" fmla="*/ 3067 h 4423"/>
                <a:gd name="T72" fmla="*/ 244 w 3223"/>
                <a:gd name="T73" fmla="*/ 3373 h 4423"/>
                <a:gd name="T74" fmla="*/ 324 w 3223"/>
                <a:gd name="T75" fmla="*/ 3464 h 4423"/>
                <a:gd name="T76" fmla="*/ 398 w 3223"/>
                <a:gd name="T77" fmla="*/ 3609 h 4423"/>
                <a:gd name="T78" fmla="*/ 513 w 3223"/>
                <a:gd name="T79" fmla="*/ 3933 h 4423"/>
                <a:gd name="T80" fmla="*/ 594 w 3223"/>
                <a:gd name="T81" fmla="*/ 4150 h 4423"/>
                <a:gd name="T82" fmla="*/ 643 w 3223"/>
                <a:gd name="T83" fmla="*/ 4235 h 4423"/>
                <a:gd name="T84" fmla="*/ 668 w 3223"/>
                <a:gd name="T85" fmla="*/ 4253 h 4423"/>
                <a:gd name="T86" fmla="*/ 716 w 3223"/>
                <a:gd name="T87" fmla="*/ 4236 h 4423"/>
                <a:gd name="T88" fmla="*/ 789 w 3223"/>
                <a:gd name="T89" fmla="*/ 4127 h 4423"/>
                <a:gd name="T90" fmla="*/ 883 w 3223"/>
                <a:gd name="T91" fmla="*/ 3903 h 4423"/>
                <a:gd name="T92" fmla="*/ 1070 w 3223"/>
                <a:gd name="T93" fmla="*/ 3305 h 4423"/>
                <a:gd name="T94" fmla="*/ 1291 w 3223"/>
                <a:gd name="T95" fmla="*/ 2582 h 4423"/>
                <a:gd name="T96" fmla="*/ 1595 w 3223"/>
                <a:gd name="T97" fmla="*/ 2025 h 4423"/>
                <a:gd name="T98" fmla="*/ 1901 w 3223"/>
                <a:gd name="T99" fmla="*/ 1516 h 4423"/>
                <a:gd name="T100" fmla="*/ 2169 w 3223"/>
                <a:gd name="T101" fmla="*/ 1118 h 4423"/>
                <a:gd name="T102" fmla="*/ 2398 w 3223"/>
                <a:gd name="T103" fmla="*/ 811 h 4423"/>
                <a:gd name="T104" fmla="*/ 2645 w 3223"/>
                <a:gd name="T105" fmla="*/ 506 h 4423"/>
                <a:gd name="T106" fmla="*/ 2378 w 3223"/>
                <a:gd name="T107" fmla="*/ 685 h 4423"/>
                <a:gd name="T108" fmla="*/ 2020 w 3223"/>
                <a:gd name="T109" fmla="*/ 996 h 4423"/>
                <a:gd name="T110" fmla="*/ 1677 w 3223"/>
                <a:gd name="T111" fmla="*/ 1341 h 4423"/>
                <a:gd name="T112" fmla="*/ 1348 w 3223"/>
                <a:gd name="T113" fmla="*/ 1716 h 4423"/>
                <a:gd name="T114" fmla="*/ 1034 w 3223"/>
                <a:gd name="T115" fmla="*/ 2118 h 4423"/>
                <a:gd name="T116" fmla="*/ 740 w 3223"/>
                <a:gd name="T117" fmla="*/ 2536 h 4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23" h="4423">
                  <a:moveTo>
                    <a:pt x="11" y="3401"/>
                  </a:moveTo>
                  <a:lnTo>
                    <a:pt x="12" y="3400"/>
                  </a:lnTo>
                  <a:lnTo>
                    <a:pt x="15" y="3396"/>
                  </a:lnTo>
                  <a:lnTo>
                    <a:pt x="57" y="3319"/>
                  </a:lnTo>
                  <a:lnTo>
                    <a:pt x="100" y="3244"/>
                  </a:lnTo>
                  <a:lnTo>
                    <a:pt x="143" y="3169"/>
                  </a:lnTo>
                  <a:lnTo>
                    <a:pt x="188" y="3095"/>
                  </a:lnTo>
                  <a:lnTo>
                    <a:pt x="231" y="3020"/>
                  </a:lnTo>
                  <a:lnTo>
                    <a:pt x="275" y="2947"/>
                  </a:lnTo>
                  <a:lnTo>
                    <a:pt x="319" y="2874"/>
                  </a:lnTo>
                  <a:lnTo>
                    <a:pt x="365" y="2801"/>
                  </a:lnTo>
                  <a:lnTo>
                    <a:pt x="410" y="2728"/>
                  </a:lnTo>
                  <a:lnTo>
                    <a:pt x="456" y="2655"/>
                  </a:lnTo>
                  <a:lnTo>
                    <a:pt x="504" y="2583"/>
                  </a:lnTo>
                  <a:lnTo>
                    <a:pt x="550" y="2511"/>
                  </a:lnTo>
                  <a:lnTo>
                    <a:pt x="599" y="2440"/>
                  </a:lnTo>
                  <a:lnTo>
                    <a:pt x="646" y="2369"/>
                  </a:lnTo>
                  <a:lnTo>
                    <a:pt x="694" y="2299"/>
                  </a:lnTo>
                  <a:lnTo>
                    <a:pt x="743" y="2229"/>
                  </a:lnTo>
                  <a:lnTo>
                    <a:pt x="807" y="2140"/>
                  </a:lnTo>
                  <a:lnTo>
                    <a:pt x="870" y="2052"/>
                  </a:lnTo>
                  <a:lnTo>
                    <a:pt x="934" y="1965"/>
                  </a:lnTo>
                  <a:lnTo>
                    <a:pt x="1000" y="1878"/>
                  </a:lnTo>
                  <a:lnTo>
                    <a:pt x="1066" y="1794"/>
                  </a:lnTo>
                  <a:lnTo>
                    <a:pt x="1133" y="1709"/>
                  </a:lnTo>
                  <a:lnTo>
                    <a:pt x="1200" y="1627"/>
                  </a:lnTo>
                  <a:lnTo>
                    <a:pt x="1268" y="1544"/>
                  </a:lnTo>
                  <a:lnTo>
                    <a:pt x="1337" y="1464"/>
                  </a:lnTo>
                  <a:lnTo>
                    <a:pt x="1406" y="1384"/>
                  </a:lnTo>
                  <a:lnTo>
                    <a:pt x="1476" y="1306"/>
                  </a:lnTo>
                  <a:lnTo>
                    <a:pt x="1547" y="1230"/>
                  </a:lnTo>
                  <a:lnTo>
                    <a:pt x="1618" y="1153"/>
                  </a:lnTo>
                  <a:lnTo>
                    <a:pt x="1690" y="1080"/>
                  </a:lnTo>
                  <a:lnTo>
                    <a:pt x="1762" y="1007"/>
                  </a:lnTo>
                  <a:lnTo>
                    <a:pt x="1836" y="935"/>
                  </a:lnTo>
                  <a:lnTo>
                    <a:pt x="1910" y="866"/>
                  </a:lnTo>
                  <a:lnTo>
                    <a:pt x="1984" y="797"/>
                  </a:lnTo>
                  <a:lnTo>
                    <a:pt x="2059" y="730"/>
                  </a:lnTo>
                  <a:lnTo>
                    <a:pt x="2135" y="664"/>
                  </a:lnTo>
                  <a:lnTo>
                    <a:pt x="2213" y="600"/>
                  </a:lnTo>
                  <a:lnTo>
                    <a:pt x="2290" y="538"/>
                  </a:lnTo>
                  <a:lnTo>
                    <a:pt x="2367" y="477"/>
                  </a:lnTo>
                  <a:lnTo>
                    <a:pt x="2446" y="417"/>
                  </a:lnTo>
                  <a:lnTo>
                    <a:pt x="2525" y="361"/>
                  </a:lnTo>
                  <a:lnTo>
                    <a:pt x="2605" y="305"/>
                  </a:lnTo>
                  <a:lnTo>
                    <a:pt x="2685" y="251"/>
                  </a:lnTo>
                  <a:lnTo>
                    <a:pt x="2767" y="199"/>
                  </a:lnTo>
                  <a:lnTo>
                    <a:pt x="2848" y="148"/>
                  </a:lnTo>
                  <a:lnTo>
                    <a:pt x="2931" y="100"/>
                  </a:lnTo>
                  <a:lnTo>
                    <a:pt x="3014" y="54"/>
                  </a:lnTo>
                  <a:lnTo>
                    <a:pt x="3098" y="9"/>
                  </a:lnTo>
                  <a:lnTo>
                    <a:pt x="3107" y="5"/>
                  </a:lnTo>
                  <a:lnTo>
                    <a:pt x="3114" y="3"/>
                  </a:lnTo>
                  <a:lnTo>
                    <a:pt x="3122" y="1"/>
                  </a:lnTo>
                  <a:lnTo>
                    <a:pt x="3131" y="0"/>
                  </a:lnTo>
                  <a:lnTo>
                    <a:pt x="3140" y="0"/>
                  </a:lnTo>
                  <a:lnTo>
                    <a:pt x="3148" y="0"/>
                  </a:lnTo>
                  <a:lnTo>
                    <a:pt x="3155" y="2"/>
                  </a:lnTo>
                  <a:lnTo>
                    <a:pt x="3163" y="4"/>
                  </a:lnTo>
                  <a:lnTo>
                    <a:pt x="3170" y="6"/>
                  </a:lnTo>
                  <a:lnTo>
                    <a:pt x="3179" y="10"/>
                  </a:lnTo>
                  <a:lnTo>
                    <a:pt x="3186" y="14"/>
                  </a:lnTo>
                  <a:lnTo>
                    <a:pt x="3192" y="20"/>
                  </a:lnTo>
                  <a:lnTo>
                    <a:pt x="3198" y="25"/>
                  </a:lnTo>
                  <a:lnTo>
                    <a:pt x="3203" y="31"/>
                  </a:lnTo>
                  <a:lnTo>
                    <a:pt x="3209" y="38"/>
                  </a:lnTo>
                  <a:lnTo>
                    <a:pt x="3214" y="45"/>
                  </a:lnTo>
                  <a:lnTo>
                    <a:pt x="3216" y="53"/>
                  </a:lnTo>
                  <a:lnTo>
                    <a:pt x="3219" y="59"/>
                  </a:lnTo>
                  <a:lnTo>
                    <a:pt x="3221" y="65"/>
                  </a:lnTo>
                  <a:lnTo>
                    <a:pt x="3222" y="72"/>
                  </a:lnTo>
                  <a:lnTo>
                    <a:pt x="3223" y="84"/>
                  </a:lnTo>
                  <a:lnTo>
                    <a:pt x="3222" y="98"/>
                  </a:lnTo>
                  <a:lnTo>
                    <a:pt x="3219" y="110"/>
                  </a:lnTo>
                  <a:lnTo>
                    <a:pt x="3214" y="123"/>
                  </a:lnTo>
                  <a:lnTo>
                    <a:pt x="3211" y="129"/>
                  </a:lnTo>
                  <a:lnTo>
                    <a:pt x="3208" y="134"/>
                  </a:lnTo>
                  <a:lnTo>
                    <a:pt x="3203" y="139"/>
                  </a:lnTo>
                  <a:lnTo>
                    <a:pt x="3199" y="144"/>
                  </a:lnTo>
                  <a:lnTo>
                    <a:pt x="3125" y="223"/>
                  </a:lnTo>
                  <a:lnTo>
                    <a:pt x="3053" y="301"/>
                  </a:lnTo>
                  <a:lnTo>
                    <a:pt x="2983" y="378"/>
                  </a:lnTo>
                  <a:lnTo>
                    <a:pt x="2915" y="456"/>
                  </a:lnTo>
                  <a:lnTo>
                    <a:pt x="2848" y="532"/>
                  </a:lnTo>
                  <a:lnTo>
                    <a:pt x="2783" y="608"/>
                  </a:lnTo>
                  <a:lnTo>
                    <a:pt x="2719" y="684"/>
                  </a:lnTo>
                  <a:lnTo>
                    <a:pt x="2658" y="760"/>
                  </a:lnTo>
                  <a:lnTo>
                    <a:pt x="2596" y="836"/>
                  </a:lnTo>
                  <a:lnTo>
                    <a:pt x="2537" y="911"/>
                  </a:lnTo>
                  <a:lnTo>
                    <a:pt x="2478" y="987"/>
                  </a:lnTo>
                  <a:lnTo>
                    <a:pt x="2421" y="1064"/>
                  </a:lnTo>
                  <a:lnTo>
                    <a:pt x="2365" y="1140"/>
                  </a:lnTo>
                  <a:lnTo>
                    <a:pt x="2309" y="1216"/>
                  </a:lnTo>
                  <a:lnTo>
                    <a:pt x="2255" y="1294"/>
                  </a:lnTo>
                  <a:lnTo>
                    <a:pt x="2201" y="1371"/>
                  </a:lnTo>
                  <a:lnTo>
                    <a:pt x="2149" y="1449"/>
                  </a:lnTo>
                  <a:lnTo>
                    <a:pt x="2097" y="1528"/>
                  </a:lnTo>
                  <a:lnTo>
                    <a:pt x="2046" y="1608"/>
                  </a:lnTo>
                  <a:lnTo>
                    <a:pt x="1994" y="1687"/>
                  </a:lnTo>
                  <a:lnTo>
                    <a:pt x="1944" y="1770"/>
                  </a:lnTo>
                  <a:lnTo>
                    <a:pt x="1894" y="1851"/>
                  </a:lnTo>
                  <a:lnTo>
                    <a:pt x="1844" y="1936"/>
                  </a:lnTo>
                  <a:lnTo>
                    <a:pt x="1794" y="2020"/>
                  </a:lnTo>
                  <a:lnTo>
                    <a:pt x="1745" y="2106"/>
                  </a:lnTo>
                  <a:lnTo>
                    <a:pt x="1695" y="2194"/>
                  </a:lnTo>
                  <a:lnTo>
                    <a:pt x="1646" y="2283"/>
                  </a:lnTo>
                  <a:lnTo>
                    <a:pt x="1597" y="2373"/>
                  </a:lnTo>
                  <a:lnTo>
                    <a:pt x="1546" y="2466"/>
                  </a:lnTo>
                  <a:lnTo>
                    <a:pt x="1496" y="2560"/>
                  </a:lnTo>
                  <a:lnTo>
                    <a:pt x="1445" y="2655"/>
                  </a:lnTo>
                  <a:lnTo>
                    <a:pt x="1395" y="2752"/>
                  </a:lnTo>
                  <a:lnTo>
                    <a:pt x="1363" y="2877"/>
                  </a:lnTo>
                  <a:lnTo>
                    <a:pt x="1331" y="2995"/>
                  </a:lnTo>
                  <a:lnTo>
                    <a:pt x="1300" y="3108"/>
                  </a:lnTo>
                  <a:lnTo>
                    <a:pt x="1270" y="3215"/>
                  </a:lnTo>
                  <a:lnTo>
                    <a:pt x="1240" y="3317"/>
                  </a:lnTo>
                  <a:lnTo>
                    <a:pt x="1211" y="3413"/>
                  </a:lnTo>
                  <a:lnTo>
                    <a:pt x="1183" y="3505"/>
                  </a:lnTo>
                  <a:lnTo>
                    <a:pt x="1155" y="3591"/>
                  </a:lnTo>
                  <a:lnTo>
                    <a:pt x="1127" y="3673"/>
                  </a:lnTo>
                  <a:lnTo>
                    <a:pt x="1100" y="3749"/>
                  </a:lnTo>
                  <a:lnTo>
                    <a:pt x="1074" y="3821"/>
                  </a:lnTo>
                  <a:lnTo>
                    <a:pt x="1049" y="3888"/>
                  </a:lnTo>
                  <a:lnTo>
                    <a:pt x="1024" y="3950"/>
                  </a:lnTo>
                  <a:lnTo>
                    <a:pt x="999" y="4009"/>
                  </a:lnTo>
                  <a:lnTo>
                    <a:pt x="974" y="4062"/>
                  </a:lnTo>
                  <a:lnTo>
                    <a:pt x="951" y="4112"/>
                  </a:lnTo>
                  <a:lnTo>
                    <a:pt x="927" y="4157"/>
                  </a:lnTo>
                  <a:lnTo>
                    <a:pt x="904" y="4199"/>
                  </a:lnTo>
                  <a:lnTo>
                    <a:pt x="882" y="4237"/>
                  </a:lnTo>
                  <a:lnTo>
                    <a:pt x="860" y="4271"/>
                  </a:lnTo>
                  <a:lnTo>
                    <a:pt x="839" y="4301"/>
                  </a:lnTo>
                  <a:lnTo>
                    <a:pt x="818" y="4327"/>
                  </a:lnTo>
                  <a:lnTo>
                    <a:pt x="797" y="4350"/>
                  </a:lnTo>
                  <a:lnTo>
                    <a:pt x="777" y="4370"/>
                  </a:lnTo>
                  <a:lnTo>
                    <a:pt x="756" y="4386"/>
                  </a:lnTo>
                  <a:lnTo>
                    <a:pt x="737" y="4400"/>
                  </a:lnTo>
                  <a:lnTo>
                    <a:pt x="718" y="4410"/>
                  </a:lnTo>
                  <a:lnTo>
                    <a:pt x="698" y="4417"/>
                  </a:lnTo>
                  <a:lnTo>
                    <a:pt x="680" y="4422"/>
                  </a:lnTo>
                  <a:lnTo>
                    <a:pt x="661" y="4423"/>
                  </a:lnTo>
                  <a:lnTo>
                    <a:pt x="644" y="4422"/>
                  </a:lnTo>
                  <a:lnTo>
                    <a:pt x="626" y="4419"/>
                  </a:lnTo>
                  <a:lnTo>
                    <a:pt x="613" y="4416"/>
                  </a:lnTo>
                  <a:lnTo>
                    <a:pt x="600" y="4411"/>
                  </a:lnTo>
                  <a:lnTo>
                    <a:pt x="587" y="4405"/>
                  </a:lnTo>
                  <a:lnTo>
                    <a:pt x="576" y="4398"/>
                  </a:lnTo>
                  <a:lnTo>
                    <a:pt x="564" y="4389"/>
                  </a:lnTo>
                  <a:lnTo>
                    <a:pt x="552" y="4380"/>
                  </a:lnTo>
                  <a:lnTo>
                    <a:pt x="541" y="4370"/>
                  </a:lnTo>
                  <a:lnTo>
                    <a:pt x="531" y="4358"/>
                  </a:lnTo>
                  <a:lnTo>
                    <a:pt x="519" y="4347"/>
                  </a:lnTo>
                  <a:lnTo>
                    <a:pt x="509" y="4334"/>
                  </a:lnTo>
                  <a:lnTo>
                    <a:pt x="500" y="4320"/>
                  </a:lnTo>
                  <a:lnTo>
                    <a:pt x="489" y="4306"/>
                  </a:lnTo>
                  <a:lnTo>
                    <a:pt x="480" y="4291"/>
                  </a:lnTo>
                  <a:lnTo>
                    <a:pt x="471" y="4276"/>
                  </a:lnTo>
                  <a:lnTo>
                    <a:pt x="462" y="4259"/>
                  </a:lnTo>
                  <a:lnTo>
                    <a:pt x="452" y="4242"/>
                  </a:lnTo>
                  <a:lnTo>
                    <a:pt x="436" y="4207"/>
                  </a:lnTo>
                  <a:lnTo>
                    <a:pt x="418" y="4169"/>
                  </a:lnTo>
                  <a:lnTo>
                    <a:pt x="403" y="4129"/>
                  </a:lnTo>
                  <a:lnTo>
                    <a:pt x="387" y="4088"/>
                  </a:lnTo>
                  <a:lnTo>
                    <a:pt x="356" y="4004"/>
                  </a:lnTo>
                  <a:lnTo>
                    <a:pt x="327" y="3916"/>
                  </a:lnTo>
                  <a:lnTo>
                    <a:pt x="310" y="3867"/>
                  </a:lnTo>
                  <a:lnTo>
                    <a:pt x="294" y="3818"/>
                  </a:lnTo>
                  <a:lnTo>
                    <a:pt x="277" y="3771"/>
                  </a:lnTo>
                  <a:lnTo>
                    <a:pt x="260" y="3725"/>
                  </a:lnTo>
                  <a:lnTo>
                    <a:pt x="243" y="3682"/>
                  </a:lnTo>
                  <a:lnTo>
                    <a:pt x="226" y="3641"/>
                  </a:lnTo>
                  <a:lnTo>
                    <a:pt x="216" y="3622"/>
                  </a:lnTo>
                  <a:lnTo>
                    <a:pt x="208" y="3604"/>
                  </a:lnTo>
                  <a:lnTo>
                    <a:pt x="199" y="3587"/>
                  </a:lnTo>
                  <a:lnTo>
                    <a:pt x="190" y="3571"/>
                  </a:lnTo>
                  <a:lnTo>
                    <a:pt x="180" y="3557"/>
                  </a:lnTo>
                  <a:lnTo>
                    <a:pt x="172" y="3544"/>
                  </a:lnTo>
                  <a:lnTo>
                    <a:pt x="164" y="3534"/>
                  </a:lnTo>
                  <a:lnTo>
                    <a:pt x="157" y="3525"/>
                  </a:lnTo>
                  <a:lnTo>
                    <a:pt x="148" y="3519"/>
                  </a:lnTo>
                  <a:lnTo>
                    <a:pt x="142" y="3515"/>
                  </a:lnTo>
                  <a:lnTo>
                    <a:pt x="138" y="3515"/>
                  </a:lnTo>
                  <a:lnTo>
                    <a:pt x="135" y="3514"/>
                  </a:lnTo>
                  <a:lnTo>
                    <a:pt x="132" y="3515"/>
                  </a:lnTo>
                  <a:lnTo>
                    <a:pt x="130" y="3516"/>
                  </a:lnTo>
                  <a:lnTo>
                    <a:pt x="122" y="3520"/>
                  </a:lnTo>
                  <a:lnTo>
                    <a:pt x="113" y="3523"/>
                  </a:lnTo>
                  <a:lnTo>
                    <a:pt x="106" y="3526"/>
                  </a:lnTo>
                  <a:lnTo>
                    <a:pt x="98" y="3527"/>
                  </a:lnTo>
                  <a:lnTo>
                    <a:pt x="90" y="3529"/>
                  </a:lnTo>
                  <a:lnTo>
                    <a:pt x="81" y="3529"/>
                  </a:lnTo>
                  <a:lnTo>
                    <a:pt x="73" y="3527"/>
                  </a:lnTo>
                  <a:lnTo>
                    <a:pt x="65" y="3525"/>
                  </a:lnTo>
                  <a:lnTo>
                    <a:pt x="57" y="3523"/>
                  </a:lnTo>
                  <a:lnTo>
                    <a:pt x="50" y="3520"/>
                  </a:lnTo>
                  <a:lnTo>
                    <a:pt x="42" y="3517"/>
                  </a:lnTo>
                  <a:lnTo>
                    <a:pt x="35" y="3512"/>
                  </a:lnTo>
                  <a:lnTo>
                    <a:pt x="29" y="3507"/>
                  </a:lnTo>
                  <a:lnTo>
                    <a:pt x="23" y="3501"/>
                  </a:lnTo>
                  <a:lnTo>
                    <a:pt x="18" y="3494"/>
                  </a:lnTo>
                  <a:lnTo>
                    <a:pt x="12" y="3487"/>
                  </a:lnTo>
                  <a:lnTo>
                    <a:pt x="7" y="3476"/>
                  </a:lnTo>
                  <a:lnTo>
                    <a:pt x="3" y="3466"/>
                  </a:lnTo>
                  <a:lnTo>
                    <a:pt x="1" y="3454"/>
                  </a:lnTo>
                  <a:lnTo>
                    <a:pt x="0" y="3443"/>
                  </a:lnTo>
                  <a:lnTo>
                    <a:pt x="1" y="3433"/>
                  </a:lnTo>
                  <a:lnTo>
                    <a:pt x="3" y="3421"/>
                  </a:lnTo>
                  <a:lnTo>
                    <a:pt x="7" y="3411"/>
                  </a:lnTo>
                  <a:lnTo>
                    <a:pt x="11" y="3401"/>
                  </a:lnTo>
                  <a:close/>
                  <a:moveTo>
                    <a:pt x="510" y="2891"/>
                  </a:moveTo>
                  <a:lnTo>
                    <a:pt x="474" y="2950"/>
                  </a:lnTo>
                  <a:lnTo>
                    <a:pt x="438" y="3008"/>
                  </a:lnTo>
                  <a:lnTo>
                    <a:pt x="402" y="3067"/>
                  </a:lnTo>
                  <a:lnTo>
                    <a:pt x="367" y="3125"/>
                  </a:lnTo>
                  <a:lnTo>
                    <a:pt x="332" y="3184"/>
                  </a:lnTo>
                  <a:lnTo>
                    <a:pt x="298" y="3244"/>
                  </a:lnTo>
                  <a:lnTo>
                    <a:pt x="264" y="3303"/>
                  </a:lnTo>
                  <a:lnTo>
                    <a:pt x="230" y="3363"/>
                  </a:lnTo>
                  <a:lnTo>
                    <a:pt x="244" y="3373"/>
                  </a:lnTo>
                  <a:lnTo>
                    <a:pt x="258" y="3384"/>
                  </a:lnTo>
                  <a:lnTo>
                    <a:pt x="272" y="3398"/>
                  </a:lnTo>
                  <a:lnTo>
                    <a:pt x="285" y="3412"/>
                  </a:lnTo>
                  <a:lnTo>
                    <a:pt x="299" y="3427"/>
                  </a:lnTo>
                  <a:lnTo>
                    <a:pt x="311" y="3445"/>
                  </a:lnTo>
                  <a:lnTo>
                    <a:pt x="324" y="3464"/>
                  </a:lnTo>
                  <a:lnTo>
                    <a:pt x="336" y="3483"/>
                  </a:lnTo>
                  <a:lnTo>
                    <a:pt x="347" y="3502"/>
                  </a:lnTo>
                  <a:lnTo>
                    <a:pt x="358" y="3521"/>
                  </a:lnTo>
                  <a:lnTo>
                    <a:pt x="368" y="3542"/>
                  </a:lnTo>
                  <a:lnTo>
                    <a:pt x="378" y="3564"/>
                  </a:lnTo>
                  <a:lnTo>
                    <a:pt x="398" y="3609"/>
                  </a:lnTo>
                  <a:lnTo>
                    <a:pt x="416" y="3656"/>
                  </a:lnTo>
                  <a:lnTo>
                    <a:pt x="435" y="3706"/>
                  </a:lnTo>
                  <a:lnTo>
                    <a:pt x="453" y="3757"/>
                  </a:lnTo>
                  <a:lnTo>
                    <a:pt x="471" y="3810"/>
                  </a:lnTo>
                  <a:lnTo>
                    <a:pt x="489" y="3863"/>
                  </a:lnTo>
                  <a:lnTo>
                    <a:pt x="513" y="3933"/>
                  </a:lnTo>
                  <a:lnTo>
                    <a:pt x="537" y="4002"/>
                  </a:lnTo>
                  <a:lnTo>
                    <a:pt x="548" y="4035"/>
                  </a:lnTo>
                  <a:lnTo>
                    <a:pt x="559" y="4066"/>
                  </a:lnTo>
                  <a:lnTo>
                    <a:pt x="571" y="4095"/>
                  </a:lnTo>
                  <a:lnTo>
                    <a:pt x="583" y="4124"/>
                  </a:lnTo>
                  <a:lnTo>
                    <a:pt x="594" y="4150"/>
                  </a:lnTo>
                  <a:lnTo>
                    <a:pt x="605" y="4174"/>
                  </a:lnTo>
                  <a:lnTo>
                    <a:pt x="616" y="4195"/>
                  </a:lnTo>
                  <a:lnTo>
                    <a:pt x="627" y="4213"/>
                  </a:lnTo>
                  <a:lnTo>
                    <a:pt x="633" y="4221"/>
                  </a:lnTo>
                  <a:lnTo>
                    <a:pt x="638" y="4228"/>
                  </a:lnTo>
                  <a:lnTo>
                    <a:pt x="643" y="4235"/>
                  </a:lnTo>
                  <a:lnTo>
                    <a:pt x="648" y="4241"/>
                  </a:lnTo>
                  <a:lnTo>
                    <a:pt x="653" y="4245"/>
                  </a:lnTo>
                  <a:lnTo>
                    <a:pt x="658" y="4249"/>
                  </a:lnTo>
                  <a:lnTo>
                    <a:pt x="663" y="4252"/>
                  </a:lnTo>
                  <a:lnTo>
                    <a:pt x="668" y="4253"/>
                  </a:lnTo>
                  <a:lnTo>
                    <a:pt x="677" y="4255"/>
                  </a:lnTo>
                  <a:lnTo>
                    <a:pt x="686" y="4254"/>
                  </a:lnTo>
                  <a:lnTo>
                    <a:pt x="695" y="4250"/>
                  </a:lnTo>
                  <a:lnTo>
                    <a:pt x="706" y="4244"/>
                  </a:lnTo>
                  <a:lnTo>
                    <a:pt x="716" y="4236"/>
                  </a:lnTo>
                  <a:lnTo>
                    <a:pt x="727" y="4225"/>
                  </a:lnTo>
                  <a:lnTo>
                    <a:pt x="739" y="4211"/>
                  </a:lnTo>
                  <a:lnTo>
                    <a:pt x="750" y="4194"/>
                  </a:lnTo>
                  <a:lnTo>
                    <a:pt x="763" y="4175"/>
                  </a:lnTo>
                  <a:lnTo>
                    <a:pt x="776" y="4153"/>
                  </a:lnTo>
                  <a:lnTo>
                    <a:pt x="789" y="4127"/>
                  </a:lnTo>
                  <a:lnTo>
                    <a:pt x="804" y="4099"/>
                  </a:lnTo>
                  <a:lnTo>
                    <a:pt x="818" y="4067"/>
                  </a:lnTo>
                  <a:lnTo>
                    <a:pt x="833" y="4031"/>
                  </a:lnTo>
                  <a:lnTo>
                    <a:pt x="850" y="3991"/>
                  </a:lnTo>
                  <a:lnTo>
                    <a:pt x="866" y="3949"/>
                  </a:lnTo>
                  <a:lnTo>
                    <a:pt x="883" y="3903"/>
                  </a:lnTo>
                  <a:lnTo>
                    <a:pt x="901" y="3853"/>
                  </a:lnTo>
                  <a:lnTo>
                    <a:pt x="920" y="3799"/>
                  </a:lnTo>
                  <a:lnTo>
                    <a:pt x="938" y="3741"/>
                  </a:lnTo>
                  <a:lnTo>
                    <a:pt x="980" y="3613"/>
                  </a:lnTo>
                  <a:lnTo>
                    <a:pt x="1024" y="3468"/>
                  </a:lnTo>
                  <a:lnTo>
                    <a:pt x="1070" y="3305"/>
                  </a:lnTo>
                  <a:lnTo>
                    <a:pt x="1121" y="3123"/>
                  </a:lnTo>
                  <a:lnTo>
                    <a:pt x="1174" y="2923"/>
                  </a:lnTo>
                  <a:lnTo>
                    <a:pt x="1232" y="2702"/>
                  </a:lnTo>
                  <a:lnTo>
                    <a:pt x="1235" y="2691"/>
                  </a:lnTo>
                  <a:lnTo>
                    <a:pt x="1239" y="2681"/>
                  </a:lnTo>
                  <a:lnTo>
                    <a:pt x="1291" y="2582"/>
                  </a:lnTo>
                  <a:lnTo>
                    <a:pt x="1342" y="2484"/>
                  </a:lnTo>
                  <a:lnTo>
                    <a:pt x="1393" y="2389"/>
                  </a:lnTo>
                  <a:lnTo>
                    <a:pt x="1443" y="2296"/>
                  </a:lnTo>
                  <a:lnTo>
                    <a:pt x="1494" y="2204"/>
                  </a:lnTo>
                  <a:lnTo>
                    <a:pt x="1544" y="2113"/>
                  </a:lnTo>
                  <a:lnTo>
                    <a:pt x="1595" y="2025"/>
                  </a:lnTo>
                  <a:lnTo>
                    <a:pt x="1645" y="1937"/>
                  </a:lnTo>
                  <a:lnTo>
                    <a:pt x="1695" y="1850"/>
                  </a:lnTo>
                  <a:lnTo>
                    <a:pt x="1747" y="1765"/>
                  </a:lnTo>
                  <a:lnTo>
                    <a:pt x="1797" y="1681"/>
                  </a:lnTo>
                  <a:lnTo>
                    <a:pt x="1849" y="1598"/>
                  </a:lnTo>
                  <a:lnTo>
                    <a:pt x="1901" y="1516"/>
                  </a:lnTo>
                  <a:lnTo>
                    <a:pt x="1954" y="1435"/>
                  </a:lnTo>
                  <a:lnTo>
                    <a:pt x="2007" y="1354"/>
                  </a:lnTo>
                  <a:lnTo>
                    <a:pt x="2060" y="1275"/>
                  </a:lnTo>
                  <a:lnTo>
                    <a:pt x="2096" y="1223"/>
                  </a:lnTo>
                  <a:lnTo>
                    <a:pt x="2132" y="1171"/>
                  </a:lnTo>
                  <a:lnTo>
                    <a:pt x="2169" y="1118"/>
                  </a:lnTo>
                  <a:lnTo>
                    <a:pt x="2206" y="1067"/>
                  </a:lnTo>
                  <a:lnTo>
                    <a:pt x="2243" y="1016"/>
                  </a:lnTo>
                  <a:lnTo>
                    <a:pt x="2282" y="965"/>
                  </a:lnTo>
                  <a:lnTo>
                    <a:pt x="2320" y="913"/>
                  </a:lnTo>
                  <a:lnTo>
                    <a:pt x="2359" y="863"/>
                  </a:lnTo>
                  <a:lnTo>
                    <a:pt x="2398" y="811"/>
                  </a:lnTo>
                  <a:lnTo>
                    <a:pt x="2437" y="761"/>
                  </a:lnTo>
                  <a:lnTo>
                    <a:pt x="2478" y="710"/>
                  </a:lnTo>
                  <a:lnTo>
                    <a:pt x="2518" y="659"/>
                  </a:lnTo>
                  <a:lnTo>
                    <a:pt x="2561" y="608"/>
                  </a:lnTo>
                  <a:lnTo>
                    <a:pt x="2602" y="557"/>
                  </a:lnTo>
                  <a:lnTo>
                    <a:pt x="2645" y="506"/>
                  </a:lnTo>
                  <a:lnTo>
                    <a:pt x="2688" y="455"/>
                  </a:lnTo>
                  <a:lnTo>
                    <a:pt x="2626" y="499"/>
                  </a:lnTo>
                  <a:lnTo>
                    <a:pt x="2564" y="544"/>
                  </a:lnTo>
                  <a:lnTo>
                    <a:pt x="2502" y="590"/>
                  </a:lnTo>
                  <a:lnTo>
                    <a:pt x="2440" y="637"/>
                  </a:lnTo>
                  <a:lnTo>
                    <a:pt x="2378" y="685"/>
                  </a:lnTo>
                  <a:lnTo>
                    <a:pt x="2318" y="735"/>
                  </a:lnTo>
                  <a:lnTo>
                    <a:pt x="2258" y="784"/>
                  </a:lnTo>
                  <a:lnTo>
                    <a:pt x="2198" y="836"/>
                  </a:lnTo>
                  <a:lnTo>
                    <a:pt x="2138" y="889"/>
                  </a:lnTo>
                  <a:lnTo>
                    <a:pt x="2079" y="942"/>
                  </a:lnTo>
                  <a:lnTo>
                    <a:pt x="2020" y="996"/>
                  </a:lnTo>
                  <a:lnTo>
                    <a:pt x="1962" y="1051"/>
                  </a:lnTo>
                  <a:lnTo>
                    <a:pt x="1905" y="1107"/>
                  </a:lnTo>
                  <a:lnTo>
                    <a:pt x="1847" y="1165"/>
                  </a:lnTo>
                  <a:lnTo>
                    <a:pt x="1790" y="1223"/>
                  </a:lnTo>
                  <a:lnTo>
                    <a:pt x="1734" y="1281"/>
                  </a:lnTo>
                  <a:lnTo>
                    <a:pt x="1677" y="1341"/>
                  </a:lnTo>
                  <a:lnTo>
                    <a:pt x="1621" y="1401"/>
                  </a:lnTo>
                  <a:lnTo>
                    <a:pt x="1566" y="1463"/>
                  </a:lnTo>
                  <a:lnTo>
                    <a:pt x="1510" y="1525"/>
                  </a:lnTo>
                  <a:lnTo>
                    <a:pt x="1456" y="1587"/>
                  </a:lnTo>
                  <a:lnTo>
                    <a:pt x="1402" y="1651"/>
                  </a:lnTo>
                  <a:lnTo>
                    <a:pt x="1348" y="1716"/>
                  </a:lnTo>
                  <a:lnTo>
                    <a:pt x="1295" y="1781"/>
                  </a:lnTo>
                  <a:lnTo>
                    <a:pt x="1241" y="1847"/>
                  </a:lnTo>
                  <a:lnTo>
                    <a:pt x="1189" y="1914"/>
                  </a:lnTo>
                  <a:lnTo>
                    <a:pt x="1137" y="1981"/>
                  </a:lnTo>
                  <a:lnTo>
                    <a:pt x="1086" y="2049"/>
                  </a:lnTo>
                  <a:lnTo>
                    <a:pt x="1034" y="2118"/>
                  </a:lnTo>
                  <a:lnTo>
                    <a:pt x="983" y="2187"/>
                  </a:lnTo>
                  <a:lnTo>
                    <a:pt x="932" y="2257"/>
                  </a:lnTo>
                  <a:lnTo>
                    <a:pt x="883" y="2328"/>
                  </a:lnTo>
                  <a:lnTo>
                    <a:pt x="834" y="2397"/>
                  </a:lnTo>
                  <a:lnTo>
                    <a:pt x="787" y="2466"/>
                  </a:lnTo>
                  <a:lnTo>
                    <a:pt x="740" y="2536"/>
                  </a:lnTo>
                  <a:lnTo>
                    <a:pt x="693" y="2606"/>
                  </a:lnTo>
                  <a:lnTo>
                    <a:pt x="647" y="2677"/>
                  </a:lnTo>
                  <a:lnTo>
                    <a:pt x="601" y="2748"/>
                  </a:lnTo>
                  <a:lnTo>
                    <a:pt x="555" y="2819"/>
                  </a:lnTo>
                  <a:lnTo>
                    <a:pt x="510" y="289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7" name="Freeform 62"/>
            <p:cNvSpPr>
              <a:spLocks noChangeArrowheads="1"/>
            </p:cNvSpPr>
            <p:nvPr userDrawn="1"/>
          </p:nvSpPr>
          <p:spPr bwMode="auto">
            <a:xfrm>
              <a:off x="974724" y="3123542"/>
              <a:ext cx="1374775" cy="2359516"/>
            </a:xfrm>
            <a:custGeom>
              <a:avLst/>
              <a:gdLst>
                <a:gd name="T0" fmla="*/ 76 w 3051"/>
                <a:gd name="T1" fmla="*/ 3224 h 4255"/>
                <a:gd name="T2" fmla="*/ 231 w 3051"/>
                <a:gd name="T3" fmla="*/ 2958 h 4255"/>
                <a:gd name="T4" fmla="*/ 393 w 3051"/>
                <a:gd name="T5" fmla="*/ 2696 h 4255"/>
                <a:gd name="T6" fmla="*/ 559 w 3051"/>
                <a:gd name="T7" fmla="*/ 2440 h 4255"/>
                <a:gd name="T8" fmla="*/ 730 w 3051"/>
                <a:gd name="T9" fmla="*/ 2190 h 4255"/>
                <a:gd name="T10" fmla="*/ 905 w 3051"/>
                <a:gd name="T11" fmla="*/ 1948 h 4255"/>
                <a:gd name="T12" fmla="*/ 1086 w 3051"/>
                <a:gd name="T13" fmla="*/ 1714 h 4255"/>
                <a:gd name="T14" fmla="*/ 1272 w 3051"/>
                <a:gd name="T15" fmla="*/ 1487 h 4255"/>
                <a:gd name="T16" fmla="*/ 1462 w 3051"/>
                <a:gd name="T17" fmla="*/ 1269 h 4255"/>
                <a:gd name="T18" fmla="*/ 1658 w 3051"/>
                <a:gd name="T19" fmla="*/ 1062 h 4255"/>
                <a:gd name="T20" fmla="*/ 1859 w 3051"/>
                <a:gd name="T21" fmla="*/ 865 h 4255"/>
                <a:gd name="T22" fmla="*/ 2065 w 3051"/>
                <a:gd name="T23" fmla="*/ 680 h 4255"/>
                <a:gd name="T24" fmla="*/ 2275 w 3051"/>
                <a:gd name="T25" fmla="*/ 507 h 4255"/>
                <a:gd name="T26" fmla="*/ 2491 w 3051"/>
                <a:gd name="T27" fmla="*/ 345 h 4255"/>
                <a:gd name="T28" fmla="*/ 2712 w 3051"/>
                <a:gd name="T29" fmla="*/ 197 h 4255"/>
                <a:gd name="T30" fmla="*/ 2937 w 3051"/>
                <a:gd name="T31" fmla="*/ 62 h 4255"/>
                <a:gd name="T32" fmla="*/ 2977 w 3051"/>
                <a:gd name="T33" fmla="*/ 81 h 4255"/>
                <a:gd name="T34" fmla="*/ 2833 w 3051"/>
                <a:gd name="T35" fmla="*/ 238 h 4255"/>
                <a:gd name="T36" fmla="*/ 2697 w 3051"/>
                <a:gd name="T37" fmla="*/ 392 h 4255"/>
                <a:gd name="T38" fmla="*/ 2567 w 3051"/>
                <a:gd name="T39" fmla="*/ 546 h 4255"/>
                <a:gd name="T40" fmla="*/ 2443 w 3051"/>
                <a:gd name="T41" fmla="*/ 698 h 4255"/>
                <a:gd name="T42" fmla="*/ 2324 w 3051"/>
                <a:gd name="T43" fmla="*/ 852 h 4255"/>
                <a:gd name="T44" fmla="*/ 2209 w 3051"/>
                <a:gd name="T45" fmla="*/ 1006 h 4255"/>
                <a:gd name="T46" fmla="*/ 2099 w 3051"/>
                <a:gd name="T47" fmla="*/ 1161 h 4255"/>
                <a:gd name="T48" fmla="*/ 1992 w 3051"/>
                <a:gd name="T49" fmla="*/ 1318 h 4255"/>
                <a:gd name="T50" fmla="*/ 1887 w 3051"/>
                <a:gd name="T51" fmla="*/ 1479 h 4255"/>
                <a:gd name="T52" fmla="*/ 1785 w 3051"/>
                <a:gd name="T53" fmla="*/ 1643 h 4255"/>
                <a:gd name="T54" fmla="*/ 1684 w 3051"/>
                <a:gd name="T55" fmla="*/ 1811 h 4255"/>
                <a:gd name="T56" fmla="*/ 1583 w 3051"/>
                <a:gd name="T57" fmla="*/ 1983 h 4255"/>
                <a:gd name="T58" fmla="*/ 1483 w 3051"/>
                <a:gd name="T59" fmla="*/ 2161 h 4255"/>
                <a:gd name="T60" fmla="*/ 1382 w 3051"/>
                <a:gd name="T61" fmla="*/ 2347 h 4255"/>
                <a:gd name="T62" fmla="*/ 1280 w 3051"/>
                <a:gd name="T63" fmla="*/ 2537 h 4255"/>
                <a:gd name="T64" fmla="*/ 1152 w 3051"/>
                <a:gd name="T65" fmla="*/ 2929 h 4255"/>
                <a:gd name="T66" fmla="*/ 1013 w 3051"/>
                <a:gd name="T67" fmla="*/ 3415 h 4255"/>
                <a:gd name="T68" fmla="*/ 892 w 3051"/>
                <a:gd name="T69" fmla="*/ 3774 h 4255"/>
                <a:gd name="T70" fmla="*/ 787 w 3051"/>
                <a:gd name="T71" fmla="*/ 4025 h 4255"/>
                <a:gd name="T72" fmla="*/ 695 w 3051"/>
                <a:gd name="T73" fmla="*/ 4177 h 4255"/>
                <a:gd name="T74" fmla="*/ 616 w 3051"/>
                <a:gd name="T75" fmla="*/ 4248 h 4255"/>
                <a:gd name="T76" fmla="*/ 546 w 3051"/>
                <a:gd name="T77" fmla="*/ 4248 h 4255"/>
                <a:gd name="T78" fmla="*/ 484 w 3051"/>
                <a:gd name="T79" fmla="*/ 4191 h 4255"/>
                <a:gd name="T80" fmla="*/ 428 w 3051"/>
                <a:gd name="T81" fmla="*/ 4092 h 4255"/>
                <a:gd name="T82" fmla="*/ 377 w 3051"/>
                <a:gd name="T83" fmla="*/ 3963 h 4255"/>
                <a:gd name="T84" fmla="*/ 327 w 3051"/>
                <a:gd name="T85" fmla="*/ 3820 h 4255"/>
                <a:gd name="T86" fmla="*/ 277 w 3051"/>
                <a:gd name="T87" fmla="*/ 3674 h 4255"/>
                <a:gd name="T88" fmla="*/ 225 w 3051"/>
                <a:gd name="T89" fmla="*/ 3540 h 4255"/>
                <a:gd name="T90" fmla="*/ 170 w 3051"/>
                <a:gd name="T91" fmla="*/ 3431 h 4255"/>
                <a:gd name="T92" fmla="*/ 108 w 3051"/>
                <a:gd name="T93" fmla="*/ 3362 h 4255"/>
                <a:gd name="T94" fmla="*/ 38 w 3051"/>
                <a:gd name="T95" fmla="*/ 3343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51" h="4255">
                  <a:moveTo>
                    <a:pt x="0" y="3359"/>
                  </a:moveTo>
                  <a:lnTo>
                    <a:pt x="76" y="3224"/>
                  </a:lnTo>
                  <a:lnTo>
                    <a:pt x="153" y="3090"/>
                  </a:lnTo>
                  <a:lnTo>
                    <a:pt x="231" y="2958"/>
                  </a:lnTo>
                  <a:lnTo>
                    <a:pt x="312" y="2826"/>
                  </a:lnTo>
                  <a:lnTo>
                    <a:pt x="393" y="2696"/>
                  </a:lnTo>
                  <a:lnTo>
                    <a:pt x="474" y="2567"/>
                  </a:lnTo>
                  <a:lnTo>
                    <a:pt x="559" y="2440"/>
                  </a:lnTo>
                  <a:lnTo>
                    <a:pt x="643" y="2315"/>
                  </a:lnTo>
                  <a:lnTo>
                    <a:pt x="730" y="2190"/>
                  </a:lnTo>
                  <a:lnTo>
                    <a:pt x="816" y="2068"/>
                  </a:lnTo>
                  <a:lnTo>
                    <a:pt x="905" y="1948"/>
                  </a:lnTo>
                  <a:lnTo>
                    <a:pt x="995" y="1829"/>
                  </a:lnTo>
                  <a:lnTo>
                    <a:pt x="1086" y="1714"/>
                  </a:lnTo>
                  <a:lnTo>
                    <a:pt x="1178" y="1599"/>
                  </a:lnTo>
                  <a:lnTo>
                    <a:pt x="1272" y="1487"/>
                  </a:lnTo>
                  <a:lnTo>
                    <a:pt x="1366" y="1377"/>
                  </a:lnTo>
                  <a:lnTo>
                    <a:pt x="1462" y="1269"/>
                  </a:lnTo>
                  <a:lnTo>
                    <a:pt x="1560" y="1165"/>
                  </a:lnTo>
                  <a:lnTo>
                    <a:pt x="1658" y="1062"/>
                  </a:lnTo>
                  <a:lnTo>
                    <a:pt x="1758" y="962"/>
                  </a:lnTo>
                  <a:lnTo>
                    <a:pt x="1859" y="865"/>
                  </a:lnTo>
                  <a:lnTo>
                    <a:pt x="1961" y="772"/>
                  </a:lnTo>
                  <a:lnTo>
                    <a:pt x="2065" y="680"/>
                  </a:lnTo>
                  <a:lnTo>
                    <a:pt x="2170" y="591"/>
                  </a:lnTo>
                  <a:lnTo>
                    <a:pt x="2275" y="507"/>
                  </a:lnTo>
                  <a:lnTo>
                    <a:pt x="2382" y="424"/>
                  </a:lnTo>
                  <a:lnTo>
                    <a:pt x="2491" y="345"/>
                  </a:lnTo>
                  <a:lnTo>
                    <a:pt x="2600" y="270"/>
                  </a:lnTo>
                  <a:lnTo>
                    <a:pt x="2712" y="197"/>
                  </a:lnTo>
                  <a:lnTo>
                    <a:pt x="2824" y="128"/>
                  </a:lnTo>
                  <a:lnTo>
                    <a:pt x="2937" y="62"/>
                  </a:lnTo>
                  <a:lnTo>
                    <a:pt x="3051" y="0"/>
                  </a:lnTo>
                  <a:lnTo>
                    <a:pt x="2977" y="81"/>
                  </a:lnTo>
                  <a:lnTo>
                    <a:pt x="2904" y="159"/>
                  </a:lnTo>
                  <a:lnTo>
                    <a:pt x="2833" y="238"/>
                  </a:lnTo>
                  <a:lnTo>
                    <a:pt x="2764" y="315"/>
                  </a:lnTo>
                  <a:lnTo>
                    <a:pt x="2697" y="392"/>
                  </a:lnTo>
                  <a:lnTo>
                    <a:pt x="2631" y="470"/>
                  </a:lnTo>
                  <a:lnTo>
                    <a:pt x="2567" y="546"/>
                  </a:lnTo>
                  <a:lnTo>
                    <a:pt x="2505" y="622"/>
                  </a:lnTo>
                  <a:lnTo>
                    <a:pt x="2443" y="698"/>
                  </a:lnTo>
                  <a:lnTo>
                    <a:pt x="2383" y="775"/>
                  </a:lnTo>
                  <a:lnTo>
                    <a:pt x="2324" y="852"/>
                  </a:lnTo>
                  <a:lnTo>
                    <a:pt x="2267" y="928"/>
                  </a:lnTo>
                  <a:lnTo>
                    <a:pt x="2209" y="1006"/>
                  </a:lnTo>
                  <a:lnTo>
                    <a:pt x="2153" y="1083"/>
                  </a:lnTo>
                  <a:lnTo>
                    <a:pt x="2099" y="1161"/>
                  </a:lnTo>
                  <a:lnTo>
                    <a:pt x="2045" y="1240"/>
                  </a:lnTo>
                  <a:lnTo>
                    <a:pt x="1992" y="1318"/>
                  </a:lnTo>
                  <a:lnTo>
                    <a:pt x="1939" y="1398"/>
                  </a:lnTo>
                  <a:lnTo>
                    <a:pt x="1887" y="1479"/>
                  </a:lnTo>
                  <a:lnTo>
                    <a:pt x="1835" y="1560"/>
                  </a:lnTo>
                  <a:lnTo>
                    <a:pt x="1785" y="1643"/>
                  </a:lnTo>
                  <a:lnTo>
                    <a:pt x="1734" y="1726"/>
                  </a:lnTo>
                  <a:lnTo>
                    <a:pt x="1684" y="1811"/>
                  </a:lnTo>
                  <a:lnTo>
                    <a:pt x="1633" y="1896"/>
                  </a:lnTo>
                  <a:lnTo>
                    <a:pt x="1583" y="1983"/>
                  </a:lnTo>
                  <a:lnTo>
                    <a:pt x="1532" y="2071"/>
                  </a:lnTo>
                  <a:lnTo>
                    <a:pt x="1483" y="2161"/>
                  </a:lnTo>
                  <a:lnTo>
                    <a:pt x="1432" y="2253"/>
                  </a:lnTo>
                  <a:lnTo>
                    <a:pt x="1382" y="2347"/>
                  </a:lnTo>
                  <a:lnTo>
                    <a:pt x="1331" y="2442"/>
                  </a:lnTo>
                  <a:lnTo>
                    <a:pt x="1280" y="2537"/>
                  </a:lnTo>
                  <a:lnTo>
                    <a:pt x="1229" y="2636"/>
                  </a:lnTo>
                  <a:lnTo>
                    <a:pt x="1152" y="2929"/>
                  </a:lnTo>
                  <a:lnTo>
                    <a:pt x="1080" y="3188"/>
                  </a:lnTo>
                  <a:lnTo>
                    <a:pt x="1013" y="3415"/>
                  </a:lnTo>
                  <a:lnTo>
                    <a:pt x="950" y="3609"/>
                  </a:lnTo>
                  <a:lnTo>
                    <a:pt x="892" y="3774"/>
                  </a:lnTo>
                  <a:lnTo>
                    <a:pt x="837" y="3913"/>
                  </a:lnTo>
                  <a:lnTo>
                    <a:pt x="787" y="4025"/>
                  </a:lnTo>
                  <a:lnTo>
                    <a:pt x="739" y="4113"/>
                  </a:lnTo>
                  <a:lnTo>
                    <a:pt x="695" y="4177"/>
                  </a:lnTo>
                  <a:lnTo>
                    <a:pt x="654" y="4222"/>
                  </a:lnTo>
                  <a:lnTo>
                    <a:pt x="616" y="4248"/>
                  </a:lnTo>
                  <a:lnTo>
                    <a:pt x="579" y="4255"/>
                  </a:lnTo>
                  <a:lnTo>
                    <a:pt x="546" y="4248"/>
                  </a:lnTo>
                  <a:lnTo>
                    <a:pt x="514" y="4225"/>
                  </a:lnTo>
                  <a:lnTo>
                    <a:pt x="484" y="4191"/>
                  </a:lnTo>
                  <a:lnTo>
                    <a:pt x="456" y="4145"/>
                  </a:lnTo>
                  <a:lnTo>
                    <a:pt x="428" y="4092"/>
                  </a:lnTo>
                  <a:lnTo>
                    <a:pt x="402" y="4030"/>
                  </a:lnTo>
                  <a:lnTo>
                    <a:pt x="377" y="3963"/>
                  </a:lnTo>
                  <a:lnTo>
                    <a:pt x="352" y="3893"/>
                  </a:lnTo>
                  <a:lnTo>
                    <a:pt x="327" y="3820"/>
                  </a:lnTo>
                  <a:lnTo>
                    <a:pt x="302" y="3747"/>
                  </a:lnTo>
                  <a:lnTo>
                    <a:pt x="277" y="3674"/>
                  </a:lnTo>
                  <a:lnTo>
                    <a:pt x="252" y="3605"/>
                  </a:lnTo>
                  <a:lnTo>
                    <a:pt x="225" y="3540"/>
                  </a:lnTo>
                  <a:lnTo>
                    <a:pt x="198" y="3482"/>
                  </a:lnTo>
                  <a:lnTo>
                    <a:pt x="170" y="3431"/>
                  </a:lnTo>
                  <a:lnTo>
                    <a:pt x="140" y="3391"/>
                  </a:lnTo>
                  <a:lnTo>
                    <a:pt x="108" y="3362"/>
                  </a:lnTo>
                  <a:lnTo>
                    <a:pt x="74" y="3346"/>
                  </a:lnTo>
                  <a:lnTo>
                    <a:pt x="38" y="3343"/>
                  </a:lnTo>
                  <a:lnTo>
                    <a:pt x="0" y="33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8" name="Freeform 63"/>
            <p:cNvSpPr>
              <a:spLocks noChangeArrowheads="1"/>
            </p:cNvSpPr>
            <p:nvPr userDrawn="1"/>
          </p:nvSpPr>
          <p:spPr bwMode="auto">
            <a:xfrm>
              <a:off x="1133474" y="2253493"/>
              <a:ext cx="1806575" cy="2289697"/>
            </a:xfrm>
            <a:custGeom>
              <a:avLst/>
              <a:gdLst>
                <a:gd name="T0" fmla="*/ 75 w 4028"/>
                <a:gd name="T1" fmla="*/ 3229 h 4125"/>
                <a:gd name="T2" fmla="*/ 302 w 4028"/>
                <a:gd name="T3" fmla="*/ 2922 h 4125"/>
                <a:gd name="T4" fmla="*/ 479 w 4028"/>
                <a:gd name="T5" fmla="*/ 2694 h 4125"/>
                <a:gd name="T6" fmla="*/ 720 w 4028"/>
                <a:gd name="T7" fmla="*/ 2400 h 4125"/>
                <a:gd name="T8" fmla="*/ 972 w 4028"/>
                <a:gd name="T9" fmla="*/ 2114 h 4125"/>
                <a:gd name="T10" fmla="*/ 1303 w 4028"/>
                <a:gd name="T11" fmla="*/ 1761 h 4125"/>
                <a:gd name="T12" fmla="*/ 1646 w 4028"/>
                <a:gd name="T13" fmla="*/ 1429 h 4125"/>
                <a:gd name="T14" fmla="*/ 2000 w 4028"/>
                <a:gd name="T15" fmla="*/ 1121 h 4125"/>
                <a:gd name="T16" fmla="*/ 2363 w 4028"/>
                <a:gd name="T17" fmla="*/ 837 h 4125"/>
                <a:gd name="T18" fmla="*/ 2737 w 4028"/>
                <a:gd name="T19" fmla="*/ 582 h 4125"/>
                <a:gd name="T20" fmla="*/ 3120 w 4028"/>
                <a:gd name="T21" fmla="*/ 356 h 4125"/>
                <a:gd name="T22" fmla="*/ 3514 w 4028"/>
                <a:gd name="T23" fmla="*/ 163 h 4125"/>
                <a:gd name="T24" fmla="*/ 3916 w 4028"/>
                <a:gd name="T25" fmla="*/ 5 h 4125"/>
                <a:gd name="T26" fmla="*/ 3948 w 4028"/>
                <a:gd name="T27" fmla="*/ 0 h 4125"/>
                <a:gd name="T28" fmla="*/ 3980 w 4028"/>
                <a:gd name="T29" fmla="*/ 9 h 4125"/>
                <a:gd name="T30" fmla="*/ 4006 w 4028"/>
                <a:gd name="T31" fmla="*/ 29 h 4125"/>
                <a:gd name="T32" fmla="*/ 4024 w 4028"/>
                <a:gd name="T33" fmla="*/ 58 h 4125"/>
                <a:gd name="T34" fmla="*/ 4028 w 4028"/>
                <a:gd name="T35" fmla="*/ 85 h 4125"/>
                <a:gd name="T36" fmla="*/ 4013 w 4028"/>
                <a:gd name="T37" fmla="*/ 134 h 4125"/>
                <a:gd name="T38" fmla="*/ 3996 w 4028"/>
                <a:gd name="T39" fmla="*/ 153 h 4125"/>
                <a:gd name="T40" fmla="*/ 3743 w 4028"/>
                <a:gd name="T41" fmla="*/ 360 h 4125"/>
                <a:gd name="T42" fmla="*/ 3420 w 4028"/>
                <a:gd name="T43" fmla="*/ 650 h 4125"/>
                <a:gd name="T44" fmla="*/ 3108 w 4028"/>
                <a:gd name="T45" fmla="*/ 952 h 4125"/>
                <a:gd name="T46" fmla="*/ 2806 w 4028"/>
                <a:gd name="T47" fmla="*/ 1266 h 4125"/>
                <a:gd name="T48" fmla="*/ 2512 w 4028"/>
                <a:gd name="T49" fmla="*/ 1589 h 4125"/>
                <a:gd name="T50" fmla="*/ 2010 w 4028"/>
                <a:gd name="T51" fmla="*/ 2170 h 4125"/>
                <a:gd name="T52" fmla="*/ 1511 w 4028"/>
                <a:gd name="T53" fmla="*/ 2768 h 4125"/>
                <a:gd name="T54" fmla="*/ 1211 w 4028"/>
                <a:gd name="T55" fmla="*/ 3128 h 4125"/>
                <a:gd name="T56" fmla="*/ 907 w 4028"/>
                <a:gd name="T57" fmla="*/ 3485 h 4125"/>
                <a:gd name="T58" fmla="*/ 598 w 4028"/>
                <a:gd name="T59" fmla="*/ 3838 h 4125"/>
                <a:gd name="T60" fmla="*/ 354 w 4028"/>
                <a:gd name="T61" fmla="*/ 4104 h 4125"/>
                <a:gd name="T62" fmla="*/ 325 w 4028"/>
                <a:gd name="T63" fmla="*/ 4121 h 4125"/>
                <a:gd name="T64" fmla="*/ 292 w 4028"/>
                <a:gd name="T65" fmla="*/ 4125 h 4125"/>
                <a:gd name="T66" fmla="*/ 261 w 4028"/>
                <a:gd name="T67" fmla="*/ 4117 h 4125"/>
                <a:gd name="T68" fmla="*/ 232 w 4028"/>
                <a:gd name="T69" fmla="*/ 4094 h 4125"/>
                <a:gd name="T70" fmla="*/ 216 w 4028"/>
                <a:gd name="T71" fmla="*/ 4065 h 4125"/>
                <a:gd name="T72" fmla="*/ 0 w 4028"/>
                <a:gd name="T73" fmla="*/ 3355 h 4125"/>
                <a:gd name="T74" fmla="*/ 11 w 4028"/>
                <a:gd name="T75" fmla="*/ 3318 h 4125"/>
                <a:gd name="T76" fmla="*/ 503 w 4028"/>
                <a:gd name="T77" fmla="*/ 2940 h 4125"/>
                <a:gd name="T78" fmla="*/ 287 w 4028"/>
                <a:gd name="T79" fmla="*/ 3228 h 4125"/>
                <a:gd name="T80" fmla="*/ 407 w 4028"/>
                <a:gd name="T81" fmla="*/ 3794 h 4125"/>
                <a:gd name="T82" fmla="*/ 692 w 4028"/>
                <a:gd name="T83" fmla="*/ 3473 h 4125"/>
                <a:gd name="T84" fmla="*/ 972 w 4028"/>
                <a:gd name="T85" fmla="*/ 3147 h 4125"/>
                <a:gd name="T86" fmla="*/ 1249 w 4028"/>
                <a:gd name="T87" fmla="*/ 2817 h 4125"/>
                <a:gd name="T88" fmla="*/ 1575 w 4028"/>
                <a:gd name="T89" fmla="*/ 2424 h 4125"/>
                <a:gd name="T90" fmla="*/ 2058 w 4028"/>
                <a:gd name="T91" fmla="*/ 1850 h 4125"/>
                <a:gd name="T92" fmla="*/ 2552 w 4028"/>
                <a:gd name="T93" fmla="*/ 1289 h 4125"/>
                <a:gd name="T94" fmla="*/ 2871 w 4028"/>
                <a:gd name="T95" fmla="*/ 950 h 4125"/>
                <a:gd name="T96" fmla="*/ 3133 w 4028"/>
                <a:gd name="T97" fmla="*/ 687 h 4125"/>
                <a:gd name="T98" fmla="*/ 3404 w 4028"/>
                <a:gd name="T99" fmla="*/ 432 h 4125"/>
                <a:gd name="T100" fmla="*/ 3232 w 4028"/>
                <a:gd name="T101" fmla="*/ 491 h 4125"/>
                <a:gd name="T102" fmla="*/ 2916 w 4028"/>
                <a:gd name="T103" fmla="*/ 671 h 4125"/>
                <a:gd name="T104" fmla="*/ 2607 w 4028"/>
                <a:gd name="T105" fmla="*/ 874 h 4125"/>
                <a:gd name="T106" fmla="*/ 2305 w 4028"/>
                <a:gd name="T107" fmla="*/ 1095 h 4125"/>
                <a:gd name="T108" fmla="*/ 2009 w 4028"/>
                <a:gd name="T109" fmla="*/ 1336 h 4125"/>
                <a:gd name="T110" fmla="*/ 1721 w 4028"/>
                <a:gd name="T111" fmla="*/ 1593 h 4125"/>
                <a:gd name="T112" fmla="*/ 1439 w 4028"/>
                <a:gd name="T113" fmla="*/ 1866 h 4125"/>
                <a:gd name="T114" fmla="*/ 1165 w 4028"/>
                <a:gd name="T115" fmla="*/ 2154 h 4125"/>
                <a:gd name="T116" fmla="*/ 914 w 4028"/>
                <a:gd name="T117" fmla="*/ 2437 h 4125"/>
                <a:gd name="T118" fmla="*/ 673 w 4028"/>
                <a:gd name="T119" fmla="*/ 2726 h 4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28" h="4125">
                  <a:moveTo>
                    <a:pt x="16" y="3309"/>
                  </a:moveTo>
                  <a:lnTo>
                    <a:pt x="17" y="3308"/>
                  </a:lnTo>
                  <a:lnTo>
                    <a:pt x="19" y="3306"/>
                  </a:lnTo>
                  <a:lnTo>
                    <a:pt x="75" y="3229"/>
                  </a:lnTo>
                  <a:lnTo>
                    <a:pt x="130" y="3152"/>
                  </a:lnTo>
                  <a:lnTo>
                    <a:pt x="187" y="3074"/>
                  </a:lnTo>
                  <a:lnTo>
                    <a:pt x="245" y="2998"/>
                  </a:lnTo>
                  <a:lnTo>
                    <a:pt x="302" y="2922"/>
                  </a:lnTo>
                  <a:lnTo>
                    <a:pt x="361" y="2846"/>
                  </a:lnTo>
                  <a:lnTo>
                    <a:pt x="421" y="2769"/>
                  </a:lnTo>
                  <a:lnTo>
                    <a:pt x="479" y="2694"/>
                  </a:lnTo>
                  <a:lnTo>
                    <a:pt x="539" y="2620"/>
                  </a:lnTo>
                  <a:lnTo>
                    <a:pt x="599" y="2547"/>
                  </a:lnTo>
                  <a:lnTo>
                    <a:pt x="660" y="2473"/>
                  </a:lnTo>
                  <a:lnTo>
                    <a:pt x="720" y="2400"/>
                  </a:lnTo>
                  <a:lnTo>
                    <a:pt x="782" y="2328"/>
                  </a:lnTo>
                  <a:lnTo>
                    <a:pt x="845" y="2256"/>
                  </a:lnTo>
                  <a:lnTo>
                    <a:pt x="908" y="2185"/>
                  </a:lnTo>
                  <a:lnTo>
                    <a:pt x="972" y="2114"/>
                  </a:lnTo>
                  <a:lnTo>
                    <a:pt x="1053" y="2024"/>
                  </a:lnTo>
                  <a:lnTo>
                    <a:pt x="1137" y="1935"/>
                  </a:lnTo>
                  <a:lnTo>
                    <a:pt x="1219" y="1848"/>
                  </a:lnTo>
                  <a:lnTo>
                    <a:pt x="1303" y="1761"/>
                  </a:lnTo>
                  <a:lnTo>
                    <a:pt x="1388" y="1677"/>
                  </a:lnTo>
                  <a:lnTo>
                    <a:pt x="1473" y="1593"/>
                  </a:lnTo>
                  <a:lnTo>
                    <a:pt x="1559" y="1511"/>
                  </a:lnTo>
                  <a:lnTo>
                    <a:pt x="1646" y="1429"/>
                  </a:lnTo>
                  <a:lnTo>
                    <a:pt x="1733" y="1350"/>
                  </a:lnTo>
                  <a:lnTo>
                    <a:pt x="1822" y="1272"/>
                  </a:lnTo>
                  <a:lnTo>
                    <a:pt x="1910" y="1196"/>
                  </a:lnTo>
                  <a:lnTo>
                    <a:pt x="2000" y="1121"/>
                  </a:lnTo>
                  <a:lnTo>
                    <a:pt x="2089" y="1048"/>
                  </a:lnTo>
                  <a:lnTo>
                    <a:pt x="2180" y="976"/>
                  </a:lnTo>
                  <a:lnTo>
                    <a:pt x="2272" y="905"/>
                  </a:lnTo>
                  <a:lnTo>
                    <a:pt x="2363" y="837"/>
                  </a:lnTo>
                  <a:lnTo>
                    <a:pt x="2456" y="770"/>
                  </a:lnTo>
                  <a:lnTo>
                    <a:pt x="2549" y="705"/>
                  </a:lnTo>
                  <a:lnTo>
                    <a:pt x="2642" y="643"/>
                  </a:lnTo>
                  <a:lnTo>
                    <a:pt x="2737" y="582"/>
                  </a:lnTo>
                  <a:lnTo>
                    <a:pt x="2832" y="522"/>
                  </a:lnTo>
                  <a:lnTo>
                    <a:pt x="2928" y="464"/>
                  </a:lnTo>
                  <a:lnTo>
                    <a:pt x="3024" y="410"/>
                  </a:lnTo>
                  <a:lnTo>
                    <a:pt x="3120" y="356"/>
                  </a:lnTo>
                  <a:lnTo>
                    <a:pt x="3218" y="304"/>
                  </a:lnTo>
                  <a:lnTo>
                    <a:pt x="3316" y="255"/>
                  </a:lnTo>
                  <a:lnTo>
                    <a:pt x="3414" y="208"/>
                  </a:lnTo>
                  <a:lnTo>
                    <a:pt x="3514" y="163"/>
                  </a:lnTo>
                  <a:lnTo>
                    <a:pt x="3613" y="120"/>
                  </a:lnTo>
                  <a:lnTo>
                    <a:pt x="3713" y="80"/>
                  </a:lnTo>
                  <a:lnTo>
                    <a:pt x="3814" y="41"/>
                  </a:lnTo>
                  <a:lnTo>
                    <a:pt x="3916" y="5"/>
                  </a:lnTo>
                  <a:lnTo>
                    <a:pt x="3924" y="2"/>
                  </a:lnTo>
                  <a:lnTo>
                    <a:pt x="3932" y="1"/>
                  </a:lnTo>
                  <a:lnTo>
                    <a:pt x="3940" y="0"/>
                  </a:lnTo>
                  <a:lnTo>
                    <a:pt x="3948" y="0"/>
                  </a:lnTo>
                  <a:lnTo>
                    <a:pt x="3957" y="1"/>
                  </a:lnTo>
                  <a:lnTo>
                    <a:pt x="3965" y="3"/>
                  </a:lnTo>
                  <a:lnTo>
                    <a:pt x="3973" y="6"/>
                  </a:lnTo>
                  <a:lnTo>
                    <a:pt x="3980" y="9"/>
                  </a:lnTo>
                  <a:lnTo>
                    <a:pt x="3988" y="13"/>
                  </a:lnTo>
                  <a:lnTo>
                    <a:pt x="3995" y="18"/>
                  </a:lnTo>
                  <a:lnTo>
                    <a:pt x="4001" y="23"/>
                  </a:lnTo>
                  <a:lnTo>
                    <a:pt x="4006" y="29"/>
                  </a:lnTo>
                  <a:lnTo>
                    <a:pt x="4011" y="35"/>
                  </a:lnTo>
                  <a:lnTo>
                    <a:pt x="4016" y="43"/>
                  </a:lnTo>
                  <a:lnTo>
                    <a:pt x="4021" y="50"/>
                  </a:lnTo>
                  <a:lnTo>
                    <a:pt x="4024" y="58"/>
                  </a:lnTo>
                  <a:lnTo>
                    <a:pt x="4026" y="65"/>
                  </a:lnTo>
                  <a:lnTo>
                    <a:pt x="4027" y="72"/>
                  </a:lnTo>
                  <a:lnTo>
                    <a:pt x="4028" y="79"/>
                  </a:lnTo>
                  <a:lnTo>
                    <a:pt x="4028" y="85"/>
                  </a:lnTo>
                  <a:lnTo>
                    <a:pt x="4028" y="98"/>
                  </a:lnTo>
                  <a:lnTo>
                    <a:pt x="4025" y="111"/>
                  </a:lnTo>
                  <a:lnTo>
                    <a:pt x="4020" y="123"/>
                  </a:lnTo>
                  <a:lnTo>
                    <a:pt x="4013" y="134"/>
                  </a:lnTo>
                  <a:lnTo>
                    <a:pt x="4009" y="140"/>
                  </a:lnTo>
                  <a:lnTo>
                    <a:pt x="4005" y="145"/>
                  </a:lnTo>
                  <a:lnTo>
                    <a:pt x="4001" y="149"/>
                  </a:lnTo>
                  <a:lnTo>
                    <a:pt x="3996" y="153"/>
                  </a:lnTo>
                  <a:lnTo>
                    <a:pt x="3910" y="221"/>
                  </a:lnTo>
                  <a:lnTo>
                    <a:pt x="3827" y="290"/>
                  </a:lnTo>
                  <a:lnTo>
                    <a:pt x="3743" y="360"/>
                  </a:lnTo>
                  <a:lnTo>
                    <a:pt x="3662" y="431"/>
                  </a:lnTo>
                  <a:lnTo>
                    <a:pt x="3581" y="503"/>
                  </a:lnTo>
                  <a:lnTo>
                    <a:pt x="3500" y="576"/>
                  </a:lnTo>
                  <a:lnTo>
                    <a:pt x="3420" y="650"/>
                  </a:lnTo>
                  <a:lnTo>
                    <a:pt x="3341" y="724"/>
                  </a:lnTo>
                  <a:lnTo>
                    <a:pt x="3262" y="799"/>
                  </a:lnTo>
                  <a:lnTo>
                    <a:pt x="3185" y="876"/>
                  </a:lnTo>
                  <a:lnTo>
                    <a:pt x="3108" y="952"/>
                  </a:lnTo>
                  <a:lnTo>
                    <a:pt x="3032" y="1029"/>
                  </a:lnTo>
                  <a:lnTo>
                    <a:pt x="2956" y="1108"/>
                  </a:lnTo>
                  <a:lnTo>
                    <a:pt x="2880" y="1187"/>
                  </a:lnTo>
                  <a:lnTo>
                    <a:pt x="2806" y="1266"/>
                  </a:lnTo>
                  <a:lnTo>
                    <a:pt x="2732" y="1346"/>
                  </a:lnTo>
                  <a:lnTo>
                    <a:pt x="2658" y="1426"/>
                  </a:lnTo>
                  <a:lnTo>
                    <a:pt x="2585" y="1507"/>
                  </a:lnTo>
                  <a:lnTo>
                    <a:pt x="2512" y="1589"/>
                  </a:lnTo>
                  <a:lnTo>
                    <a:pt x="2438" y="1671"/>
                  </a:lnTo>
                  <a:lnTo>
                    <a:pt x="2294" y="1836"/>
                  </a:lnTo>
                  <a:lnTo>
                    <a:pt x="2152" y="2003"/>
                  </a:lnTo>
                  <a:lnTo>
                    <a:pt x="2010" y="2170"/>
                  </a:lnTo>
                  <a:lnTo>
                    <a:pt x="1868" y="2339"/>
                  </a:lnTo>
                  <a:lnTo>
                    <a:pt x="1727" y="2508"/>
                  </a:lnTo>
                  <a:lnTo>
                    <a:pt x="1587" y="2678"/>
                  </a:lnTo>
                  <a:lnTo>
                    <a:pt x="1511" y="2768"/>
                  </a:lnTo>
                  <a:lnTo>
                    <a:pt x="1436" y="2858"/>
                  </a:lnTo>
                  <a:lnTo>
                    <a:pt x="1361" y="2948"/>
                  </a:lnTo>
                  <a:lnTo>
                    <a:pt x="1286" y="3038"/>
                  </a:lnTo>
                  <a:lnTo>
                    <a:pt x="1211" y="3128"/>
                  </a:lnTo>
                  <a:lnTo>
                    <a:pt x="1136" y="3218"/>
                  </a:lnTo>
                  <a:lnTo>
                    <a:pt x="1059" y="3306"/>
                  </a:lnTo>
                  <a:lnTo>
                    <a:pt x="984" y="3396"/>
                  </a:lnTo>
                  <a:lnTo>
                    <a:pt x="907" y="3485"/>
                  </a:lnTo>
                  <a:lnTo>
                    <a:pt x="831" y="3573"/>
                  </a:lnTo>
                  <a:lnTo>
                    <a:pt x="753" y="3662"/>
                  </a:lnTo>
                  <a:lnTo>
                    <a:pt x="676" y="3750"/>
                  </a:lnTo>
                  <a:lnTo>
                    <a:pt x="598" y="3838"/>
                  </a:lnTo>
                  <a:lnTo>
                    <a:pt x="519" y="3925"/>
                  </a:lnTo>
                  <a:lnTo>
                    <a:pt x="439" y="4011"/>
                  </a:lnTo>
                  <a:lnTo>
                    <a:pt x="360" y="4098"/>
                  </a:lnTo>
                  <a:lnTo>
                    <a:pt x="354" y="4104"/>
                  </a:lnTo>
                  <a:lnTo>
                    <a:pt x="347" y="4109"/>
                  </a:lnTo>
                  <a:lnTo>
                    <a:pt x="339" y="4113"/>
                  </a:lnTo>
                  <a:lnTo>
                    <a:pt x="332" y="4118"/>
                  </a:lnTo>
                  <a:lnTo>
                    <a:pt x="325" y="4121"/>
                  </a:lnTo>
                  <a:lnTo>
                    <a:pt x="317" y="4123"/>
                  </a:lnTo>
                  <a:lnTo>
                    <a:pt x="308" y="4124"/>
                  </a:lnTo>
                  <a:lnTo>
                    <a:pt x="300" y="4125"/>
                  </a:lnTo>
                  <a:lnTo>
                    <a:pt x="292" y="4125"/>
                  </a:lnTo>
                  <a:lnTo>
                    <a:pt x="284" y="4124"/>
                  </a:lnTo>
                  <a:lnTo>
                    <a:pt x="277" y="4122"/>
                  </a:lnTo>
                  <a:lnTo>
                    <a:pt x="268" y="4120"/>
                  </a:lnTo>
                  <a:lnTo>
                    <a:pt x="261" y="4117"/>
                  </a:lnTo>
                  <a:lnTo>
                    <a:pt x="253" y="4112"/>
                  </a:lnTo>
                  <a:lnTo>
                    <a:pt x="247" y="4107"/>
                  </a:lnTo>
                  <a:lnTo>
                    <a:pt x="239" y="4102"/>
                  </a:lnTo>
                  <a:lnTo>
                    <a:pt x="232" y="4094"/>
                  </a:lnTo>
                  <a:lnTo>
                    <a:pt x="226" y="4085"/>
                  </a:lnTo>
                  <a:lnTo>
                    <a:pt x="221" y="4075"/>
                  </a:lnTo>
                  <a:lnTo>
                    <a:pt x="217" y="4065"/>
                  </a:lnTo>
                  <a:lnTo>
                    <a:pt x="216" y="4065"/>
                  </a:lnTo>
                  <a:lnTo>
                    <a:pt x="5" y="3385"/>
                  </a:lnTo>
                  <a:lnTo>
                    <a:pt x="2" y="3374"/>
                  </a:lnTo>
                  <a:lnTo>
                    <a:pt x="0" y="3365"/>
                  </a:lnTo>
                  <a:lnTo>
                    <a:pt x="0" y="3355"/>
                  </a:lnTo>
                  <a:lnTo>
                    <a:pt x="2" y="3345"/>
                  </a:lnTo>
                  <a:lnTo>
                    <a:pt x="4" y="3336"/>
                  </a:lnTo>
                  <a:lnTo>
                    <a:pt x="7" y="3327"/>
                  </a:lnTo>
                  <a:lnTo>
                    <a:pt x="11" y="3318"/>
                  </a:lnTo>
                  <a:lnTo>
                    <a:pt x="16" y="3309"/>
                  </a:lnTo>
                  <a:close/>
                  <a:moveTo>
                    <a:pt x="613" y="2800"/>
                  </a:moveTo>
                  <a:lnTo>
                    <a:pt x="558" y="2870"/>
                  </a:lnTo>
                  <a:lnTo>
                    <a:pt x="503" y="2940"/>
                  </a:lnTo>
                  <a:lnTo>
                    <a:pt x="449" y="3011"/>
                  </a:lnTo>
                  <a:lnTo>
                    <a:pt x="394" y="3083"/>
                  </a:lnTo>
                  <a:lnTo>
                    <a:pt x="340" y="3155"/>
                  </a:lnTo>
                  <a:lnTo>
                    <a:pt x="287" y="3228"/>
                  </a:lnTo>
                  <a:lnTo>
                    <a:pt x="233" y="3301"/>
                  </a:lnTo>
                  <a:lnTo>
                    <a:pt x="180" y="3374"/>
                  </a:lnTo>
                  <a:lnTo>
                    <a:pt x="335" y="3873"/>
                  </a:lnTo>
                  <a:lnTo>
                    <a:pt x="407" y="3794"/>
                  </a:lnTo>
                  <a:lnTo>
                    <a:pt x="479" y="3715"/>
                  </a:lnTo>
                  <a:lnTo>
                    <a:pt x="550" y="3634"/>
                  </a:lnTo>
                  <a:lnTo>
                    <a:pt x="622" y="3554"/>
                  </a:lnTo>
                  <a:lnTo>
                    <a:pt x="692" y="3473"/>
                  </a:lnTo>
                  <a:lnTo>
                    <a:pt x="763" y="3392"/>
                  </a:lnTo>
                  <a:lnTo>
                    <a:pt x="833" y="3310"/>
                  </a:lnTo>
                  <a:lnTo>
                    <a:pt x="902" y="3229"/>
                  </a:lnTo>
                  <a:lnTo>
                    <a:pt x="972" y="3147"/>
                  </a:lnTo>
                  <a:lnTo>
                    <a:pt x="1041" y="3064"/>
                  </a:lnTo>
                  <a:lnTo>
                    <a:pt x="1111" y="2982"/>
                  </a:lnTo>
                  <a:lnTo>
                    <a:pt x="1180" y="2899"/>
                  </a:lnTo>
                  <a:lnTo>
                    <a:pt x="1249" y="2817"/>
                  </a:lnTo>
                  <a:lnTo>
                    <a:pt x="1318" y="2734"/>
                  </a:lnTo>
                  <a:lnTo>
                    <a:pt x="1386" y="2652"/>
                  </a:lnTo>
                  <a:lnTo>
                    <a:pt x="1455" y="2568"/>
                  </a:lnTo>
                  <a:lnTo>
                    <a:pt x="1575" y="2424"/>
                  </a:lnTo>
                  <a:lnTo>
                    <a:pt x="1695" y="2280"/>
                  </a:lnTo>
                  <a:lnTo>
                    <a:pt x="1815" y="2136"/>
                  </a:lnTo>
                  <a:lnTo>
                    <a:pt x="1937" y="1992"/>
                  </a:lnTo>
                  <a:lnTo>
                    <a:pt x="2058" y="1850"/>
                  </a:lnTo>
                  <a:lnTo>
                    <a:pt x="2180" y="1707"/>
                  </a:lnTo>
                  <a:lnTo>
                    <a:pt x="2303" y="1567"/>
                  </a:lnTo>
                  <a:lnTo>
                    <a:pt x="2427" y="1427"/>
                  </a:lnTo>
                  <a:lnTo>
                    <a:pt x="2552" y="1289"/>
                  </a:lnTo>
                  <a:lnTo>
                    <a:pt x="2678" y="1152"/>
                  </a:lnTo>
                  <a:lnTo>
                    <a:pt x="2742" y="1084"/>
                  </a:lnTo>
                  <a:lnTo>
                    <a:pt x="2806" y="1017"/>
                  </a:lnTo>
                  <a:lnTo>
                    <a:pt x="2871" y="950"/>
                  </a:lnTo>
                  <a:lnTo>
                    <a:pt x="2936" y="883"/>
                  </a:lnTo>
                  <a:lnTo>
                    <a:pt x="3001" y="817"/>
                  </a:lnTo>
                  <a:lnTo>
                    <a:pt x="3067" y="752"/>
                  </a:lnTo>
                  <a:lnTo>
                    <a:pt x="3133" y="687"/>
                  </a:lnTo>
                  <a:lnTo>
                    <a:pt x="3200" y="622"/>
                  </a:lnTo>
                  <a:lnTo>
                    <a:pt x="3268" y="558"/>
                  </a:lnTo>
                  <a:lnTo>
                    <a:pt x="3335" y="495"/>
                  </a:lnTo>
                  <a:lnTo>
                    <a:pt x="3404" y="432"/>
                  </a:lnTo>
                  <a:lnTo>
                    <a:pt x="3473" y="369"/>
                  </a:lnTo>
                  <a:lnTo>
                    <a:pt x="3392" y="409"/>
                  </a:lnTo>
                  <a:lnTo>
                    <a:pt x="3312" y="449"/>
                  </a:lnTo>
                  <a:lnTo>
                    <a:pt x="3232" y="491"/>
                  </a:lnTo>
                  <a:lnTo>
                    <a:pt x="3152" y="533"/>
                  </a:lnTo>
                  <a:lnTo>
                    <a:pt x="3073" y="579"/>
                  </a:lnTo>
                  <a:lnTo>
                    <a:pt x="2995" y="624"/>
                  </a:lnTo>
                  <a:lnTo>
                    <a:pt x="2916" y="671"/>
                  </a:lnTo>
                  <a:lnTo>
                    <a:pt x="2838" y="720"/>
                  </a:lnTo>
                  <a:lnTo>
                    <a:pt x="2761" y="769"/>
                  </a:lnTo>
                  <a:lnTo>
                    <a:pt x="2684" y="821"/>
                  </a:lnTo>
                  <a:lnTo>
                    <a:pt x="2607" y="874"/>
                  </a:lnTo>
                  <a:lnTo>
                    <a:pt x="2531" y="927"/>
                  </a:lnTo>
                  <a:lnTo>
                    <a:pt x="2455" y="982"/>
                  </a:lnTo>
                  <a:lnTo>
                    <a:pt x="2380" y="1038"/>
                  </a:lnTo>
                  <a:lnTo>
                    <a:pt x="2305" y="1095"/>
                  </a:lnTo>
                  <a:lnTo>
                    <a:pt x="2230" y="1154"/>
                  </a:lnTo>
                  <a:lnTo>
                    <a:pt x="2156" y="1214"/>
                  </a:lnTo>
                  <a:lnTo>
                    <a:pt x="2082" y="1275"/>
                  </a:lnTo>
                  <a:lnTo>
                    <a:pt x="2009" y="1336"/>
                  </a:lnTo>
                  <a:lnTo>
                    <a:pt x="1936" y="1398"/>
                  </a:lnTo>
                  <a:lnTo>
                    <a:pt x="1864" y="1462"/>
                  </a:lnTo>
                  <a:lnTo>
                    <a:pt x="1792" y="1527"/>
                  </a:lnTo>
                  <a:lnTo>
                    <a:pt x="1721" y="1593"/>
                  </a:lnTo>
                  <a:lnTo>
                    <a:pt x="1650" y="1660"/>
                  </a:lnTo>
                  <a:lnTo>
                    <a:pt x="1578" y="1728"/>
                  </a:lnTo>
                  <a:lnTo>
                    <a:pt x="1508" y="1797"/>
                  </a:lnTo>
                  <a:lnTo>
                    <a:pt x="1439" y="1866"/>
                  </a:lnTo>
                  <a:lnTo>
                    <a:pt x="1370" y="1937"/>
                  </a:lnTo>
                  <a:lnTo>
                    <a:pt x="1301" y="2008"/>
                  </a:lnTo>
                  <a:lnTo>
                    <a:pt x="1233" y="2081"/>
                  </a:lnTo>
                  <a:lnTo>
                    <a:pt x="1165" y="2154"/>
                  </a:lnTo>
                  <a:lnTo>
                    <a:pt x="1098" y="2228"/>
                  </a:lnTo>
                  <a:lnTo>
                    <a:pt x="1037" y="2297"/>
                  </a:lnTo>
                  <a:lnTo>
                    <a:pt x="975" y="2366"/>
                  </a:lnTo>
                  <a:lnTo>
                    <a:pt x="914" y="2437"/>
                  </a:lnTo>
                  <a:lnTo>
                    <a:pt x="853" y="2508"/>
                  </a:lnTo>
                  <a:lnTo>
                    <a:pt x="793" y="2581"/>
                  </a:lnTo>
                  <a:lnTo>
                    <a:pt x="733" y="2653"/>
                  </a:lnTo>
                  <a:lnTo>
                    <a:pt x="673" y="2726"/>
                  </a:lnTo>
                  <a:lnTo>
                    <a:pt x="613" y="28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79" name="Freeform 64"/>
            <p:cNvSpPr>
              <a:spLocks noChangeArrowheads="1"/>
            </p:cNvSpPr>
            <p:nvPr userDrawn="1"/>
          </p:nvSpPr>
          <p:spPr bwMode="auto">
            <a:xfrm>
              <a:off x="1169987" y="2298249"/>
              <a:ext cx="1735137" cy="2191235"/>
            </a:xfrm>
            <a:custGeom>
              <a:avLst/>
              <a:gdLst>
                <a:gd name="T0" fmla="*/ 0 w 3856"/>
                <a:gd name="T1" fmla="*/ 3273 h 3953"/>
                <a:gd name="T2" fmla="*/ 100 w 3856"/>
                <a:gd name="T3" fmla="*/ 3135 h 3953"/>
                <a:gd name="T4" fmla="*/ 202 w 3856"/>
                <a:gd name="T5" fmla="*/ 2997 h 3953"/>
                <a:gd name="T6" fmla="*/ 305 w 3856"/>
                <a:gd name="T7" fmla="*/ 2862 h 3953"/>
                <a:gd name="T8" fmla="*/ 409 w 3856"/>
                <a:gd name="T9" fmla="*/ 2727 h 3953"/>
                <a:gd name="T10" fmla="*/ 515 w 3856"/>
                <a:gd name="T11" fmla="*/ 2594 h 3953"/>
                <a:gd name="T12" fmla="*/ 622 w 3856"/>
                <a:gd name="T13" fmla="*/ 2463 h 3953"/>
                <a:gd name="T14" fmla="*/ 730 w 3856"/>
                <a:gd name="T15" fmla="*/ 2334 h 3953"/>
                <a:gd name="T16" fmla="*/ 840 w 3856"/>
                <a:gd name="T17" fmla="*/ 2206 h 3953"/>
                <a:gd name="T18" fmla="*/ 952 w 3856"/>
                <a:gd name="T19" fmla="*/ 2081 h 3953"/>
                <a:gd name="T20" fmla="*/ 1065 w 3856"/>
                <a:gd name="T21" fmla="*/ 1958 h 3953"/>
                <a:gd name="T22" fmla="*/ 1179 w 3856"/>
                <a:gd name="T23" fmla="*/ 1837 h 3953"/>
                <a:gd name="T24" fmla="*/ 1295 w 3856"/>
                <a:gd name="T25" fmla="*/ 1718 h 3953"/>
                <a:gd name="T26" fmla="*/ 1411 w 3856"/>
                <a:gd name="T27" fmla="*/ 1603 h 3953"/>
                <a:gd name="T28" fmla="*/ 1530 w 3856"/>
                <a:gd name="T29" fmla="*/ 1490 h 3953"/>
                <a:gd name="T30" fmla="*/ 1649 w 3856"/>
                <a:gd name="T31" fmla="*/ 1378 h 3953"/>
                <a:gd name="T32" fmla="*/ 1770 w 3856"/>
                <a:gd name="T33" fmla="*/ 1270 h 3953"/>
                <a:gd name="T34" fmla="*/ 1891 w 3856"/>
                <a:gd name="T35" fmla="*/ 1165 h 3953"/>
                <a:gd name="T36" fmla="*/ 2014 w 3856"/>
                <a:gd name="T37" fmla="*/ 1063 h 3953"/>
                <a:gd name="T38" fmla="*/ 2138 w 3856"/>
                <a:gd name="T39" fmla="*/ 964 h 3953"/>
                <a:gd name="T40" fmla="*/ 2264 w 3856"/>
                <a:gd name="T41" fmla="*/ 868 h 3953"/>
                <a:gd name="T42" fmla="*/ 2391 w 3856"/>
                <a:gd name="T43" fmla="*/ 775 h 3953"/>
                <a:gd name="T44" fmla="*/ 2518 w 3856"/>
                <a:gd name="T45" fmla="*/ 685 h 3953"/>
                <a:gd name="T46" fmla="*/ 2647 w 3856"/>
                <a:gd name="T47" fmla="*/ 600 h 3953"/>
                <a:gd name="T48" fmla="*/ 2777 w 3856"/>
                <a:gd name="T49" fmla="*/ 517 h 3953"/>
                <a:gd name="T50" fmla="*/ 2909 w 3856"/>
                <a:gd name="T51" fmla="*/ 439 h 3953"/>
                <a:gd name="T52" fmla="*/ 3041 w 3856"/>
                <a:gd name="T53" fmla="*/ 364 h 3953"/>
                <a:gd name="T54" fmla="*/ 3174 w 3856"/>
                <a:gd name="T55" fmla="*/ 294 h 3953"/>
                <a:gd name="T56" fmla="*/ 3308 w 3856"/>
                <a:gd name="T57" fmla="*/ 227 h 3953"/>
                <a:gd name="T58" fmla="*/ 3444 w 3856"/>
                <a:gd name="T59" fmla="*/ 164 h 3953"/>
                <a:gd name="T60" fmla="*/ 3580 w 3856"/>
                <a:gd name="T61" fmla="*/ 105 h 3953"/>
                <a:gd name="T62" fmla="*/ 3718 w 3856"/>
                <a:gd name="T63" fmla="*/ 50 h 3953"/>
                <a:gd name="T64" fmla="*/ 3856 w 3856"/>
                <a:gd name="T65" fmla="*/ 0 h 3953"/>
                <a:gd name="T66" fmla="*/ 3727 w 3856"/>
                <a:gd name="T67" fmla="*/ 105 h 3953"/>
                <a:gd name="T68" fmla="*/ 3599 w 3856"/>
                <a:gd name="T69" fmla="*/ 212 h 3953"/>
                <a:gd name="T70" fmla="*/ 3473 w 3856"/>
                <a:gd name="T71" fmla="*/ 322 h 3953"/>
                <a:gd name="T72" fmla="*/ 3348 w 3856"/>
                <a:gd name="T73" fmla="*/ 433 h 3953"/>
                <a:gd name="T74" fmla="*/ 3227 w 3856"/>
                <a:gd name="T75" fmla="*/ 547 h 3953"/>
                <a:gd name="T76" fmla="*/ 3106 w 3856"/>
                <a:gd name="T77" fmla="*/ 663 h 3953"/>
                <a:gd name="T78" fmla="*/ 2987 w 3856"/>
                <a:gd name="T79" fmla="*/ 780 h 3953"/>
                <a:gd name="T80" fmla="*/ 2870 w 3856"/>
                <a:gd name="T81" fmla="*/ 899 h 3953"/>
                <a:gd name="T82" fmla="*/ 2754 w 3856"/>
                <a:gd name="T83" fmla="*/ 1019 h 3953"/>
                <a:gd name="T84" fmla="*/ 2639 w 3856"/>
                <a:gd name="T85" fmla="*/ 1141 h 3953"/>
                <a:gd name="T86" fmla="*/ 2526 w 3856"/>
                <a:gd name="T87" fmla="*/ 1265 h 3953"/>
                <a:gd name="T88" fmla="*/ 2413 w 3856"/>
                <a:gd name="T89" fmla="*/ 1390 h 3953"/>
                <a:gd name="T90" fmla="*/ 2301 w 3856"/>
                <a:gd name="T91" fmla="*/ 1515 h 3953"/>
                <a:gd name="T92" fmla="*/ 2190 w 3856"/>
                <a:gd name="T93" fmla="*/ 1641 h 3953"/>
                <a:gd name="T94" fmla="*/ 2080 w 3856"/>
                <a:gd name="T95" fmla="*/ 1769 h 3953"/>
                <a:gd name="T96" fmla="*/ 1970 w 3856"/>
                <a:gd name="T97" fmla="*/ 1897 h 3953"/>
                <a:gd name="T98" fmla="*/ 1753 w 3856"/>
                <a:gd name="T99" fmla="*/ 2155 h 3953"/>
                <a:gd name="T100" fmla="*/ 1536 w 3856"/>
                <a:gd name="T101" fmla="*/ 2415 h 3953"/>
                <a:gd name="T102" fmla="*/ 1319 w 3856"/>
                <a:gd name="T103" fmla="*/ 2675 h 3953"/>
                <a:gd name="T104" fmla="*/ 1103 w 3856"/>
                <a:gd name="T105" fmla="*/ 2935 h 3953"/>
                <a:gd name="T106" fmla="*/ 994 w 3856"/>
                <a:gd name="T107" fmla="*/ 3065 h 3953"/>
                <a:gd name="T108" fmla="*/ 885 w 3856"/>
                <a:gd name="T109" fmla="*/ 3195 h 3953"/>
                <a:gd name="T110" fmla="*/ 775 w 3856"/>
                <a:gd name="T111" fmla="*/ 3322 h 3953"/>
                <a:gd name="T112" fmla="*/ 663 w 3856"/>
                <a:gd name="T113" fmla="*/ 3450 h 3953"/>
                <a:gd name="T114" fmla="*/ 552 w 3856"/>
                <a:gd name="T115" fmla="*/ 3578 h 3953"/>
                <a:gd name="T116" fmla="*/ 440 w 3856"/>
                <a:gd name="T117" fmla="*/ 3704 h 3953"/>
                <a:gd name="T118" fmla="*/ 326 w 3856"/>
                <a:gd name="T119" fmla="*/ 3830 h 3953"/>
                <a:gd name="T120" fmla="*/ 212 w 3856"/>
                <a:gd name="T121" fmla="*/ 3953 h 3953"/>
                <a:gd name="T122" fmla="*/ 0 w 3856"/>
                <a:gd name="T123" fmla="*/ 3273 h 3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56" h="3953">
                  <a:moveTo>
                    <a:pt x="0" y="3273"/>
                  </a:moveTo>
                  <a:lnTo>
                    <a:pt x="100" y="3135"/>
                  </a:lnTo>
                  <a:lnTo>
                    <a:pt x="202" y="2997"/>
                  </a:lnTo>
                  <a:lnTo>
                    <a:pt x="305" y="2862"/>
                  </a:lnTo>
                  <a:lnTo>
                    <a:pt x="409" y="2727"/>
                  </a:lnTo>
                  <a:lnTo>
                    <a:pt x="515" y="2594"/>
                  </a:lnTo>
                  <a:lnTo>
                    <a:pt x="622" y="2463"/>
                  </a:lnTo>
                  <a:lnTo>
                    <a:pt x="730" y="2334"/>
                  </a:lnTo>
                  <a:lnTo>
                    <a:pt x="840" y="2206"/>
                  </a:lnTo>
                  <a:lnTo>
                    <a:pt x="952" y="2081"/>
                  </a:lnTo>
                  <a:lnTo>
                    <a:pt x="1065" y="1958"/>
                  </a:lnTo>
                  <a:lnTo>
                    <a:pt x="1179" y="1837"/>
                  </a:lnTo>
                  <a:lnTo>
                    <a:pt x="1295" y="1718"/>
                  </a:lnTo>
                  <a:lnTo>
                    <a:pt x="1411" y="1603"/>
                  </a:lnTo>
                  <a:lnTo>
                    <a:pt x="1530" y="1490"/>
                  </a:lnTo>
                  <a:lnTo>
                    <a:pt x="1649" y="1378"/>
                  </a:lnTo>
                  <a:lnTo>
                    <a:pt x="1770" y="1270"/>
                  </a:lnTo>
                  <a:lnTo>
                    <a:pt x="1891" y="1165"/>
                  </a:lnTo>
                  <a:lnTo>
                    <a:pt x="2014" y="1063"/>
                  </a:lnTo>
                  <a:lnTo>
                    <a:pt x="2138" y="964"/>
                  </a:lnTo>
                  <a:lnTo>
                    <a:pt x="2264" y="868"/>
                  </a:lnTo>
                  <a:lnTo>
                    <a:pt x="2391" y="775"/>
                  </a:lnTo>
                  <a:lnTo>
                    <a:pt x="2518" y="685"/>
                  </a:lnTo>
                  <a:lnTo>
                    <a:pt x="2647" y="600"/>
                  </a:lnTo>
                  <a:lnTo>
                    <a:pt x="2777" y="517"/>
                  </a:lnTo>
                  <a:lnTo>
                    <a:pt x="2909" y="439"/>
                  </a:lnTo>
                  <a:lnTo>
                    <a:pt x="3041" y="364"/>
                  </a:lnTo>
                  <a:lnTo>
                    <a:pt x="3174" y="294"/>
                  </a:lnTo>
                  <a:lnTo>
                    <a:pt x="3308" y="227"/>
                  </a:lnTo>
                  <a:lnTo>
                    <a:pt x="3444" y="164"/>
                  </a:lnTo>
                  <a:lnTo>
                    <a:pt x="3580" y="105"/>
                  </a:lnTo>
                  <a:lnTo>
                    <a:pt x="3718" y="50"/>
                  </a:lnTo>
                  <a:lnTo>
                    <a:pt x="3856" y="0"/>
                  </a:lnTo>
                  <a:lnTo>
                    <a:pt x="3727" y="105"/>
                  </a:lnTo>
                  <a:lnTo>
                    <a:pt x="3599" y="212"/>
                  </a:lnTo>
                  <a:lnTo>
                    <a:pt x="3473" y="322"/>
                  </a:lnTo>
                  <a:lnTo>
                    <a:pt x="3348" y="433"/>
                  </a:lnTo>
                  <a:lnTo>
                    <a:pt x="3227" y="547"/>
                  </a:lnTo>
                  <a:lnTo>
                    <a:pt x="3106" y="663"/>
                  </a:lnTo>
                  <a:lnTo>
                    <a:pt x="2987" y="780"/>
                  </a:lnTo>
                  <a:lnTo>
                    <a:pt x="2870" y="899"/>
                  </a:lnTo>
                  <a:lnTo>
                    <a:pt x="2754" y="1019"/>
                  </a:lnTo>
                  <a:lnTo>
                    <a:pt x="2639" y="1141"/>
                  </a:lnTo>
                  <a:lnTo>
                    <a:pt x="2526" y="1265"/>
                  </a:lnTo>
                  <a:lnTo>
                    <a:pt x="2413" y="1390"/>
                  </a:lnTo>
                  <a:lnTo>
                    <a:pt x="2301" y="1515"/>
                  </a:lnTo>
                  <a:lnTo>
                    <a:pt x="2190" y="1641"/>
                  </a:lnTo>
                  <a:lnTo>
                    <a:pt x="2080" y="1769"/>
                  </a:lnTo>
                  <a:lnTo>
                    <a:pt x="1970" y="1897"/>
                  </a:lnTo>
                  <a:lnTo>
                    <a:pt x="1753" y="2155"/>
                  </a:lnTo>
                  <a:lnTo>
                    <a:pt x="1536" y="2415"/>
                  </a:lnTo>
                  <a:lnTo>
                    <a:pt x="1319" y="2675"/>
                  </a:lnTo>
                  <a:lnTo>
                    <a:pt x="1103" y="2935"/>
                  </a:lnTo>
                  <a:lnTo>
                    <a:pt x="994" y="3065"/>
                  </a:lnTo>
                  <a:lnTo>
                    <a:pt x="885" y="3195"/>
                  </a:lnTo>
                  <a:lnTo>
                    <a:pt x="775" y="3322"/>
                  </a:lnTo>
                  <a:lnTo>
                    <a:pt x="663" y="3450"/>
                  </a:lnTo>
                  <a:lnTo>
                    <a:pt x="552" y="3578"/>
                  </a:lnTo>
                  <a:lnTo>
                    <a:pt x="440" y="3704"/>
                  </a:lnTo>
                  <a:lnTo>
                    <a:pt x="326" y="3830"/>
                  </a:lnTo>
                  <a:lnTo>
                    <a:pt x="212" y="3953"/>
                  </a:lnTo>
                  <a:lnTo>
                    <a:pt x="0" y="327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0" name="Freeform 65"/>
            <p:cNvSpPr>
              <a:spLocks noChangeArrowheads="1"/>
            </p:cNvSpPr>
            <p:nvPr userDrawn="1"/>
          </p:nvSpPr>
          <p:spPr bwMode="auto">
            <a:xfrm>
              <a:off x="1255712" y="1941994"/>
              <a:ext cx="1914525" cy="1720406"/>
            </a:xfrm>
            <a:custGeom>
              <a:avLst/>
              <a:gdLst>
                <a:gd name="T0" fmla="*/ 68 w 4263"/>
                <a:gd name="T1" fmla="*/ 2882 h 3100"/>
                <a:gd name="T2" fmla="*/ 322 w 4263"/>
                <a:gd name="T3" fmla="*/ 2585 h 3100"/>
                <a:gd name="T4" fmla="*/ 581 w 4263"/>
                <a:gd name="T5" fmla="*/ 2300 h 3100"/>
                <a:gd name="T6" fmla="*/ 849 w 4263"/>
                <a:gd name="T7" fmla="*/ 2022 h 3100"/>
                <a:gd name="T8" fmla="*/ 1143 w 4263"/>
                <a:gd name="T9" fmla="*/ 1739 h 3100"/>
                <a:gd name="T10" fmla="*/ 1504 w 4263"/>
                <a:gd name="T11" fmla="*/ 1417 h 3100"/>
                <a:gd name="T12" fmla="*/ 1874 w 4263"/>
                <a:gd name="T13" fmla="*/ 1121 h 3100"/>
                <a:gd name="T14" fmla="*/ 2253 w 4263"/>
                <a:gd name="T15" fmla="*/ 851 h 3100"/>
                <a:gd name="T16" fmla="*/ 2640 w 4263"/>
                <a:gd name="T17" fmla="*/ 610 h 3100"/>
                <a:gd name="T18" fmla="*/ 3035 w 4263"/>
                <a:gd name="T19" fmla="*/ 400 h 3100"/>
                <a:gd name="T20" fmla="*/ 3438 w 4263"/>
                <a:gd name="T21" fmla="*/ 224 h 3100"/>
                <a:gd name="T22" fmla="*/ 3848 w 4263"/>
                <a:gd name="T23" fmla="*/ 83 h 3100"/>
                <a:gd name="T24" fmla="*/ 4168 w 4263"/>
                <a:gd name="T25" fmla="*/ 1 h 3100"/>
                <a:gd name="T26" fmla="*/ 4201 w 4263"/>
                <a:gd name="T27" fmla="*/ 3 h 3100"/>
                <a:gd name="T28" fmla="*/ 4230 w 4263"/>
                <a:gd name="T29" fmla="*/ 18 h 3100"/>
                <a:gd name="T30" fmla="*/ 4251 w 4263"/>
                <a:gd name="T31" fmla="*/ 43 h 3100"/>
                <a:gd name="T32" fmla="*/ 4263 w 4263"/>
                <a:gd name="T33" fmla="*/ 80 h 3100"/>
                <a:gd name="T34" fmla="*/ 4250 w 4263"/>
                <a:gd name="T35" fmla="*/ 130 h 3100"/>
                <a:gd name="T36" fmla="*/ 4229 w 4263"/>
                <a:gd name="T37" fmla="*/ 153 h 3100"/>
                <a:gd name="T38" fmla="*/ 4030 w 4263"/>
                <a:gd name="T39" fmla="*/ 284 h 3100"/>
                <a:gd name="T40" fmla="*/ 3665 w 4263"/>
                <a:gd name="T41" fmla="*/ 543 h 3100"/>
                <a:gd name="T42" fmla="*/ 3324 w 4263"/>
                <a:gd name="T43" fmla="*/ 810 h 3100"/>
                <a:gd name="T44" fmla="*/ 3003 w 4263"/>
                <a:gd name="T45" fmla="*/ 1087 h 3100"/>
                <a:gd name="T46" fmla="*/ 2695 w 4263"/>
                <a:gd name="T47" fmla="*/ 1380 h 3100"/>
                <a:gd name="T48" fmla="*/ 2396 w 4263"/>
                <a:gd name="T49" fmla="*/ 1690 h 3100"/>
                <a:gd name="T50" fmla="*/ 2103 w 4263"/>
                <a:gd name="T51" fmla="*/ 2021 h 3100"/>
                <a:gd name="T52" fmla="*/ 1808 w 4263"/>
                <a:gd name="T53" fmla="*/ 2375 h 3100"/>
                <a:gd name="T54" fmla="*/ 1640 w 4263"/>
                <a:gd name="T55" fmla="*/ 2579 h 3100"/>
                <a:gd name="T56" fmla="*/ 92 w 4263"/>
                <a:gd name="T57" fmla="*/ 3100 h 3100"/>
                <a:gd name="T58" fmla="*/ 601 w 4263"/>
                <a:gd name="T59" fmla="*/ 2531 h 3100"/>
                <a:gd name="T60" fmla="*/ 442 w 4263"/>
                <a:gd name="T61" fmla="*/ 2707 h 3100"/>
                <a:gd name="T62" fmla="*/ 1541 w 4263"/>
                <a:gd name="T63" fmla="*/ 2436 h 3100"/>
                <a:gd name="T64" fmla="*/ 1838 w 4263"/>
                <a:gd name="T65" fmla="*/ 2070 h 3100"/>
                <a:gd name="T66" fmla="*/ 2132 w 4263"/>
                <a:gd name="T67" fmla="*/ 1729 h 3100"/>
                <a:gd name="T68" fmla="*/ 2427 w 4263"/>
                <a:gd name="T69" fmla="*/ 1409 h 3100"/>
                <a:gd name="T70" fmla="*/ 2730 w 4263"/>
                <a:gd name="T71" fmla="*/ 1107 h 3100"/>
                <a:gd name="T72" fmla="*/ 2957 w 4263"/>
                <a:gd name="T73" fmla="*/ 900 h 3100"/>
                <a:gd name="T74" fmla="*/ 3191 w 4263"/>
                <a:gd name="T75" fmla="*/ 698 h 3100"/>
                <a:gd name="T76" fmla="*/ 3434 w 4263"/>
                <a:gd name="T77" fmla="*/ 503 h 3100"/>
                <a:gd name="T78" fmla="*/ 3690 w 4263"/>
                <a:gd name="T79" fmla="*/ 312 h 3100"/>
                <a:gd name="T80" fmla="*/ 3357 w 4263"/>
                <a:gd name="T81" fmla="*/ 441 h 3100"/>
                <a:gd name="T82" fmla="*/ 3029 w 4263"/>
                <a:gd name="T83" fmla="*/ 594 h 3100"/>
                <a:gd name="T84" fmla="*/ 2705 w 4263"/>
                <a:gd name="T85" fmla="*/ 770 h 3100"/>
                <a:gd name="T86" fmla="*/ 2388 w 4263"/>
                <a:gd name="T87" fmla="*/ 967 h 3100"/>
                <a:gd name="T88" fmla="*/ 2075 w 4263"/>
                <a:gd name="T89" fmla="*/ 1184 h 3100"/>
                <a:gd name="T90" fmla="*/ 1768 w 4263"/>
                <a:gd name="T91" fmla="*/ 1421 h 3100"/>
                <a:gd name="T92" fmla="*/ 1466 w 4263"/>
                <a:gd name="T93" fmla="*/ 1676 h 3100"/>
                <a:gd name="T94" fmla="*/ 1172 w 4263"/>
                <a:gd name="T95" fmla="*/ 1946 h 3100"/>
                <a:gd name="T96" fmla="*/ 904 w 4263"/>
                <a:gd name="T97" fmla="*/ 2210 h 3100"/>
                <a:gd name="T98" fmla="*/ 641 w 4263"/>
                <a:gd name="T99" fmla="*/ 2486 h 3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63" h="3100">
                  <a:moveTo>
                    <a:pt x="0" y="2964"/>
                  </a:moveTo>
                  <a:lnTo>
                    <a:pt x="1" y="2961"/>
                  </a:lnTo>
                  <a:lnTo>
                    <a:pt x="6" y="2957"/>
                  </a:lnTo>
                  <a:lnTo>
                    <a:pt x="68" y="2882"/>
                  </a:lnTo>
                  <a:lnTo>
                    <a:pt x="131" y="2807"/>
                  </a:lnTo>
                  <a:lnTo>
                    <a:pt x="195" y="2732"/>
                  </a:lnTo>
                  <a:lnTo>
                    <a:pt x="258" y="2658"/>
                  </a:lnTo>
                  <a:lnTo>
                    <a:pt x="322" y="2585"/>
                  </a:lnTo>
                  <a:lnTo>
                    <a:pt x="387" y="2513"/>
                  </a:lnTo>
                  <a:lnTo>
                    <a:pt x="451" y="2442"/>
                  </a:lnTo>
                  <a:lnTo>
                    <a:pt x="515" y="2371"/>
                  </a:lnTo>
                  <a:lnTo>
                    <a:pt x="581" y="2300"/>
                  </a:lnTo>
                  <a:lnTo>
                    <a:pt x="647" y="2230"/>
                  </a:lnTo>
                  <a:lnTo>
                    <a:pt x="714" y="2159"/>
                  </a:lnTo>
                  <a:lnTo>
                    <a:pt x="781" y="2090"/>
                  </a:lnTo>
                  <a:lnTo>
                    <a:pt x="849" y="2022"/>
                  </a:lnTo>
                  <a:lnTo>
                    <a:pt x="917" y="1955"/>
                  </a:lnTo>
                  <a:lnTo>
                    <a:pt x="985" y="1888"/>
                  </a:lnTo>
                  <a:lnTo>
                    <a:pt x="1054" y="1822"/>
                  </a:lnTo>
                  <a:lnTo>
                    <a:pt x="1143" y="1739"/>
                  </a:lnTo>
                  <a:lnTo>
                    <a:pt x="1232" y="1656"/>
                  </a:lnTo>
                  <a:lnTo>
                    <a:pt x="1322" y="1575"/>
                  </a:lnTo>
                  <a:lnTo>
                    <a:pt x="1413" y="1496"/>
                  </a:lnTo>
                  <a:lnTo>
                    <a:pt x="1504" y="1417"/>
                  </a:lnTo>
                  <a:lnTo>
                    <a:pt x="1596" y="1341"/>
                  </a:lnTo>
                  <a:lnTo>
                    <a:pt x="1688" y="1266"/>
                  </a:lnTo>
                  <a:lnTo>
                    <a:pt x="1780" y="1193"/>
                  </a:lnTo>
                  <a:lnTo>
                    <a:pt x="1874" y="1121"/>
                  </a:lnTo>
                  <a:lnTo>
                    <a:pt x="1968" y="1051"/>
                  </a:lnTo>
                  <a:lnTo>
                    <a:pt x="2063" y="982"/>
                  </a:lnTo>
                  <a:lnTo>
                    <a:pt x="2157" y="916"/>
                  </a:lnTo>
                  <a:lnTo>
                    <a:pt x="2253" y="851"/>
                  </a:lnTo>
                  <a:lnTo>
                    <a:pt x="2349" y="788"/>
                  </a:lnTo>
                  <a:lnTo>
                    <a:pt x="2446" y="727"/>
                  </a:lnTo>
                  <a:lnTo>
                    <a:pt x="2542" y="667"/>
                  </a:lnTo>
                  <a:lnTo>
                    <a:pt x="2640" y="610"/>
                  </a:lnTo>
                  <a:lnTo>
                    <a:pt x="2738" y="554"/>
                  </a:lnTo>
                  <a:lnTo>
                    <a:pt x="2836" y="501"/>
                  </a:lnTo>
                  <a:lnTo>
                    <a:pt x="2936" y="449"/>
                  </a:lnTo>
                  <a:lnTo>
                    <a:pt x="3035" y="400"/>
                  </a:lnTo>
                  <a:lnTo>
                    <a:pt x="3135" y="352"/>
                  </a:lnTo>
                  <a:lnTo>
                    <a:pt x="3236" y="307"/>
                  </a:lnTo>
                  <a:lnTo>
                    <a:pt x="3337" y="265"/>
                  </a:lnTo>
                  <a:lnTo>
                    <a:pt x="3438" y="224"/>
                  </a:lnTo>
                  <a:lnTo>
                    <a:pt x="3540" y="185"/>
                  </a:lnTo>
                  <a:lnTo>
                    <a:pt x="3642" y="148"/>
                  </a:lnTo>
                  <a:lnTo>
                    <a:pt x="3745" y="114"/>
                  </a:lnTo>
                  <a:lnTo>
                    <a:pt x="3848" y="83"/>
                  </a:lnTo>
                  <a:lnTo>
                    <a:pt x="3951" y="53"/>
                  </a:lnTo>
                  <a:lnTo>
                    <a:pt x="4055" y="27"/>
                  </a:lnTo>
                  <a:lnTo>
                    <a:pt x="4159" y="2"/>
                  </a:lnTo>
                  <a:lnTo>
                    <a:pt x="4168" y="1"/>
                  </a:lnTo>
                  <a:lnTo>
                    <a:pt x="4176" y="0"/>
                  </a:lnTo>
                  <a:lnTo>
                    <a:pt x="4184" y="0"/>
                  </a:lnTo>
                  <a:lnTo>
                    <a:pt x="4193" y="1"/>
                  </a:lnTo>
                  <a:lnTo>
                    <a:pt x="4201" y="3"/>
                  </a:lnTo>
                  <a:lnTo>
                    <a:pt x="4208" y="6"/>
                  </a:lnTo>
                  <a:lnTo>
                    <a:pt x="4216" y="9"/>
                  </a:lnTo>
                  <a:lnTo>
                    <a:pt x="4223" y="13"/>
                  </a:lnTo>
                  <a:lnTo>
                    <a:pt x="4230" y="18"/>
                  </a:lnTo>
                  <a:lnTo>
                    <a:pt x="4236" y="24"/>
                  </a:lnTo>
                  <a:lnTo>
                    <a:pt x="4241" y="30"/>
                  </a:lnTo>
                  <a:lnTo>
                    <a:pt x="4247" y="36"/>
                  </a:lnTo>
                  <a:lnTo>
                    <a:pt x="4251" y="43"/>
                  </a:lnTo>
                  <a:lnTo>
                    <a:pt x="4255" y="50"/>
                  </a:lnTo>
                  <a:lnTo>
                    <a:pt x="4258" y="59"/>
                  </a:lnTo>
                  <a:lnTo>
                    <a:pt x="4261" y="67"/>
                  </a:lnTo>
                  <a:lnTo>
                    <a:pt x="4263" y="80"/>
                  </a:lnTo>
                  <a:lnTo>
                    <a:pt x="4262" y="94"/>
                  </a:lnTo>
                  <a:lnTo>
                    <a:pt x="4260" y="107"/>
                  </a:lnTo>
                  <a:lnTo>
                    <a:pt x="4255" y="118"/>
                  </a:lnTo>
                  <a:lnTo>
                    <a:pt x="4250" y="130"/>
                  </a:lnTo>
                  <a:lnTo>
                    <a:pt x="4243" y="140"/>
                  </a:lnTo>
                  <a:lnTo>
                    <a:pt x="4238" y="145"/>
                  </a:lnTo>
                  <a:lnTo>
                    <a:pt x="4234" y="149"/>
                  </a:lnTo>
                  <a:lnTo>
                    <a:pt x="4229" y="153"/>
                  </a:lnTo>
                  <a:lnTo>
                    <a:pt x="4223" y="158"/>
                  </a:lnTo>
                  <a:lnTo>
                    <a:pt x="4126" y="220"/>
                  </a:lnTo>
                  <a:lnTo>
                    <a:pt x="4030" y="284"/>
                  </a:lnTo>
                  <a:lnTo>
                    <a:pt x="3936" y="348"/>
                  </a:lnTo>
                  <a:lnTo>
                    <a:pt x="3844" y="413"/>
                  </a:lnTo>
                  <a:lnTo>
                    <a:pt x="3754" y="478"/>
                  </a:lnTo>
                  <a:lnTo>
                    <a:pt x="3665" y="543"/>
                  </a:lnTo>
                  <a:lnTo>
                    <a:pt x="3578" y="609"/>
                  </a:lnTo>
                  <a:lnTo>
                    <a:pt x="3492" y="675"/>
                  </a:lnTo>
                  <a:lnTo>
                    <a:pt x="3408" y="742"/>
                  </a:lnTo>
                  <a:lnTo>
                    <a:pt x="3324" y="810"/>
                  </a:lnTo>
                  <a:lnTo>
                    <a:pt x="3242" y="878"/>
                  </a:lnTo>
                  <a:lnTo>
                    <a:pt x="3162" y="947"/>
                  </a:lnTo>
                  <a:lnTo>
                    <a:pt x="3081" y="1017"/>
                  </a:lnTo>
                  <a:lnTo>
                    <a:pt x="3003" y="1087"/>
                  </a:lnTo>
                  <a:lnTo>
                    <a:pt x="2925" y="1160"/>
                  </a:lnTo>
                  <a:lnTo>
                    <a:pt x="2848" y="1232"/>
                  </a:lnTo>
                  <a:lnTo>
                    <a:pt x="2771" y="1305"/>
                  </a:lnTo>
                  <a:lnTo>
                    <a:pt x="2695" y="1380"/>
                  </a:lnTo>
                  <a:lnTo>
                    <a:pt x="2620" y="1456"/>
                  </a:lnTo>
                  <a:lnTo>
                    <a:pt x="2546" y="1533"/>
                  </a:lnTo>
                  <a:lnTo>
                    <a:pt x="2470" y="1611"/>
                  </a:lnTo>
                  <a:lnTo>
                    <a:pt x="2396" y="1690"/>
                  </a:lnTo>
                  <a:lnTo>
                    <a:pt x="2323" y="1771"/>
                  </a:lnTo>
                  <a:lnTo>
                    <a:pt x="2249" y="1853"/>
                  </a:lnTo>
                  <a:lnTo>
                    <a:pt x="2176" y="1937"/>
                  </a:lnTo>
                  <a:lnTo>
                    <a:pt x="2103" y="2021"/>
                  </a:lnTo>
                  <a:lnTo>
                    <a:pt x="2029" y="2107"/>
                  </a:lnTo>
                  <a:lnTo>
                    <a:pt x="1955" y="2195"/>
                  </a:lnTo>
                  <a:lnTo>
                    <a:pt x="1881" y="2284"/>
                  </a:lnTo>
                  <a:lnTo>
                    <a:pt x="1808" y="2375"/>
                  </a:lnTo>
                  <a:lnTo>
                    <a:pt x="1734" y="2468"/>
                  </a:lnTo>
                  <a:lnTo>
                    <a:pt x="1659" y="2562"/>
                  </a:lnTo>
                  <a:lnTo>
                    <a:pt x="1651" y="2571"/>
                  </a:lnTo>
                  <a:lnTo>
                    <a:pt x="1640" y="2579"/>
                  </a:lnTo>
                  <a:lnTo>
                    <a:pt x="1630" y="2585"/>
                  </a:lnTo>
                  <a:lnTo>
                    <a:pt x="1619" y="2589"/>
                  </a:lnTo>
                  <a:lnTo>
                    <a:pt x="92" y="3100"/>
                  </a:lnTo>
                  <a:lnTo>
                    <a:pt x="66" y="3018"/>
                  </a:lnTo>
                  <a:lnTo>
                    <a:pt x="0" y="2964"/>
                  </a:lnTo>
                  <a:close/>
                  <a:moveTo>
                    <a:pt x="641" y="2486"/>
                  </a:moveTo>
                  <a:lnTo>
                    <a:pt x="601" y="2531"/>
                  </a:lnTo>
                  <a:lnTo>
                    <a:pt x="561" y="2574"/>
                  </a:lnTo>
                  <a:lnTo>
                    <a:pt x="522" y="2618"/>
                  </a:lnTo>
                  <a:lnTo>
                    <a:pt x="482" y="2663"/>
                  </a:lnTo>
                  <a:lnTo>
                    <a:pt x="442" y="2707"/>
                  </a:lnTo>
                  <a:lnTo>
                    <a:pt x="403" y="2751"/>
                  </a:lnTo>
                  <a:lnTo>
                    <a:pt x="365" y="2797"/>
                  </a:lnTo>
                  <a:lnTo>
                    <a:pt x="326" y="2842"/>
                  </a:lnTo>
                  <a:lnTo>
                    <a:pt x="1541" y="2436"/>
                  </a:lnTo>
                  <a:lnTo>
                    <a:pt x="1615" y="2342"/>
                  </a:lnTo>
                  <a:lnTo>
                    <a:pt x="1690" y="2249"/>
                  </a:lnTo>
                  <a:lnTo>
                    <a:pt x="1764" y="2158"/>
                  </a:lnTo>
                  <a:lnTo>
                    <a:pt x="1838" y="2070"/>
                  </a:lnTo>
                  <a:lnTo>
                    <a:pt x="1911" y="1982"/>
                  </a:lnTo>
                  <a:lnTo>
                    <a:pt x="1984" y="1897"/>
                  </a:lnTo>
                  <a:lnTo>
                    <a:pt x="2058" y="1812"/>
                  </a:lnTo>
                  <a:lnTo>
                    <a:pt x="2132" y="1729"/>
                  </a:lnTo>
                  <a:lnTo>
                    <a:pt x="2205" y="1647"/>
                  </a:lnTo>
                  <a:lnTo>
                    <a:pt x="2279" y="1566"/>
                  </a:lnTo>
                  <a:lnTo>
                    <a:pt x="2353" y="1487"/>
                  </a:lnTo>
                  <a:lnTo>
                    <a:pt x="2427" y="1409"/>
                  </a:lnTo>
                  <a:lnTo>
                    <a:pt x="2502" y="1332"/>
                  </a:lnTo>
                  <a:lnTo>
                    <a:pt x="2578" y="1256"/>
                  </a:lnTo>
                  <a:lnTo>
                    <a:pt x="2654" y="1181"/>
                  </a:lnTo>
                  <a:lnTo>
                    <a:pt x="2730" y="1107"/>
                  </a:lnTo>
                  <a:lnTo>
                    <a:pt x="2787" y="1054"/>
                  </a:lnTo>
                  <a:lnTo>
                    <a:pt x="2842" y="1003"/>
                  </a:lnTo>
                  <a:lnTo>
                    <a:pt x="2899" y="950"/>
                  </a:lnTo>
                  <a:lnTo>
                    <a:pt x="2957" y="900"/>
                  </a:lnTo>
                  <a:lnTo>
                    <a:pt x="3014" y="848"/>
                  </a:lnTo>
                  <a:lnTo>
                    <a:pt x="3073" y="798"/>
                  </a:lnTo>
                  <a:lnTo>
                    <a:pt x="3132" y="748"/>
                  </a:lnTo>
                  <a:lnTo>
                    <a:pt x="3191" y="698"/>
                  </a:lnTo>
                  <a:lnTo>
                    <a:pt x="3251" y="649"/>
                  </a:lnTo>
                  <a:lnTo>
                    <a:pt x="3312" y="600"/>
                  </a:lnTo>
                  <a:lnTo>
                    <a:pt x="3373" y="551"/>
                  </a:lnTo>
                  <a:lnTo>
                    <a:pt x="3434" y="503"/>
                  </a:lnTo>
                  <a:lnTo>
                    <a:pt x="3497" y="454"/>
                  </a:lnTo>
                  <a:lnTo>
                    <a:pt x="3561" y="407"/>
                  </a:lnTo>
                  <a:lnTo>
                    <a:pt x="3625" y="360"/>
                  </a:lnTo>
                  <a:lnTo>
                    <a:pt x="3690" y="312"/>
                  </a:lnTo>
                  <a:lnTo>
                    <a:pt x="3606" y="342"/>
                  </a:lnTo>
                  <a:lnTo>
                    <a:pt x="3523" y="374"/>
                  </a:lnTo>
                  <a:lnTo>
                    <a:pt x="3440" y="407"/>
                  </a:lnTo>
                  <a:lnTo>
                    <a:pt x="3357" y="441"/>
                  </a:lnTo>
                  <a:lnTo>
                    <a:pt x="3275" y="477"/>
                  </a:lnTo>
                  <a:lnTo>
                    <a:pt x="3192" y="514"/>
                  </a:lnTo>
                  <a:lnTo>
                    <a:pt x="3111" y="553"/>
                  </a:lnTo>
                  <a:lnTo>
                    <a:pt x="3029" y="594"/>
                  </a:lnTo>
                  <a:lnTo>
                    <a:pt x="2947" y="636"/>
                  </a:lnTo>
                  <a:lnTo>
                    <a:pt x="2867" y="679"/>
                  </a:lnTo>
                  <a:lnTo>
                    <a:pt x="2786" y="724"/>
                  </a:lnTo>
                  <a:lnTo>
                    <a:pt x="2705" y="770"/>
                  </a:lnTo>
                  <a:lnTo>
                    <a:pt x="2626" y="817"/>
                  </a:lnTo>
                  <a:lnTo>
                    <a:pt x="2546" y="866"/>
                  </a:lnTo>
                  <a:lnTo>
                    <a:pt x="2466" y="915"/>
                  </a:lnTo>
                  <a:lnTo>
                    <a:pt x="2388" y="967"/>
                  </a:lnTo>
                  <a:lnTo>
                    <a:pt x="2309" y="1019"/>
                  </a:lnTo>
                  <a:lnTo>
                    <a:pt x="2230" y="1073"/>
                  </a:lnTo>
                  <a:lnTo>
                    <a:pt x="2152" y="1129"/>
                  </a:lnTo>
                  <a:lnTo>
                    <a:pt x="2075" y="1184"/>
                  </a:lnTo>
                  <a:lnTo>
                    <a:pt x="1998" y="1242"/>
                  </a:lnTo>
                  <a:lnTo>
                    <a:pt x="1920" y="1301"/>
                  </a:lnTo>
                  <a:lnTo>
                    <a:pt x="1844" y="1361"/>
                  </a:lnTo>
                  <a:lnTo>
                    <a:pt x="1768" y="1421"/>
                  </a:lnTo>
                  <a:lnTo>
                    <a:pt x="1692" y="1483"/>
                  </a:lnTo>
                  <a:lnTo>
                    <a:pt x="1617" y="1546"/>
                  </a:lnTo>
                  <a:lnTo>
                    <a:pt x="1541" y="1610"/>
                  </a:lnTo>
                  <a:lnTo>
                    <a:pt x="1466" y="1676"/>
                  </a:lnTo>
                  <a:lnTo>
                    <a:pt x="1392" y="1742"/>
                  </a:lnTo>
                  <a:lnTo>
                    <a:pt x="1318" y="1809"/>
                  </a:lnTo>
                  <a:lnTo>
                    <a:pt x="1245" y="1877"/>
                  </a:lnTo>
                  <a:lnTo>
                    <a:pt x="1172" y="1946"/>
                  </a:lnTo>
                  <a:lnTo>
                    <a:pt x="1104" y="2011"/>
                  </a:lnTo>
                  <a:lnTo>
                    <a:pt x="1037" y="2077"/>
                  </a:lnTo>
                  <a:lnTo>
                    <a:pt x="970" y="2143"/>
                  </a:lnTo>
                  <a:lnTo>
                    <a:pt x="904" y="2210"/>
                  </a:lnTo>
                  <a:lnTo>
                    <a:pt x="838" y="2278"/>
                  </a:lnTo>
                  <a:lnTo>
                    <a:pt x="772" y="2347"/>
                  </a:lnTo>
                  <a:lnTo>
                    <a:pt x="706" y="2416"/>
                  </a:lnTo>
                  <a:lnTo>
                    <a:pt x="641" y="24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1" name="Freeform 66"/>
            <p:cNvSpPr>
              <a:spLocks noChangeArrowheads="1"/>
            </p:cNvSpPr>
            <p:nvPr userDrawn="1"/>
          </p:nvSpPr>
          <p:spPr bwMode="auto">
            <a:xfrm>
              <a:off x="1284287" y="1997491"/>
              <a:ext cx="1849437" cy="1621943"/>
            </a:xfrm>
            <a:custGeom>
              <a:avLst/>
              <a:gdLst>
                <a:gd name="T0" fmla="*/ 112 w 4111"/>
                <a:gd name="T1" fmla="*/ 2799 h 2933"/>
                <a:gd name="T2" fmla="*/ 339 w 4111"/>
                <a:gd name="T3" fmla="*/ 2535 h 2933"/>
                <a:gd name="T4" fmla="*/ 571 w 4111"/>
                <a:gd name="T5" fmla="*/ 2280 h 2933"/>
                <a:gd name="T6" fmla="*/ 808 w 4111"/>
                <a:gd name="T7" fmla="*/ 2033 h 2933"/>
                <a:gd name="T8" fmla="*/ 1050 w 4111"/>
                <a:gd name="T9" fmla="*/ 1796 h 2933"/>
                <a:gd name="T10" fmla="*/ 1295 w 4111"/>
                <a:gd name="T11" fmla="*/ 1569 h 2933"/>
                <a:gd name="T12" fmla="*/ 1545 w 4111"/>
                <a:gd name="T13" fmla="*/ 1354 h 2933"/>
                <a:gd name="T14" fmla="*/ 1800 w 4111"/>
                <a:gd name="T15" fmla="*/ 1150 h 2933"/>
                <a:gd name="T16" fmla="*/ 2058 w 4111"/>
                <a:gd name="T17" fmla="*/ 959 h 2933"/>
                <a:gd name="T18" fmla="*/ 2320 w 4111"/>
                <a:gd name="T19" fmla="*/ 781 h 2933"/>
                <a:gd name="T20" fmla="*/ 2586 w 4111"/>
                <a:gd name="T21" fmla="*/ 617 h 2933"/>
                <a:gd name="T22" fmla="*/ 2856 w 4111"/>
                <a:gd name="T23" fmla="*/ 468 h 2933"/>
                <a:gd name="T24" fmla="*/ 3128 w 4111"/>
                <a:gd name="T25" fmla="*/ 334 h 2933"/>
                <a:gd name="T26" fmla="*/ 3406 w 4111"/>
                <a:gd name="T27" fmla="*/ 217 h 2933"/>
                <a:gd name="T28" fmla="*/ 3686 w 4111"/>
                <a:gd name="T29" fmla="*/ 117 h 2933"/>
                <a:gd name="T30" fmla="*/ 3968 w 4111"/>
                <a:gd name="T31" fmla="*/ 34 h 2933"/>
                <a:gd name="T32" fmla="*/ 4013 w 4111"/>
                <a:gd name="T33" fmla="*/ 64 h 2933"/>
                <a:gd name="T34" fmla="*/ 3822 w 4111"/>
                <a:gd name="T35" fmla="*/ 193 h 2933"/>
                <a:gd name="T36" fmla="*/ 3637 w 4111"/>
                <a:gd name="T37" fmla="*/ 323 h 2933"/>
                <a:gd name="T38" fmla="*/ 3460 w 4111"/>
                <a:gd name="T39" fmla="*/ 456 h 2933"/>
                <a:gd name="T40" fmla="*/ 3288 w 4111"/>
                <a:gd name="T41" fmla="*/ 590 h 2933"/>
                <a:gd name="T42" fmla="*/ 3121 w 4111"/>
                <a:gd name="T43" fmla="*/ 727 h 2933"/>
                <a:gd name="T44" fmla="*/ 2960 w 4111"/>
                <a:gd name="T45" fmla="*/ 867 h 2933"/>
                <a:gd name="T46" fmla="*/ 2801 w 4111"/>
                <a:gd name="T47" fmla="*/ 1012 h 2933"/>
                <a:gd name="T48" fmla="*/ 2646 w 4111"/>
                <a:gd name="T49" fmla="*/ 1159 h 2933"/>
                <a:gd name="T50" fmla="*/ 2494 w 4111"/>
                <a:gd name="T51" fmla="*/ 1311 h 2933"/>
                <a:gd name="T52" fmla="*/ 2344 w 4111"/>
                <a:gd name="T53" fmla="*/ 1466 h 2933"/>
                <a:gd name="T54" fmla="*/ 2194 w 4111"/>
                <a:gd name="T55" fmla="*/ 1628 h 2933"/>
                <a:gd name="T56" fmla="*/ 2047 w 4111"/>
                <a:gd name="T57" fmla="*/ 1794 h 2933"/>
                <a:gd name="T58" fmla="*/ 1899 w 4111"/>
                <a:gd name="T59" fmla="*/ 1966 h 2933"/>
                <a:gd name="T60" fmla="*/ 1750 w 4111"/>
                <a:gd name="T61" fmla="*/ 2145 h 2933"/>
                <a:gd name="T62" fmla="*/ 1601 w 4111"/>
                <a:gd name="T63" fmla="*/ 2329 h 2933"/>
                <a:gd name="T64" fmla="*/ 1430 w 4111"/>
                <a:gd name="T65" fmla="*/ 2455 h 2933"/>
                <a:gd name="T66" fmla="*/ 1239 w 4111"/>
                <a:gd name="T67" fmla="*/ 2519 h 2933"/>
                <a:gd name="T68" fmla="*/ 1049 w 4111"/>
                <a:gd name="T69" fmla="*/ 2583 h 2933"/>
                <a:gd name="T70" fmla="*/ 858 w 4111"/>
                <a:gd name="T71" fmla="*/ 2647 h 2933"/>
                <a:gd name="T72" fmla="*/ 668 w 4111"/>
                <a:gd name="T73" fmla="*/ 2711 h 2933"/>
                <a:gd name="T74" fmla="*/ 477 w 4111"/>
                <a:gd name="T75" fmla="*/ 2774 h 2933"/>
                <a:gd name="T76" fmla="*/ 286 w 4111"/>
                <a:gd name="T77" fmla="*/ 2838 h 2933"/>
                <a:gd name="T78" fmla="*/ 95 w 4111"/>
                <a:gd name="T79" fmla="*/ 2902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11" h="2933">
                  <a:moveTo>
                    <a:pt x="0" y="2933"/>
                  </a:moveTo>
                  <a:lnTo>
                    <a:pt x="112" y="2799"/>
                  </a:lnTo>
                  <a:lnTo>
                    <a:pt x="225" y="2666"/>
                  </a:lnTo>
                  <a:lnTo>
                    <a:pt x="339" y="2535"/>
                  </a:lnTo>
                  <a:lnTo>
                    <a:pt x="455" y="2406"/>
                  </a:lnTo>
                  <a:lnTo>
                    <a:pt x="571" y="2280"/>
                  </a:lnTo>
                  <a:lnTo>
                    <a:pt x="689" y="2156"/>
                  </a:lnTo>
                  <a:lnTo>
                    <a:pt x="808" y="2033"/>
                  </a:lnTo>
                  <a:lnTo>
                    <a:pt x="928" y="1914"/>
                  </a:lnTo>
                  <a:lnTo>
                    <a:pt x="1050" y="1796"/>
                  </a:lnTo>
                  <a:lnTo>
                    <a:pt x="1171" y="1682"/>
                  </a:lnTo>
                  <a:lnTo>
                    <a:pt x="1295" y="1569"/>
                  </a:lnTo>
                  <a:lnTo>
                    <a:pt x="1420" y="1460"/>
                  </a:lnTo>
                  <a:lnTo>
                    <a:pt x="1545" y="1354"/>
                  </a:lnTo>
                  <a:lnTo>
                    <a:pt x="1672" y="1251"/>
                  </a:lnTo>
                  <a:lnTo>
                    <a:pt x="1800" y="1150"/>
                  </a:lnTo>
                  <a:lnTo>
                    <a:pt x="1929" y="1053"/>
                  </a:lnTo>
                  <a:lnTo>
                    <a:pt x="2058" y="959"/>
                  </a:lnTo>
                  <a:lnTo>
                    <a:pt x="2189" y="868"/>
                  </a:lnTo>
                  <a:lnTo>
                    <a:pt x="2320" y="781"/>
                  </a:lnTo>
                  <a:lnTo>
                    <a:pt x="2453" y="697"/>
                  </a:lnTo>
                  <a:lnTo>
                    <a:pt x="2586" y="617"/>
                  </a:lnTo>
                  <a:lnTo>
                    <a:pt x="2721" y="541"/>
                  </a:lnTo>
                  <a:lnTo>
                    <a:pt x="2856" y="468"/>
                  </a:lnTo>
                  <a:lnTo>
                    <a:pt x="2993" y="399"/>
                  </a:lnTo>
                  <a:lnTo>
                    <a:pt x="3128" y="334"/>
                  </a:lnTo>
                  <a:lnTo>
                    <a:pt x="3267" y="274"/>
                  </a:lnTo>
                  <a:lnTo>
                    <a:pt x="3406" y="217"/>
                  </a:lnTo>
                  <a:lnTo>
                    <a:pt x="3545" y="165"/>
                  </a:lnTo>
                  <a:lnTo>
                    <a:pt x="3686" y="117"/>
                  </a:lnTo>
                  <a:lnTo>
                    <a:pt x="3827" y="74"/>
                  </a:lnTo>
                  <a:lnTo>
                    <a:pt x="3968" y="34"/>
                  </a:lnTo>
                  <a:lnTo>
                    <a:pt x="4111" y="0"/>
                  </a:lnTo>
                  <a:lnTo>
                    <a:pt x="4013" y="64"/>
                  </a:lnTo>
                  <a:lnTo>
                    <a:pt x="3916" y="128"/>
                  </a:lnTo>
                  <a:lnTo>
                    <a:pt x="3822" y="193"/>
                  </a:lnTo>
                  <a:lnTo>
                    <a:pt x="3729" y="258"/>
                  </a:lnTo>
                  <a:lnTo>
                    <a:pt x="3637" y="323"/>
                  </a:lnTo>
                  <a:lnTo>
                    <a:pt x="3548" y="389"/>
                  </a:lnTo>
                  <a:lnTo>
                    <a:pt x="3460" y="456"/>
                  </a:lnTo>
                  <a:lnTo>
                    <a:pt x="3374" y="523"/>
                  </a:lnTo>
                  <a:lnTo>
                    <a:pt x="3288" y="590"/>
                  </a:lnTo>
                  <a:lnTo>
                    <a:pt x="3204" y="658"/>
                  </a:lnTo>
                  <a:lnTo>
                    <a:pt x="3121" y="727"/>
                  </a:lnTo>
                  <a:lnTo>
                    <a:pt x="3040" y="797"/>
                  </a:lnTo>
                  <a:lnTo>
                    <a:pt x="2960" y="867"/>
                  </a:lnTo>
                  <a:lnTo>
                    <a:pt x="2879" y="940"/>
                  </a:lnTo>
                  <a:lnTo>
                    <a:pt x="2801" y="1012"/>
                  </a:lnTo>
                  <a:lnTo>
                    <a:pt x="2723" y="1085"/>
                  </a:lnTo>
                  <a:lnTo>
                    <a:pt x="2646" y="1159"/>
                  </a:lnTo>
                  <a:lnTo>
                    <a:pt x="2569" y="1234"/>
                  </a:lnTo>
                  <a:lnTo>
                    <a:pt x="2494" y="1311"/>
                  </a:lnTo>
                  <a:lnTo>
                    <a:pt x="2419" y="1388"/>
                  </a:lnTo>
                  <a:lnTo>
                    <a:pt x="2344" y="1466"/>
                  </a:lnTo>
                  <a:lnTo>
                    <a:pt x="2268" y="1547"/>
                  </a:lnTo>
                  <a:lnTo>
                    <a:pt x="2194" y="1628"/>
                  </a:lnTo>
                  <a:lnTo>
                    <a:pt x="2120" y="1711"/>
                  </a:lnTo>
                  <a:lnTo>
                    <a:pt x="2047" y="1794"/>
                  </a:lnTo>
                  <a:lnTo>
                    <a:pt x="1973" y="1880"/>
                  </a:lnTo>
                  <a:lnTo>
                    <a:pt x="1899" y="1966"/>
                  </a:lnTo>
                  <a:lnTo>
                    <a:pt x="1825" y="2054"/>
                  </a:lnTo>
                  <a:lnTo>
                    <a:pt x="1750" y="2145"/>
                  </a:lnTo>
                  <a:lnTo>
                    <a:pt x="1676" y="2235"/>
                  </a:lnTo>
                  <a:lnTo>
                    <a:pt x="1601" y="2329"/>
                  </a:lnTo>
                  <a:lnTo>
                    <a:pt x="1526" y="2423"/>
                  </a:lnTo>
                  <a:lnTo>
                    <a:pt x="1430" y="2455"/>
                  </a:lnTo>
                  <a:lnTo>
                    <a:pt x="1335" y="2487"/>
                  </a:lnTo>
                  <a:lnTo>
                    <a:pt x="1239" y="2519"/>
                  </a:lnTo>
                  <a:lnTo>
                    <a:pt x="1145" y="2551"/>
                  </a:lnTo>
                  <a:lnTo>
                    <a:pt x="1049" y="2583"/>
                  </a:lnTo>
                  <a:lnTo>
                    <a:pt x="954" y="2615"/>
                  </a:lnTo>
                  <a:lnTo>
                    <a:pt x="858" y="2647"/>
                  </a:lnTo>
                  <a:lnTo>
                    <a:pt x="763" y="2679"/>
                  </a:lnTo>
                  <a:lnTo>
                    <a:pt x="668" y="2711"/>
                  </a:lnTo>
                  <a:lnTo>
                    <a:pt x="572" y="2742"/>
                  </a:lnTo>
                  <a:lnTo>
                    <a:pt x="477" y="2774"/>
                  </a:lnTo>
                  <a:lnTo>
                    <a:pt x="381" y="2806"/>
                  </a:lnTo>
                  <a:lnTo>
                    <a:pt x="286" y="2838"/>
                  </a:lnTo>
                  <a:lnTo>
                    <a:pt x="191" y="2870"/>
                  </a:lnTo>
                  <a:lnTo>
                    <a:pt x="95" y="2902"/>
                  </a:lnTo>
                  <a:lnTo>
                    <a:pt x="0" y="29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2" name="Freeform 67"/>
            <p:cNvSpPr>
              <a:spLocks noChangeArrowheads="1"/>
            </p:cNvSpPr>
            <p:nvPr userDrawn="1"/>
          </p:nvSpPr>
          <p:spPr bwMode="auto">
            <a:xfrm>
              <a:off x="1738312" y="1739699"/>
              <a:ext cx="1684337" cy="1011476"/>
            </a:xfrm>
            <a:custGeom>
              <a:avLst/>
              <a:gdLst>
                <a:gd name="T0" fmla="*/ 108 w 3731"/>
                <a:gd name="T1" fmla="*/ 1737 h 1829"/>
                <a:gd name="T2" fmla="*/ 326 w 3731"/>
                <a:gd name="T3" fmla="*/ 1560 h 1829"/>
                <a:gd name="T4" fmla="*/ 548 w 3731"/>
                <a:gd name="T5" fmla="*/ 1388 h 1829"/>
                <a:gd name="T6" fmla="*/ 774 w 3731"/>
                <a:gd name="T7" fmla="*/ 1223 h 1829"/>
                <a:gd name="T8" fmla="*/ 1001 w 3731"/>
                <a:gd name="T9" fmla="*/ 1065 h 1829"/>
                <a:gd name="T10" fmla="*/ 1232 w 3731"/>
                <a:gd name="T11" fmla="*/ 915 h 1829"/>
                <a:gd name="T12" fmla="*/ 1465 w 3731"/>
                <a:gd name="T13" fmla="*/ 774 h 1829"/>
                <a:gd name="T14" fmla="*/ 1699 w 3731"/>
                <a:gd name="T15" fmla="*/ 643 h 1829"/>
                <a:gd name="T16" fmla="*/ 1935 w 3731"/>
                <a:gd name="T17" fmla="*/ 521 h 1829"/>
                <a:gd name="T18" fmla="*/ 2173 w 3731"/>
                <a:gd name="T19" fmla="*/ 410 h 1829"/>
                <a:gd name="T20" fmla="*/ 2412 w 3731"/>
                <a:gd name="T21" fmla="*/ 311 h 1829"/>
                <a:gd name="T22" fmla="*/ 2651 w 3731"/>
                <a:gd name="T23" fmla="*/ 224 h 1829"/>
                <a:gd name="T24" fmla="*/ 2891 w 3731"/>
                <a:gd name="T25" fmla="*/ 150 h 1829"/>
                <a:gd name="T26" fmla="*/ 3131 w 3731"/>
                <a:gd name="T27" fmla="*/ 89 h 1829"/>
                <a:gd name="T28" fmla="*/ 3371 w 3731"/>
                <a:gd name="T29" fmla="*/ 43 h 1829"/>
                <a:gd name="T30" fmla="*/ 3611 w 3731"/>
                <a:gd name="T31" fmla="*/ 11 h 1829"/>
                <a:gd name="T32" fmla="*/ 3640 w 3731"/>
                <a:gd name="T33" fmla="*/ 41 h 1829"/>
                <a:gd name="T34" fmla="*/ 3463 w 3731"/>
                <a:gd name="T35" fmla="*/ 122 h 1829"/>
                <a:gd name="T36" fmla="*/ 3293 w 3731"/>
                <a:gd name="T37" fmla="*/ 205 h 1829"/>
                <a:gd name="T38" fmla="*/ 3128 w 3731"/>
                <a:gd name="T39" fmla="*/ 288 h 1829"/>
                <a:gd name="T40" fmla="*/ 2968 w 3731"/>
                <a:gd name="T41" fmla="*/ 375 h 1829"/>
                <a:gd name="T42" fmla="*/ 2813 w 3731"/>
                <a:gd name="T43" fmla="*/ 463 h 1829"/>
                <a:gd name="T44" fmla="*/ 2660 w 3731"/>
                <a:gd name="T45" fmla="*/ 554 h 1829"/>
                <a:gd name="T46" fmla="*/ 2511 w 3731"/>
                <a:gd name="T47" fmla="*/ 649 h 1829"/>
                <a:gd name="T48" fmla="*/ 2364 w 3731"/>
                <a:gd name="T49" fmla="*/ 747 h 1829"/>
                <a:gd name="T50" fmla="*/ 2219 w 3731"/>
                <a:gd name="T51" fmla="*/ 848 h 1829"/>
                <a:gd name="T52" fmla="*/ 2074 w 3731"/>
                <a:gd name="T53" fmla="*/ 953 h 1829"/>
                <a:gd name="T54" fmla="*/ 1930 w 3731"/>
                <a:gd name="T55" fmla="*/ 1062 h 1829"/>
                <a:gd name="T56" fmla="*/ 1786 w 3731"/>
                <a:gd name="T57" fmla="*/ 1177 h 1829"/>
                <a:gd name="T58" fmla="*/ 1642 w 3731"/>
                <a:gd name="T59" fmla="*/ 1295 h 1829"/>
                <a:gd name="T60" fmla="*/ 1495 w 3731"/>
                <a:gd name="T61" fmla="*/ 1420 h 1829"/>
                <a:gd name="T62" fmla="*/ 1346 w 3731"/>
                <a:gd name="T63" fmla="*/ 1550 h 1829"/>
                <a:gd name="T64" fmla="*/ 1192 w 3731"/>
                <a:gd name="T65" fmla="*/ 1632 h 1829"/>
                <a:gd name="T66" fmla="*/ 1033 w 3731"/>
                <a:gd name="T67" fmla="*/ 1660 h 1829"/>
                <a:gd name="T68" fmla="*/ 874 w 3731"/>
                <a:gd name="T69" fmla="*/ 1686 h 1829"/>
                <a:gd name="T70" fmla="*/ 716 w 3731"/>
                <a:gd name="T71" fmla="*/ 1711 h 1829"/>
                <a:gd name="T72" fmla="*/ 556 w 3731"/>
                <a:gd name="T73" fmla="*/ 1734 h 1829"/>
                <a:gd name="T74" fmla="*/ 398 w 3731"/>
                <a:gd name="T75" fmla="*/ 1759 h 1829"/>
                <a:gd name="T76" fmla="*/ 239 w 3731"/>
                <a:gd name="T77" fmla="*/ 1785 h 1829"/>
                <a:gd name="T78" fmla="*/ 79 w 3731"/>
                <a:gd name="T79" fmla="*/ 1814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31" h="1829">
                  <a:moveTo>
                    <a:pt x="0" y="1829"/>
                  </a:moveTo>
                  <a:lnTo>
                    <a:pt x="108" y="1737"/>
                  </a:lnTo>
                  <a:lnTo>
                    <a:pt x="216" y="1648"/>
                  </a:lnTo>
                  <a:lnTo>
                    <a:pt x="326" y="1560"/>
                  </a:lnTo>
                  <a:lnTo>
                    <a:pt x="437" y="1473"/>
                  </a:lnTo>
                  <a:lnTo>
                    <a:pt x="548" y="1388"/>
                  </a:lnTo>
                  <a:lnTo>
                    <a:pt x="660" y="1304"/>
                  </a:lnTo>
                  <a:lnTo>
                    <a:pt x="774" y="1223"/>
                  </a:lnTo>
                  <a:lnTo>
                    <a:pt x="887" y="1143"/>
                  </a:lnTo>
                  <a:lnTo>
                    <a:pt x="1001" y="1065"/>
                  </a:lnTo>
                  <a:lnTo>
                    <a:pt x="1117" y="989"/>
                  </a:lnTo>
                  <a:lnTo>
                    <a:pt x="1232" y="915"/>
                  </a:lnTo>
                  <a:lnTo>
                    <a:pt x="1348" y="844"/>
                  </a:lnTo>
                  <a:lnTo>
                    <a:pt x="1465" y="774"/>
                  </a:lnTo>
                  <a:lnTo>
                    <a:pt x="1582" y="707"/>
                  </a:lnTo>
                  <a:lnTo>
                    <a:pt x="1699" y="643"/>
                  </a:lnTo>
                  <a:lnTo>
                    <a:pt x="1817" y="580"/>
                  </a:lnTo>
                  <a:lnTo>
                    <a:pt x="1935" y="521"/>
                  </a:lnTo>
                  <a:lnTo>
                    <a:pt x="2055" y="464"/>
                  </a:lnTo>
                  <a:lnTo>
                    <a:pt x="2173" y="410"/>
                  </a:lnTo>
                  <a:lnTo>
                    <a:pt x="2293" y="359"/>
                  </a:lnTo>
                  <a:lnTo>
                    <a:pt x="2412" y="311"/>
                  </a:lnTo>
                  <a:lnTo>
                    <a:pt x="2532" y="265"/>
                  </a:lnTo>
                  <a:lnTo>
                    <a:pt x="2651" y="224"/>
                  </a:lnTo>
                  <a:lnTo>
                    <a:pt x="2772" y="185"/>
                  </a:lnTo>
                  <a:lnTo>
                    <a:pt x="2891" y="150"/>
                  </a:lnTo>
                  <a:lnTo>
                    <a:pt x="3012" y="118"/>
                  </a:lnTo>
                  <a:lnTo>
                    <a:pt x="3131" y="89"/>
                  </a:lnTo>
                  <a:lnTo>
                    <a:pt x="3252" y="64"/>
                  </a:lnTo>
                  <a:lnTo>
                    <a:pt x="3371" y="43"/>
                  </a:lnTo>
                  <a:lnTo>
                    <a:pt x="3491" y="25"/>
                  </a:lnTo>
                  <a:lnTo>
                    <a:pt x="3611" y="11"/>
                  </a:lnTo>
                  <a:lnTo>
                    <a:pt x="3731" y="0"/>
                  </a:lnTo>
                  <a:lnTo>
                    <a:pt x="3640" y="41"/>
                  </a:lnTo>
                  <a:lnTo>
                    <a:pt x="3550" y="81"/>
                  </a:lnTo>
                  <a:lnTo>
                    <a:pt x="3463" y="122"/>
                  </a:lnTo>
                  <a:lnTo>
                    <a:pt x="3377" y="162"/>
                  </a:lnTo>
                  <a:lnTo>
                    <a:pt x="3293" y="205"/>
                  </a:lnTo>
                  <a:lnTo>
                    <a:pt x="3210" y="246"/>
                  </a:lnTo>
                  <a:lnTo>
                    <a:pt x="3128" y="288"/>
                  </a:lnTo>
                  <a:lnTo>
                    <a:pt x="3048" y="331"/>
                  </a:lnTo>
                  <a:lnTo>
                    <a:pt x="2968" y="375"/>
                  </a:lnTo>
                  <a:lnTo>
                    <a:pt x="2890" y="419"/>
                  </a:lnTo>
                  <a:lnTo>
                    <a:pt x="2813" y="463"/>
                  </a:lnTo>
                  <a:lnTo>
                    <a:pt x="2736" y="509"/>
                  </a:lnTo>
                  <a:lnTo>
                    <a:pt x="2660" y="554"/>
                  </a:lnTo>
                  <a:lnTo>
                    <a:pt x="2585" y="601"/>
                  </a:lnTo>
                  <a:lnTo>
                    <a:pt x="2511" y="649"/>
                  </a:lnTo>
                  <a:lnTo>
                    <a:pt x="2437" y="697"/>
                  </a:lnTo>
                  <a:lnTo>
                    <a:pt x="2364" y="747"/>
                  </a:lnTo>
                  <a:lnTo>
                    <a:pt x="2291" y="796"/>
                  </a:lnTo>
                  <a:lnTo>
                    <a:pt x="2219" y="848"/>
                  </a:lnTo>
                  <a:lnTo>
                    <a:pt x="2147" y="899"/>
                  </a:lnTo>
                  <a:lnTo>
                    <a:pt x="2074" y="953"/>
                  </a:lnTo>
                  <a:lnTo>
                    <a:pt x="2002" y="1008"/>
                  </a:lnTo>
                  <a:lnTo>
                    <a:pt x="1930" y="1062"/>
                  </a:lnTo>
                  <a:lnTo>
                    <a:pt x="1858" y="1119"/>
                  </a:lnTo>
                  <a:lnTo>
                    <a:pt x="1786" y="1177"/>
                  </a:lnTo>
                  <a:lnTo>
                    <a:pt x="1714" y="1235"/>
                  </a:lnTo>
                  <a:lnTo>
                    <a:pt x="1642" y="1295"/>
                  </a:lnTo>
                  <a:lnTo>
                    <a:pt x="1569" y="1357"/>
                  </a:lnTo>
                  <a:lnTo>
                    <a:pt x="1495" y="1420"/>
                  </a:lnTo>
                  <a:lnTo>
                    <a:pt x="1421" y="1484"/>
                  </a:lnTo>
                  <a:lnTo>
                    <a:pt x="1346" y="1550"/>
                  </a:lnTo>
                  <a:lnTo>
                    <a:pt x="1272" y="1616"/>
                  </a:lnTo>
                  <a:lnTo>
                    <a:pt x="1192" y="1632"/>
                  </a:lnTo>
                  <a:lnTo>
                    <a:pt x="1112" y="1647"/>
                  </a:lnTo>
                  <a:lnTo>
                    <a:pt x="1033" y="1660"/>
                  </a:lnTo>
                  <a:lnTo>
                    <a:pt x="954" y="1673"/>
                  </a:lnTo>
                  <a:lnTo>
                    <a:pt x="874" y="1686"/>
                  </a:lnTo>
                  <a:lnTo>
                    <a:pt x="795" y="1698"/>
                  </a:lnTo>
                  <a:lnTo>
                    <a:pt x="716" y="1711"/>
                  </a:lnTo>
                  <a:lnTo>
                    <a:pt x="635" y="1723"/>
                  </a:lnTo>
                  <a:lnTo>
                    <a:pt x="556" y="1734"/>
                  </a:lnTo>
                  <a:lnTo>
                    <a:pt x="477" y="1747"/>
                  </a:lnTo>
                  <a:lnTo>
                    <a:pt x="398" y="1759"/>
                  </a:lnTo>
                  <a:lnTo>
                    <a:pt x="318" y="1771"/>
                  </a:lnTo>
                  <a:lnTo>
                    <a:pt x="239" y="1785"/>
                  </a:lnTo>
                  <a:lnTo>
                    <a:pt x="160" y="1799"/>
                  </a:lnTo>
                  <a:lnTo>
                    <a:pt x="79" y="1814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3" name="Freeform 68"/>
            <p:cNvSpPr>
              <a:spLocks noChangeArrowheads="1"/>
            </p:cNvSpPr>
            <p:nvPr userDrawn="1"/>
          </p:nvSpPr>
          <p:spPr bwMode="auto">
            <a:xfrm>
              <a:off x="787399" y="2838897"/>
              <a:ext cx="417513" cy="1962086"/>
            </a:xfrm>
            <a:custGeom>
              <a:avLst/>
              <a:gdLst>
                <a:gd name="T0" fmla="*/ 95 w 937"/>
                <a:gd name="T1" fmla="*/ 3301 h 3530"/>
                <a:gd name="T2" fmla="*/ 47 w 937"/>
                <a:gd name="T3" fmla="*/ 3019 h 3530"/>
                <a:gd name="T4" fmla="*/ 15 w 937"/>
                <a:gd name="T5" fmla="*/ 2724 h 3530"/>
                <a:gd name="T6" fmla="*/ 0 w 937"/>
                <a:gd name="T7" fmla="*/ 2382 h 3530"/>
                <a:gd name="T8" fmla="*/ 9 w 937"/>
                <a:gd name="T9" fmla="*/ 1980 h 3530"/>
                <a:gd name="T10" fmla="*/ 44 w 937"/>
                <a:gd name="T11" fmla="*/ 1573 h 3530"/>
                <a:gd name="T12" fmla="*/ 105 w 937"/>
                <a:gd name="T13" fmla="*/ 1170 h 3530"/>
                <a:gd name="T14" fmla="*/ 191 w 937"/>
                <a:gd name="T15" fmla="*/ 776 h 3530"/>
                <a:gd name="T16" fmla="*/ 301 w 937"/>
                <a:gd name="T17" fmla="*/ 402 h 3530"/>
                <a:gd name="T18" fmla="*/ 435 w 937"/>
                <a:gd name="T19" fmla="*/ 52 h 3530"/>
                <a:gd name="T20" fmla="*/ 460 w 937"/>
                <a:gd name="T21" fmla="*/ 19 h 3530"/>
                <a:gd name="T22" fmla="*/ 497 w 937"/>
                <a:gd name="T23" fmla="*/ 1 h 3530"/>
                <a:gd name="T24" fmla="*/ 539 w 937"/>
                <a:gd name="T25" fmla="*/ 4 h 3530"/>
                <a:gd name="T26" fmla="*/ 570 w 937"/>
                <a:gd name="T27" fmla="*/ 22 h 3530"/>
                <a:gd name="T28" fmla="*/ 598 w 937"/>
                <a:gd name="T29" fmla="*/ 81 h 3530"/>
                <a:gd name="T30" fmla="*/ 594 w 937"/>
                <a:gd name="T31" fmla="*/ 202 h 3530"/>
                <a:gd name="T32" fmla="*/ 602 w 937"/>
                <a:gd name="T33" fmla="*/ 486 h 3530"/>
                <a:gd name="T34" fmla="*/ 626 w 937"/>
                <a:gd name="T35" fmla="*/ 810 h 3530"/>
                <a:gd name="T36" fmla="*/ 714 w 937"/>
                <a:gd name="T37" fmla="*/ 1529 h 3530"/>
                <a:gd name="T38" fmla="*/ 822 w 937"/>
                <a:gd name="T39" fmla="*/ 2254 h 3530"/>
                <a:gd name="T40" fmla="*/ 864 w 937"/>
                <a:gd name="T41" fmla="*/ 2531 h 3530"/>
                <a:gd name="T42" fmla="*/ 901 w 937"/>
                <a:gd name="T43" fmla="*/ 2786 h 3530"/>
                <a:gd name="T44" fmla="*/ 932 w 937"/>
                <a:gd name="T45" fmla="*/ 3010 h 3530"/>
                <a:gd name="T46" fmla="*/ 935 w 937"/>
                <a:gd name="T47" fmla="*/ 3080 h 3530"/>
                <a:gd name="T48" fmla="*/ 902 w 937"/>
                <a:gd name="T49" fmla="*/ 3233 h 3530"/>
                <a:gd name="T50" fmla="*/ 855 w 937"/>
                <a:gd name="T51" fmla="*/ 3341 h 3530"/>
                <a:gd name="T52" fmla="*/ 794 w 937"/>
                <a:gd name="T53" fmla="*/ 3413 h 3530"/>
                <a:gd name="T54" fmla="*/ 725 w 937"/>
                <a:gd name="T55" fmla="*/ 3454 h 3530"/>
                <a:gd name="T56" fmla="*/ 649 w 937"/>
                <a:gd name="T57" fmla="*/ 3471 h 3530"/>
                <a:gd name="T58" fmla="*/ 536 w 937"/>
                <a:gd name="T59" fmla="*/ 3467 h 3530"/>
                <a:gd name="T60" fmla="*/ 416 w 937"/>
                <a:gd name="T61" fmla="*/ 3444 h 3530"/>
                <a:gd name="T62" fmla="*/ 331 w 937"/>
                <a:gd name="T63" fmla="*/ 3438 h 3530"/>
                <a:gd name="T64" fmla="*/ 301 w 937"/>
                <a:gd name="T65" fmla="*/ 3460 h 3530"/>
                <a:gd name="T66" fmla="*/ 282 w 937"/>
                <a:gd name="T67" fmla="*/ 3498 h 3530"/>
                <a:gd name="T68" fmla="*/ 250 w 937"/>
                <a:gd name="T69" fmla="*/ 3523 h 3530"/>
                <a:gd name="T70" fmla="*/ 209 w 937"/>
                <a:gd name="T71" fmla="*/ 3530 h 3530"/>
                <a:gd name="T72" fmla="*/ 163 w 937"/>
                <a:gd name="T73" fmla="*/ 3511 h 3530"/>
                <a:gd name="T74" fmla="*/ 133 w 937"/>
                <a:gd name="T75" fmla="*/ 3466 h 3530"/>
                <a:gd name="T76" fmla="*/ 231 w 937"/>
                <a:gd name="T77" fmla="*/ 3099 h 3530"/>
                <a:gd name="T78" fmla="*/ 262 w 937"/>
                <a:gd name="T79" fmla="*/ 3267 h 3530"/>
                <a:gd name="T80" fmla="*/ 336 w 937"/>
                <a:gd name="T81" fmla="*/ 3260 h 3530"/>
                <a:gd name="T82" fmla="*/ 477 w 937"/>
                <a:gd name="T83" fmla="*/ 3282 h 3530"/>
                <a:gd name="T84" fmla="*/ 574 w 937"/>
                <a:gd name="T85" fmla="*/ 3299 h 3530"/>
                <a:gd name="T86" fmla="*/ 639 w 937"/>
                <a:gd name="T87" fmla="*/ 3293 h 3530"/>
                <a:gd name="T88" fmla="*/ 676 w 937"/>
                <a:gd name="T89" fmla="*/ 3274 h 3530"/>
                <a:gd name="T90" fmla="*/ 709 w 937"/>
                <a:gd name="T91" fmla="*/ 3238 h 3530"/>
                <a:gd name="T92" fmla="*/ 738 w 937"/>
                <a:gd name="T93" fmla="*/ 3181 h 3530"/>
                <a:gd name="T94" fmla="*/ 759 w 937"/>
                <a:gd name="T95" fmla="*/ 3101 h 3530"/>
                <a:gd name="T96" fmla="*/ 750 w 937"/>
                <a:gd name="T97" fmla="*/ 2939 h 3530"/>
                <a:gd name="T98" fmla="*/ 718 w 937"/>
                <a:gd name="T99" fmla="*/ 2707 h 3530"/>
                <a:gd name="T100" fmla="*/ 679 w 937"/>
                <a:gd name="T101" fmla="*/ 2446 h 3530"/>
                <a:gd name="T102" fmla="*/ 620 w 937"/>
                <a:gd name="T103" fmla="*/ 2064 h 3530"/>
                <a:gd name="T104" fmla="*/ 539 w 937"/>
                <a:gd name="T105" fmla="*/ 1506 h 3530"/>
                <a:gd name="T106" fmla="*/ 470 w 937"/>
                <a:gd name="T107" fmla="*/ 954 h 3530"/>
                <a:gd name="T108" fmla="*/ 416 w 937"/>
                <a:gd name="T109" fmla="*/ 602 h 3530"/>
                <a:gd name="T110" fmla="*/ 336 w 937"/>
                <a:gd name="T111" fmla="*/ 900 h 3530"/>
                <a:gd name="T112" fmla="*/ 271 w 937"/>
                <a:gd name="T113" fmla="*/ 1209 h 3530"/>
                <a:gd name="T114" fmla="*/ 223 w 937"/>
                <a:gd name="T115" fmla="*/ 1524 h 3530"/>
                <a:gd name="T116" fmla="*/ 189 w 937"/>
                <a:gd name="T117" fmla="*/ 1842 h 3530"/>
                <a:gd name="T118" fmla="*/ 172 w 937"/>
                <a:gd name="T119" fmla="*/ 2160 h 3530"/>
                <a:gd name="T120" fmla="*/ 173 w 937"/>
                <a:gd name="T121" fmla="*/ 2472 h 3530"/>
                <a:gd name="T122" fmla="*/ 190 w 937"/>
                <a:gd name="T123" fmla="*/ 2768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7" h="3530">
                  <a:moveTo>
                    <a:pt x="133" y="3466"/>
                  </a:moveTo>
                  <a:lnTo>
                    <a:pt x="132" y="3462"/>
                  </a:lnTo>
                  <a:lnTo>
                    <a:pt x="119" y="3409"/>
                  </a:lnTo>
                  <a:lnTo>
                    <a:pt x="106" y="3356"/>
                  </a:lnTo>
                  <a:lnTo>
                    <a:pt x="95" y="3301"/>
                  </a:lnTo>
                  <a:lnTo>
                    <a:pt x="84" y="3245"/>
                  </a:lnTo>
                  <a:lnTo>
                    <a:pt x="73" y="3190"/>
                  </a:lnTo>
                  <a:lnTo>
                    <a:pt x="63" y="3133"/>
                  </a:lnTo>
                  <a:lnTo>
                    <a:pt x="55" y="3076"/>
                  </a:lnTo>
                  <a:lnTo>
                    <a:pt x="47" y="3019"/>
                  </a:lnTo>
                  <a:lnTo>
                    <a:pt x="38" y="2961"/>
                  </a:lnTo>
                  <a:lnTo>
                    <a:pt x="31" y="2902"/>
                  </a:lnTo>
                  <a:lnTo>
                    <a:pt x="26" y="2843"/>
                  </a:lnTo>
                  <a:lnTo>
                    <a:pt x="20" y="2783"/>
                  </a:lnTo>
                  <a:lnTo>
                    <a:pt x="15" y="2724"/>
                  </a:lnTo>
                  <a:lnTo>
                    <a:pt x="10" y="2663"/>
                  </a:lnTo>
                  <a:lnTo>
                    <a:pt x="7" y="2602"/>
                  </a:lnTo>
                  <a:lnTo>
                    <a:pt x="4" y="2541"/>
                  </a:lnTo>
                  <a:lnTo>
                    <a:pt x="2" y="2462"/>
                  </a:lnTo>
                  <a:lnTo>
                    <a:pt x="0" y="2382"/>
                  </a:lnTo>
                  <a:lnTo>
                    <a:pt x="0" y="2303"/>
                  </a:lnTo>
                  <a:lnTo>
                    <a:pt x="1" y="2223"/>
                  </a:lnTo>
                  <a:lnTo>
                    <a:pt x="2" y="2142"/>
                  </a:lnTo>
                  <a:lnTo>
                    <a:pt x="5" y="2061"/>
                  </a:lnTo>
                  <a:lnTo>
                    <a:pt x="9" y="1980"/>
                  </a:lnTo>
                  <a:lnTo>
                    <a:pt x="14" y="1899"/>
                  </a:lnTo>
                  <a:lnTo>
                    <a:pt x="20" y="1818"/>
                  </a:lnTo>
                  <a:lnTo>
                    <a:pt x="27" y="1736"/>
                  </a:lnTo>
                  <a:lnTo>
                    <a:pt x="35" y="1655"/>
                  </a:lnTo>
                  <a:lnTo>
                    <a:pt x="44" y="1573"/>
                  </a:lnTo>
                  <a:lnTo>
                    <a:pt x="54" y="1492"/>
                  </a:lnTo>
                  <a:lnTo>
                    <a:pt x="65" y="1411"/>
                  </a:lnTo>
                  <a:lnTo>
                    <a:pt x="77" y="1330"/>
                  </a:lnTo>
                  <a:lnTo>
                    <a:pt x="91" y="1250"/>
                  </a:lnTo>
                  <a:lnTo>
                    <a:pt x="105" y="1170"/>
                  </a:lnTo>
                  <a:lnTo>
                    <a:pt x="120" y="1090"/>
                  </a:lnTo>
                  <a:lnTo>
                    <a:pt x="136" y="1011"/>
                  </a:lnTo>
                  <a:lnTo>
                    <a:pt x="154" y="932"/>
                  </a:lnTo>
                  <a:lnTo>
                    <a:pt x="171" y="855"/>
                  </a:lnTo>
                  <a:lnTo>
                    <a:pt x="191" y="776"/>
                  </a:lnTo>
                  <a:lnTo>
                    <a:pt x="210" y="700"/>
                  </a:lnTo>
                  <a:lnTo>
                    <a:pt x="232" y="624"/>
                  </a:lnTo>
                  <a:lnTo>
                    <a:pt x="254" y="549"/>
                  </a:lnTo>
                  <a:lnTo>
                    <a:pt x="277" y="475"/>
                  </a:lnTo>
                  <a:lnTo>
                    <a:pt x="301" y="402"/>
                  </a:lnTo>
                  <a:lnTo>
                    <a:pt x="326" y="329"/>
                  </a:lnTo>
                  <a:lnTo>
                    <a:pt x="351" y="258"/>
                  </a:lnTo>
                  <a:lnTo>
                    <a:pt x="378" y="188"/>
                  </a:lnTo>
                  <a:lnTo>
                    <a:pt x="406" y="119"/>
                  </a:lnTo>
                  <a:lnTo>
                    <a:pt x="435" y="52"/>
                  </a:lnTo>
                  <a:lnTo>
                    <a:pt x="438" y="43"/>
                  </a:lnTo>
                  <a:lnTo>
                    <a:pt x="443" y="36"/>
                  </a:lnTo>
                  <a:lnTo>
                    <a:pt x="448" y="30"/>
                  </a:lnTo>
                  <a:lnTo>
                    <a:pt x="453" y="24"/>
                  </a:lnTo>
                  <a:lnTo>
                    <a:pt x="460" y="19"/>
                  </a:lnTo>
                  <a:lnTo>
                    <a:pt x="467" y="14"/>
                  </a:lnTo>
                  <a:lnTo>
                    <a:pt x="474" y="9"/>
                  </a:lnTo>
                  <a:lnTo>
                    <a:pt x="481" y="6"/>
                  </a:lnTo>
                  <a:lnTo>
                    <a:pt x="489" y="3"/>
                  </a:lnTo>
                  <a:lnTo>
                    <a:pt x="497" y="1"/>
                  </a:lnTo>
                  <a:lnTo>
                    <a:pt x="505" y="0"/>
                  </a:lnTo>
                  <a:lnTo>
                    <a:pt x="513" y="0"/>
                  </a:lnTo>
                  <a:lnTo>
                    <a:pt x="521" y="1"/>
                  </a:lnTo>
                  <a:lnTo>
                    <a:pt x="531" y="2"/>
                  </a:lnTo>
                  <a:lnTo>
                    <a:pt x="539" y="4"/>
                  </a:lnTo>
                  <a:lnTo>
                    <a:pt x="547" y="7"/>
                  </a:lnTo>
                  <a:lnTo>
                    <a:pt x="553" y="11"/>
                  </a:lnTo>
                  <a:lnTo>
                    <a:pt x="558" y="14"/>
                  </a:lnTo>
                  <a:lnTo>
                    <a:pt x="565" y="18"/>
                  </a:lnTo>
                  <a:lnTo>
                    <a:pt x="570" y="22"/>
                  </a:lnTo>
                  <a:lnTo>
                    <a:pt x="579" y="32"/>
                  </a:lnTo>
                  <a:lnTo>
                    <a:pt x="586" y="42"/>
                  </a:lnTo>
                  <a:lnTo>
                    <a:pt x="592" y="55"/>
                  </a:lnTo>
                  <a:lnTo>
                    <a:pt x="597" y="67"/>
                  </a:lnTo>
                  <a:lnTo>
                    <a:pt x="598" y="81"/>
                  </a:lnTo>
                  <a:lnTo>
                    <a:pt x="598" y="94"/>
                  </a:lnTo>
                  <a:lnTo>
                    <a:pt x="598" y="98"/>
                  </a:lnTo>
                  <a:lnTo>
                    <a:pt x="598" y="102"/>
                  </a:lnTo>
                  <a:lnTo>
                    <a:pt x="595" y="151"/>
                  </a:lnTo>
                  <a:lnTo>
                    <a:pt x="594" y="202"/>
                  </a:lnTo>
                  <a:lnTo>
                    <a:pt x="593" y="255"/>
                  </a:lnTo>
                  <a:lnTo>
                    <a:pt x="594" y="309"/>
                  </a:lnTo>
                  <a:lnTo>
                    <a:pt x="595" y="367"/>
                  </a:lnTo>
                  <a:lnTo>
                    <a:pt x="599" y="426"/>
                  </a:lnTo>
                  <a:lnTo>
                    <a:pt x="602" y="486"/>
                  </a:lnTo>
                  <a:lnTo>
                    <a:pt x="605" y="548"/>
                  </a:lnTo>
                  <a:lnTo>
                    <a:pt x="610" y="611"/>
                  </a:lnTo>
                  <a:lnTo>
                    <a:pt x="615" y="676"/>
                  </a:lnTo>
                  <a:lnTo>
                    <a:pt x="620" y="743"/>
                  </a:lnTo>
                  <a:lnTo>
                    <a:pt x="626" y="810"/>
                  </a:lnTo>
                  <a:lnTo>
                    <a:pt x="641" y="949"/>
                  </a:lnTo>
                  <a:lnTo>
                    <a:pt x="657" y="1091"/>
                  </a:lnTo>
                  <a:lnTo>
                    <a:pt x="675" y="1235"/>
                  </a:lnTo>
                  <a:lnTo>
                    <a:pt x="694" y="1382"/>
                  </a:lnTo>
                  <a:lnTo>
                    <a:pt x="714" y="1529"/>
                  </a:lnTo>
                  <a:lnTo>
                    <a:pt x="736" y="1677"/>
                  </a:lnTo>
                  <a:lnTo>
                    <a:pt x="757" y="1824"/>
                  </a:lnTo>
                  <a:lnTo>
                    <a:pt x="779" y="1970"/>
                  </a:lnTo>
                  <a:lnTo>
                    <a:pt x="800" y="2113"/>
                  </a:lnTo>
                  <a:lnTo>
                    <a:pt x="822" y="2254"/>
                  </a:lnTo>
                  <a:lnTo>
                    <a:pt x="831" y="2311"/>
                  </a:lnTo>
                  <a:lnTo>
                    <a:pt x="840" y="2367"/>
                  </a:lnTo>
                  <a:lnTo>
                    <a:pt x="848" y="2423"/>
                  </a:lnTo>
                  <a:lnTo>
                    <a:pt x="856" y="2477"/>
                  </a:lnTo>
                  <a:lnTo>
                    <a:pt x="864" y="2531"/>
                  </a:lnTo>
                  <a:lnTo>
                    <a:pt x="873" y="2585"/>
                  </a:lnTo>
                  <a:lnTo>
                    <a:pt x="880" y="2636"/>
                  </a:lnTo>
                  <a:lnTo>
                    <a:pt x="888" y="2688"/>
                  </a:lnTo>
                  <a:lnTo>
                    <a:pt x="895" y="2737"/>
                  </a:lnTo>
                  <a:lnTo>
                    <a:pt x="901" y="2786"/>
                  </a:lnTo>
                  <a:lnTo>
                    <a:pt x="909" y="2833"/>
                  </a:lnTo>
                  <a:lnTo>
                    <a:pt x="915" y="2879"/>
                  </a:lnTo>
                  <a:lnTo>
                    <a:pt x="921" y="2925"/>
                  </a:lnTo>
                  <a:lnTo>
                    <a:pt x="926" y="2968"/>
                  </a:lnTo>
                  <a:lnTo>
                    <a:pt x="932" y="3010"/>
                  </a:lnTo>
                  <a:lnTo>
                    <a:pt x="936" y="3051"/>
                  </a:lnTo>
                  <a:lnTo>
                    <a:pt x="937" y="3059"/>
                  </a:lnTo>
                  <a:lnTo>
                    <a:pt x="937" y="3066"/>
                  </a:lnTo>
                  <a:lnTo>
                    <a:pt x="936" y="3073"/>
                  </a:lnTo>
                  <a:lnTo>
                    <a:pt x="935" y="3080"/>
                  </a:lnTo>
                  <a:lnTo>
                    <a:pt x="930" y="3114"/>
                  </a:lnTo>
                  <a:lnTo>
                    <a:pt x="924" y="3146"/>
                  </a:lnTo>
                  <a:lnTo>
                    <a:pt x="918" y="3177"/>
                  </a:lnTo>
                  <a:lnTo>
                    <a:pt x="911" y="3205"/>
                  </a:lnTo>
                  <a:lnTo>
                    <a:pt x="902" y="3233"/>
                  </a:lnTo>
                  <a:lnTo>
                    <a:pt x="894" y="3258"/>
                  </a:lnTo>
                  <a:lnTo>
                    <a:pt x="885" y="3280"/>
                  </a:lnTo>
                  <a:lnTo>
                    <a:pt x="876" y="3302"/>
                  </a:lnTo>
                  <a:lnTo>
                    <a:pt x="865" y="3323"/>
                  </a:lnTo>
                  <a:lnTo>
                    <a:pt x="855" y="3341"/>
                  </a:lnTo>
                  <a:lnTo>
                    <a:pt x="844" y="3359"/>
                  </a:lnTo>
                  <a:lnTo>
                    <a:pt x="832" y="3374"/>
                  </a:lnTo>
                  <a:lnTo>
                    <a:pt x="820" y="3389"/>
                  </a:lnTo>
                  <a:lnTo>
                    <a:pt x="808" y="3401"/>
                  </a:lnTo>
                  <a:lnTo>
                    <a:pt x="794" y="3413"/>
                  </a:lnTo>
                  <a:lnTo>
                    <a:pt x="782" y="3424"/>
                  </a:lnTo>
                  <a:lnTo>
                    <a:pt x="768" y="3433"/>
                  </a:lnTo>
                  <a:lnTo>
                    <a:pt x="754" y="3441"/>
                  </a:lnTo>
                  <a:lnTo>
                    <a:pt x="740" y="3448"/>
                  </a:lnTo>
                  <a:lnTo>
                    <a:pt x="725" y="3454"/>
                  </a:lnTo>
                  <a:lnTo>
                    <a:pt x="710" y="3460"/>
                  </a:lnTo>
                  <a:lnTo>
                    <a:pt x="695" y="3464"/>
                  </a:lnTo>
                  <a:lnTo>
                    <a:pt x="680" y="3467"/>
                  </a:lnTo>
                  <a:lnTo>
                    <a:pt x="665" y="3469"/>
                  </a:lnTo>
                  <a:lnTo>
                    <a:pt x="649" y="3471"/>
                  </a:lnTo>
                  <a:lnTo>
                    <a:pt x="633" y="3472"/>
                  </a:lnTo>
                  <a:lnTo>
                    <a:pt x="617" y="3473"/>
                  </a:lnTo>
                  <a:lnTo>
                    <a:pt x="601" y="3472"/>
                  </a:lnTo>
                  <a:lnTo>
                    <a:pt x="568" y="3471"/>
                  </a:lnTo>
                  <a:lnTo>
                    <a:pt x="536" y="3467"/>
                  </a:lnTo>
                  <a:lnTo>
                    <a:pt x="511" y="3463"/>
                  </a:lnTo>
                  <a:lnTo>
                    <a:pt x="487" y="3459"/>
                  </a:lnTo>
                  <a:lnTo>
                    <a:pt x="465" y="3455"/>
                  </a:lnTo>
                  <a:lnTo>
                    <a:pt x="442" y="3449"/>
                  </a:lnTo>
                  <a:lnTo>
                    <a:pt x="416" y="3444"/>
                  </a:lnTo>
                  <a:lnTo>
                    <a:pt x="393" y="3440"/>
                  </a:lnTo>
                  <a:lnTo>
                    <a:pt x="370" y="3437"/>
                  </a:lnTo>
                  <a:lnTo>
                    <a:pt x="349" y="3436"/>
                  </a:lnTo>
                  <a:lnTo>
                    <a:pt x="339" y="3437"/>
                  </a:lnTo>
                  <a:lnTo>
                    <a:pt x="331" y="3438"/>
                  </a:lnTo>
                  <a:lnTo>
                    <a:pt x="323" y="3441"/>
                  </a:lnTo>
                  <a:lnTo>
                    <a:pt x="316" y="3444"/>
                  </a:lnTo>
                  <a:lnTo>
                    <a:pt x="310" y="3448"/>
                  </a:lnTo>
                  <a:lnTo>
                    <a:pt x="305" y="3454"/>
                  </a:lnTo>
                  <a:lnTo>
                    <a:pt x="301" y="3460"/>
                  </a:lnTo>
                  <a:lnTo>
                    <a:pt x="298" y="3468"/>
                  </a:lnTo>
                  <a:lnTo>
                    <a:pt x="295" y="3476"/>
                  </a:lnTo>
                  <a:lnTo>
                    <a:pt x="292" y="3483"/>
                  </a:lnTo>
                  <a:lnTo>
                    <a:pt x="288" y="3491"/>
                  </a:lnTo>
                  <a:lnTo>
                    <a:pt x="282" y="3498"/>
                  </a:lnTo>
                  <a:lnTo>
                    <a:pt x="277" y="3504"/>
                  </a:lnTo>
                  <a:lnTo>
                    <a:pt x="271" y="3509"/>
                  </a:lnTo>
                  <a:lnTo>
                    <a:pt x="264" y="3514"/>
                  </a:lnTo>
                  <a:lnTo>
                    <a:pt x="258" y="3518"/>
                  </a:lnTo>
                  <a:lnTo>
                    <a:pt x="250" y="3523"/>
                  </a:lnTo>
                  <a:lnTo>
                    <a:pt x="242" y="3526"/>
                  </a:lnTo>
                  <a:lnTo>
                    <a:pt x="234" y="3528"/>
                  </a:lnTo>
                  <a:lnTo>
                    <a:pt x="226" y="3529"/>
                  </a:lnTo>
                  <a:lnTo>
                    <a:pt x="217" y="3530"/>
                  </a:lnTo>
                  <a:lnTo>
                    <a:pt x="209" y="3530"/>
                  </a:lnTo>
                  <a:lnTo>
                    <a:pt x="201" y="3529"/>
                  </a:lnTo>
                  <a:lnTo>
                    <a:pt x="193" y="3527"/>
                  </a:lnTo>
                  <a:lnTo>
                    <a:pt x="181" y="3523"/>
                  </a:lnTo>
                  <a:lnTo>
                    <a:pt x="171" y="3517"/>
                  </a:lnTo>
                  <a:lnTo>
                    <a:pt x="163" y="3511"/>
                  </a:lnTo>
                  <a:lnTo>
                    <a:pt x="155" y="3503"/>
                  </a:lnTo>
                  <a:lnTo>
                    <a:pt x="147" y="3495"/>
                  </a:lnTo>
                  <a:lnTo>
                    <a:pt x="141" y="3485"/>
                  </a:lnTo>
                  <a:lnTo>
                    <a:pt x="137" y="3476"/>
                  </a:lnTo>
                  <a:lnTo>
                    <a:pt x="133" y="3466"/>
                  </a:lnTo>
                  <a:close/>
                  <a:moveTo>
                    <a:pt x="215" y="2996"/>
                  </a:moveTo>
                  <a:lnTo>
                    <a:pt x="221" y="3031"/>
                  </a:lnTo>
                  <a:lnTo>
                    <a:pt x="226" y="3065"/>
                  </a:lnTo>
                  <a:lnTo>
                    <a:pt x="231" y="3099"/>
                  </a:lnTo>
                  <a:lnTo>
                    <a:pt x="237" y="3133"/>
                  </a:lnTo>
                  <a:lnTo>
                    <a:pt x="242" y="3167"/>
                  </a:lnTo>
                  <a:lnTo>
                    <a:pt x="248" y="3201"/>
                  </a:lnTo>
                  <a:lnTo>
                    <a:pt x="256" y="3234"/>
                  </a:lnTo>
                  <a:lnTo>
                    <a:pt x="262" y="3267"/>
                  </a:lnTo>
                  <a:lnTo>
                    <a:pt x="274" y="3264"/>
                  </a:lnTo>
                  <a:lnTo>
                    <a:pt x="285" y="3262"/>
                  </a:lnTo>
                  <a:lnTo>
                    <a:pt x="298" y="3261"/>
                  </a:lnTo>
                  <a:lnTo>
                    <a:pt x="310" y="3260"/>
                  </a:lnTo>
                  <a:lnTo>
                    <a:pt x="336" y="3260"/>
                  </a:lnTo>
                  <a:lnTo>
                    <a:pt x="363" y="3262"/>
                  </a:lnTo>
                  <a:lnTo>
                    <a:pt x="391" y="3266"/>
                  </a:lnTo>
                  <a:lnTo>
                    <a:pt x="418" y="3270"/>
                  </a:lnTo>
                  <a:lnTo>
                    <a:pt x="447" y="3276"/>
                  </a:lnTo>
                  <a:lnTo>
                    <a:pt x="477" y="3282"/>
                  </a:lnTo>
                  <a:lnTo>
                    <a:pt x="498" y="3287"/>
                  </a:lnTo>
                  <a:lnTo>
                    <a:pt x="518" y="3291"/>
                  </a:lnTo>
                  <a:lnTo>
                    <a:pt x="538" y="3295"/>
                  </a:lnTo>
                  <a:lnTo>
                    <a:pt x="557" y="3297"/>
                  </a:lnTo>
                  <a:lnTo>
                    <a:pt x="574" y="3299"/>
                  </a:lnTo>
                  <a:lnTo>
                    <a:pt x="590" y="3300"/>
                  </a:lnTo>
                  <a:lnTo>
                    <a:pt x="607" y="3299"/>
                  </a:lnTo>
                  <a:lnTo>
                    <a:pt x="622" y="3297"/>
                  </a:lnTo>
                  <a:lnTo>
                    <a:pt x="631" y="3296"/>
                  </a:lnTo>
                  <a:lnTo>
                    <a:pt x="639" y="3293"/>
                  </a:lnTo>
                  <a:lnTo>
                    <a:pt x="646" y="3291"/>
                  </a:lnTo>
                  <a:lnTo>
                    <a:pt x="653" y="3288"/>
                  </a:lnTo>
                  <a:lnTo>
                    <a:pt x="661" y="3283"/>
                  </a:lnTo>
                  <a:lnTo>
                    <a:pt x="669" y="3279"/>
                  </a:lnTo>
                  <a:lnTo>
                    <a:pt x="676" y="3274"/>
                  </a:lnTo>
                  <a:lnTo>
                    <a:pt x="683" y="3268"/>
                  </a:lnTo>
                  <a:lnTo>
                    <a:pt x="689" y="3262"/>
                  </a:lnTo>
                  <a:lnTo>
                    <a:pt x="696" y="3255"/>
                  </a:lnTo>
                  <a:lnTo>
                    <a:pt x="703" y="3246"/>
                  </a:lnTo>
                  <a:lnTo>
                    <a:pt x="709" y="3238"/>
                  </a:lnTo>
                  <a:lnTo>
                    <a:pt x="715" y="3229"/>
                  </a:lnTo>
                  <a:lnTo>
                    <a:pt x="721" y="3218"/>
                  </a:lnTo>
                  <a:lnTo>
                    <a:pt x="726" y="3207"/>
                  </a:lnTo>
                  <a:lnTo>
                    <a:pt x="732" y="3195"/>
                  </a:lnTo>
                  <a:lnTo>
                    <a:pt x="738" y="3181"/>
                  </a:lnTo>
                  <a:lnTo>
                    <a:pt x="742" y="3168"/>
                  </a:lnTo>
                  <a:lnTo>
                    <a:pt x="747" y="3153"/>
                  </a:lnTo>
                  <a:lnTo>
                    <a:pt x="751" y="3136"/>
                  </a:lnTo>
                  <a:lnTo>
                    <a:pt x="755" y="3120"/>
                  </a:lnTo>
                  <a:lnTo>
                    <a:pt x="759" y="3101"/>
                  </a:lnTo>
                  <a:lnTo>
                    <a:pt x="762" y="3081"/>
                  </a:lnTo>
                  <a:lnTo>
                    <a:pt x="765" y="3061"/>
                  </a:lnTo>
                  <a:lnTo>
                    <a:pt x="761" y="3022"/>
                  </a:lnTo>
                  <a:lnTo>
                    <a:pt x="756" y="2981"/>
                  </a:lnTo>
                  <a:lnTo>
                    <a:pt x="750" y="2939"/>
                  </a:lnTo>
                  <a:lnTo>
                    <a:pt x="745" y="2895"/>
                  </a:lnTo>
                  <a:lnTo>
                    <a:pt x="739" y="2850"/>
                  </a:lnTo>
                  <a:lnTo>
                    <a:pt x="731" y="2804"/>
                  </a:lnTo>
                  <a:lnTo>
                    <a:pt x="725" y="2756"/>
                  </a:lnTo>
                  <a:lnTo>
                    <a:pt x="718" y="2707"/>
                  </a:lnTo>
                  <a:lnTo>
                    <a:pt x="710" y="2657"/>
                  </a:lnTo>
                  <a:lnTo>
                    <a:pt x="703" y="2606"/>
                  </a:lnTo>
                  <a:lnTo>
                    <a:pt x="694" y="2554"/>
                  </a:lnTo>
                  <a:lnTo>
                    <a:pt x="687" y="2500"/>
                  </a:lnTo>
                  <a:lnTo>
                    <a:pt x="679" y="2446"/>
                  </a:lnTo>
                  <a:lnTo>
                    <a:pt x="670" y="2392"/>
                  </a:lnTo>
                  <a:lnTo>
                    <a:pt x="661" y="2336"/>
                  </a:lnTo>
                  <a:lnTo>
                    <a:pt x="653" y="2279"/>
                  </a:lnTo>
                  <a:lnTo>
                    <a:pt x="637" y="2173"/>
                  </a:lnTo>
                  <a:lnTo>
                    <a:pt x="620" y="2064"/>
                  </a:lnTo>
                  <a:lnTo>
                    <a:pt x="604" y="1955"/>
                  </a:lnTo>
                  <a:lnTo>
                    <a:pt x="587" y="1843"/>
                  </a:lnTo>
                  <a:lnTo>
                    <a:pt x="571" y="1731"/>
                  </a:lnTo>
                  <a:lnTo>
                    <a:pt x="554" y="1619"/>
                  </a:lnTo>
                  <a:lnTo>
                    <a:pt x="539" y="1506"/>
                  </a:lnTo>
                  <a:lnTo>
                    <a:pt x="523" y="1394"/>
                  </a:lnTo>
                  <a:lnTo>
                    <a:pt x="509" y="1283"/>
                  </a:lnTo>
                  <a:lnTo>
                    <a:pt x="495" y="1171"/>
                  </a:lnTo>
                  <a:lnTo>
                    <a:pt x="482" y="1062"/>
                  </a:lnTo>
                  <a:lnTo>
                    <a:pt x="470" y="954"/>
                  </a:lnTo>
                  <a:lnTo>
                    <a:pt x="459" y="848"/>
                  </a:lnTo>
                  <a:lnTo>
                    <a:pt x="449" y="743"/>
                  </a:lnTo>
                  <a:lnTo>
                    <a:pt x="441" y="642"/>
                  </a:lnTo>
                  <a:lnTo>
                    <a:pt x="434" y="544"/>
                  </a:lnTo>
                  <a:lnTo>
                    <a:pt x="416" y="602"/>
                  </a:lnTo>
                  <a:lnTo>
                    <a:pt x="399" y="661"/>
                  </a:lnTo>
                  <a:lnTo>
                    <a:pt x="382" y="720"/>
                  </a:lnTo>
                  <a:lnTo>
                    <a:pt x="366" y="780"/>
                  </a:lnTo>
                  <a:lnTo>
                    <a:pt x="350" y="839"/>
                  </a:lnTo>
                  <a:lnTo>
                    <a:pt x="336" y="900"/>
                  </a:lnTo>
                  <a:lnTo>
                    <a:pt x="322" y="961"/>
                  </a:lnTo>
                  <a:lnTo>
                    <a:pt x="308" y="1023"/>
                  </a:lnTo>
                  <a:lnTo>
                    <a:pt x="295" y="1085"/>
                  </a:lnTo>
                  <a:lnTo>
                    <a:pt x="282" y="1146"/>
                  </a:lnTo>
                  <a:lnTo>
                    <a:pt x="271" y="1209"/>
                  </a:lnTo>
                  <a:lnTo>
                    <a:pt x="260" y="1271"/>
                  </a:lnTo>
                  <a:lnTo>
                    <a:pt x="249" y="1334"/>
                  </a:lnTo>
                  <a:lnTo>
                    <a:pt x="240" y="1397"/>
                  </a:lnTo>
                  <a:lnTo>
                    <a:pt x="231" y="1461"/>
                  </a:lnTo>
                  <a:lnTo>
                    <a:pt x="223" y="1524"/>
                  </a:lnTo>
                  <a:lnTo>
                    <a:pt x="214" y="1588"/>
                  </a:lnTo>
                  <a:lnTo>
                    <a:pt x="207" y="1652"/>
                  </a:lnTo>
                  <a:lnTo>
                    <a:pt x="200" y="1716"/>
                  </a:lnTo>
                  <a:lnTo>
                    <a:pt x="195" y="1778"/>
                  </a:lnTo>
                  <a:lnTo>
                    <a:pt x="189" y="1842"/>
                  </a:lnTo>
                  <a:lnTo>
                    <a:pt x="185" y="1906"/>
                  </a:lnTo>
                  <a:lnTo>
                    <a:pt x="180" y="1969"/>
                  </a:lnTo>
                  <a:lnTo>
                    <a:pt x="177" y="2033"/>
                  </a:lnTo>
                  <a:lnTo>
                    <a:pt x="174" y="2096"/>
                  </a:lnTo>
                  <a:lnTo>
                    <a:pt x="172" y="2160"/>
                  </a:lnTo>
                  <a:lnTo>
                    <a:pt x="171" y="2223"/>
                  </a:lnTo>
                  <a:lnTo>
                    <a:pt x="171" y="2286"/>
                  </a:lnTo>
                  <a:lnTo>
                    <a:pt x="171" y="2348"/>
                  </a:lnTo>
                  <a:lnTo>
                    <a:pt x="171" y="2410"/>
                  </a:lnTo>
                  <a:lnTo>
                    <a:pt x="173" y="2472"/>
                  </a:lnTo>
                  <a:lnTo>
                    <a:pt x="175" y="2534"/>
                  </a:lnTo>
                  <a:lnTo>
                    <a:pt x="178" y="2594"/>
                  </a:lnTo>
                  <a:lnTo>
                    <a:pt x="181" y="2653"/>
                  </a:lnTo>
                  <a:lnTo>
                    <a:pt x="186" y="2710"/>
                  </a:lnTo>
                  <a:lnTo>
                    <a:pt x="190" y="2768"/>
                  </a:lnTo>
                  <a:lnTo>
                    <a:pt x="195" y="2826"/>
                  </a:lnTo>
                  <a:lnTo>
                    <a:pt x="201" y="2883"/>
                  </a:lnTo>
                  <a:lnTo>
                    <a:pt x="208" y="2939"/>
                  </a:lnTo>
                  <a:lnTo>
                    <a:pt x="215" y="299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4" name="Freeform 69"/>
            <p:cNvSpPr>
              <a:spLocks noChangeArrowheads="1"/>
            </p:cNvSpPr>
            <p:nvPr userDrawn="1"/>
          </p:nvSpPr>
          <p:spPr bwMode="auto">
            <a:xfrm>
              <a:off x="823912" y="2892603"/>
              <a:ext cx="344487" cy="1863623"/>
            </a:xfrm>
            <a:custGeom>
              <a:avLst/>
              <a:gdLst>
                <a:gd name="T0" fmla="*/ 107 w 766"/>
                <a:gd name="T1" fmla="*/ 3265 h 3358"/>
                <a:gd name="T2" fmla="*/ 68 w 766"/>
                <a:gd name="T3" fmla="*/ 3073 h 3358"/>
                <a:gd name="T4" fmla="*/ 38 w 766"/>
                <a:gd name="T5" fmla="*/ 2872 h 3358"/>
                <a:gd name="T6" fmla="*/ 17 w 766"/>
                <a:gd name="T7" fmla="*/ 2664 h 3358"/>
                <a:gd name="T8" fmla="*/ 4 w 766"/>
                <a:gd name="T9" fmla="*/ 2451 h 3358"/>
                <a:gd name="T10" fmla="*/ 0 w 766"/>
                <a:gd name="T11" fmla="*/ 2234 h 3358"/>
                <a:gd name="T12" fmla="*/ 3 w 766"/>
                <a:gd name="T13" fmla="*/ 2013 h 3358"/>
                <a:gd name="T14" fmla="*/ 15 w 766"/>
                <a:gd name="T15" fmla="*/ 1790 h 3358"/>
                <a:gd name="T16" fmla="*/ 35 w 766"/>
                <a:gd name="T17" fmla="*/ 1568 h 3358"/>
                <a:gd name="T18" fmla="*/ 62 w 766"/>
                <a:gd name="T19" fmla="*/ 1345 h 3358"/>
                <a:gd name="T20" fmla="*/ 99 w 766"/>
                <a:gd name="T21" fmla="*/ 1124 h 3358"/>
                <a:gd name="T22" fmla="*/ 141 w 766"/>
                <a:gd name="T23" fmla="*/ 907 h 3358"/>
                <a:gd name="T24" fmla="*/ 191 w 766"/>
                <a:gd name="T25" fmla="*/ 694 h 3358"/>
                <a:gd name="T26" fmla="*/ 250 w 766"/>
                <a:gd name="T27" fmla="*/ 486 h 3358"/>
                <a:gd name="T28" fmla="*/ 315 w 766"/>
                <a:gd name="T29" fmla="*/ 285 h 3358"/>
                <a:gd name="T30" fmla="*/ 388 w 766"/>
                <a:gd name="T31" fmla="*/ 93 h 3358"/>
                <a:gd name="T32" fmla="*/ 424 w 766"/>
                <a:gd name="T33" fmla="*/ 70 h 3358"/>
                <a:gd name="T34" fmla="*/ 423 w 766"/>
                <a:gd name="T35" fmla="*/ 223 h 3358"/>
                <a:gd name="T36" fmla="*/ 429 w 766"/>
                <a:gd name="T37" fmla="*/ 391 h 3358"/>
                <a:gd name="T38" fmla="*/ 442 w 766"/>
                <a:gd name="T39" fmla="*/ 573 h 3358"/>
                <a:gd name="T40" fmla="*/ 459 w 766"/>
                <a:gd name="T41" fmla="*/ 766 h 3358"/>
                <a:gd name="T42" fmla="*/ 481 w 766"/>
                <a:gd name="T43" fmla="*/ 966 h 3358"/>
                <a:gd name="T44" fmla="*/ 505 w 766"/>
                <a:gd name="T45" fmla="*/ 1173 h 3358"/>
                <a:gd name="T46" fmla="*/ 534 w 766"/>
                <a:gd name="T47" fmla="*/ 1382 h 3358"/>
                <a:gd name="T48" fmla="*/ 579 w 766"/>
                <a:gd name="T49" fmla="*/ 1699 h 3358"/>
                <a:gd name="T50" fmla="*/ 641 w 766"/>
                <a:gd name="T51" fmla="*/ 2111 h 3358"/>
                <a:gd name="T52" fmla="*/ 699 w 766"/>
                <a:gd name="T53" fmla="*/ 2494 h 3358"/>
                <a:gd name="T54" fmla="*/ 747 w 766"/>
                <a:gd name="T55" fmla="*/ 2830 h 3358"/>
                <a:gd name="T56" fmla="*/ 757 w 766"/>
                <a:gd name="T57" fmla="*/ 3031 h 3358"/>
                <a:gd name="T58" fmla="*/ 732 w 766"/>
                <a:gd name="T59" fmla="*/ 3125 h 3358"/>
                <a:gd name="T60" fmla="*/ 701 w 766"/>
                <a:gd name="T61" fmla="*/ 3195 h 3358"/>
                <a:gd name="T62" fmla="*/ 663 w 766"/>
                <a:gd name="T63" fmla="*/ 3245 h 3358"/>
                <a:gd name="T64" fmla="*/ 621 w 766"/>
                <a:gd name="T65" fmla="*/ 3277 h 3358"/>
                <a:gd name="T66" fmla="*/ 574 w 766"/>
                <a:gd name="T67" fmla="*/ 3294 h 3358"/>
                <a:gd name="T68" fmla="*/ 525 w 766"/>
                <a:gd name="T69" fmla="*/ 3301 h 3358"/>
                <a:gd name="T70" fmla="*/ 473 w 766"/>
                <a:gd name="T71" fmla="*/ 3297 h 3358"/>
                <a:gd name="T72" fmla="*/ 396 w 766"/>
                <a:gd name="T73" fmla="*/ 3285 h 3358"/>
                <a:gd name="T74" fmla="*/ 321 w 766"/>
                <a:gd name="T75" fmla="*/ 3270 h 3358"/>
                <a:gd name="T76" fmla="*/ 275 w 766"/>
                <a:gd name="T77" fmla="*/ 3263 h 3358"/>
                <a:gd name="T78" fmla="*/ 232 w 766"/>
                <a:gd name="T79" fmla="*/ 3263 h 3358"/>
                <a:gd name="T80" fmla="*/ 194 w 766"/>
                <a:gd name="T81" fmla="*/ 3273 h 3358"/>
                <a:gd name="T82" fmla="*/ 163 w 766"/>
                <a:gd name="T83" fmla="*/ 3295 h 3358"/>
                <a:gd name="T84" fmla="*/ 139 w 766"/>
                <a:gd name="T85" fmla="*/ 3332 h 3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66" h="3358">
                  <a:moveTo>
                    <a:pt x="129" y="3358"/>
                  </a:moveTo>
                  <a:lnTo>
                    <a:pt x="107" y="3265"/>
                  </a:lnTo>
                  <a:lnTo>
                    <a:pt x="86" y="3170"/>
                  </a:lnTo>
                  <a:lnTo>
                    <a:pt x="68" y="3073"/>
                  </a:lnTo>
                  <a:lnTo>
                    <a:pt x="52" y="2973"/>
                  </a:lnTo>
                  <a:lnTo>
                    <a:pt x="38" y="2872"/>
                  </a:lnTo>
                  <a:lnTo>
                    <a:pt x="26" y="2769"/>
                  </a:lnTo>
                  <a:lnTo>
                    <a:pt x="17" y="2664"/>
                  </a:lnTo>
                  <a:lnTo>
                    <a:pt x="9" y="2558"/>
                  </a:lnTo>
                  <a:lnTo>
                    <a:pt x="4" y="2451"/>
                  </a:lnTo>
                  <a:lnTo>
                    <a:pt x="1" y="2343"/>
                  </a:lnTo>
                  <a:lnTo>
                    <a:pt x="0" y="2234"/>
                  </a:lnTo>
                  <a:lnTo>
                    <a:pt x="0" y="2123"/>
                  </a:lnTo>
                  <a:lnTo>
                    <a:pt x="3" y="2013"/>
                  </a:lnTo>
                  <a:lnTo>
                    <a:pt x="8" y="1902"/>
                  </a:lnTo>
                  <a:lnTo>
                    <a:pt x="15" y="1790"/>
                  </a:lnTo>
                  <a:lnTo>
                    <a:pt x="24" y="1679"/>
                  </a:lnTo>
                  <a:lnTo>
                    <a:pt x="35" y="1568"/>
                  </a:lnTo>
                  <a:lnTo>
                    <a:pt x="48" y="1456"/>
                  </a:lnTo>
                  <a:lnTo>
                    <a:pt x="62" y="1345"/>
                  </a:lnTo>
                  <a:lnTo>
                    <a:pt x="79" y="1235"/>
                  </a:lnTo>
                  <a:lnTo>
                    <a:pt x="99" y="1124"/>
                  </a:lnTo>
                  <a:lnTo>
                    <a:pt x="119" y="1015"/>
                  </a:lnTo>
                  <a:lnTo>
                    <a:pt x="141" y="907"/>
                  </a:lnTo>
                  <a:lnTo>
                    <a:pt x="165" y="800"/>
                  </a:lnTo>
                  <a:lnTo>
                    <a:pt x="191" y="694"/>
                  </a:lnTo>
                  <a:lnTo>
                    <a:pt x="220" y="589"/>
                  </a:lnTo>
                  <a:lnTo>
                    <a:pt x="250" y="486"/>
                  </a:lnTo>
                  <a:lnTo>
                    <a:pt x="282" y="384"/>
                  </a:lnTo>
                  <a:lnTo>
                    <a:pt x="315" y="285"/>
                  </a:lnTo>
                  <a:lnTo>
                    <a:pt x="351" y="188"/>
                  </a:lnTo>
                  <a:lnTo>
                    <a:pt x="388" y="93"/>
                  </a:lnTo>
                  <a:lnTo>
                    <a:pt x="427" y="0"/>
                  </a:lnTo>
                  <a:lnTo>
                    <a:pt x="424" y="70"/>
                  </a:lnTo>
                  <a:lnTo>
                    <a:pt x="422" y="144"/>
                  </a:lnTo>
                  <a:lnTo>
                    <a:pt x="423" y="223"/>
                  </a:lnTo>
                  <a:lnTo>
                    <a:pt x="425" y="306"/>
                  </a:lnTo>
                  <a:lnTo>
                    <a:pt x="429" y="391"/>
                  </a:lnTo>
                  <a:lnTo>
                    <a:pt x="434" y="481"/>
                  </a:lnTo>
                  <a:lnTo>
                    <a:pt x="442" y="573"/>
                  </a:lnTo>
                  <a:lnTo>
                    <a:pt x="450" y="668"/>
                  </a:lnTo>
                  <a:lnTo>
                    <a:pt x="459" y="766"/>
                  </a:lnTo>
                  <a:lnTo>
                    <a:pt x="469" y="865"/>
                  </a:lnTo>
                  <a:lnTo>
                    <a:pt x="481" y="966"/>
                  </a:lnTo>
                  <a:lnTo>
                    <a:pt x="493" y="1069"/>
                  </a:lnTo>
                  <a:lnTo>
                    <a:pt x="505" y="1173"/>
                  </a:lnTo>
                  <a:lnTo>
                    <a:pt x="520" y="1277"/>
                  </a:lnTo>
                  <a:lnTo>
                    <a:pt x="534" y="1382"/>
                  </a:lnTo>
                  <a:lnTo>
                    <a:pt x="549" y="1487"/>
                  </a:lnTo>
                  <a:lnTo>
                    <a:pt x="579" y="1699"/>
                  </a:lnTo>
                  <a:lnTo>
                    <a:pt x="610" y="1907"/>
                  </a:lnTo>
                  <a:lnTo>
                    <a:pt x="641" y="2111"/>
                  </a:lnTo>
                  <a:lnTo>
                    <a:pt x="671" y="2307"/>
                  </a:lnTo>
                  <a:lnTo>
                    <a:pt x="699" y="2494"/>
                  </a:lnTo>
                  <a:lnTo>
                    <a:pt x="725" y="2670"/>
                  </a:lnTo>
                  <a:lnTo>
                    <a:pt x="747" y="2830"/>
                  </a:lnTo>
                  <a:lnTo>
                    <a:pt x="766" y="2975"/>
                  </a:lnTo>
                  <a:lnTo>
                    <a:pt x="757" y="3031"/>
                  </a:lnTo>
                  <a:lnTo>
                    <a:pt x="745" y="3082"/>
                  </a:lnTo>
                  <a:lnTo>
                    <a:pt x="732" y="3125"/>
                  </a:lnTo>
                  <a:lnTo>
                    <a:pt x="718" y="3162"/>
                  </a:lnTo>
                  <a:lnTo>
                    <a:pt x="701" y="3195"/>
                  </a:lnTo>
                  <a:lnTo>
                    <a:pt x="683" y="3222"/>
                  </a:lnTo>
                  <a:lnTo>
                    <a:pt x="663" y="3245"/>
                  </a:lnTo>
                  <a:lnTo>
                    <a:pt x="642" y="3262"/>
                  </a:lnTo>
                  <a:lnTo>
                    <a:pt x="621" y="3277"/>
                  </a:lnTo>
                  <a:lnTo>
                    <a:pt x="598" y="3287"/>
                  </a:lnTo>
                  <a:lnTo>
                    <a:pt x="574" y="3294"/>
                  </a:lnTo>
                  <a:lnTo>
                    <a:pt x="550" y="3298"/>
                  </a:lnTo>
                  <a:lnTo>
                    <a:pt x="525" y="3301"/>
                  </a:lnTo>
                  <a:lnTo>
                    <a:pt x="499" y="3299"/>
                  </a:lnTo>
                  <a:lnTo>
                    <a:pt x="473" y="3297"/>
                  </a:lnTo>
                  <a:lnTo>
                    <a:pt x="448" y="3294"/>
                  </a:lnTo>
                  <a:lnTo>
                    <a:pt x="396" y="3285"/>
                  </a:lnTo>
                  <a:lnTo>
                    <a:pt x="346" y="3275"/>
                  </a:lnTo>
                  <a:lnTo>
                    <a:pt x="321" y="3270"/>
                  </a:lnTo>
                  <a:lnTo>
                    <a:pt x="297" y="3265"/>
                  </a:lnTo>
                  <a:lnTo>
                    <a:pt x="275" y="3263"/>
                  </a:lnTo>
                  <a:lnTo>
                    <a:pt x="253" y="3262"/>
                  </a:lnTo>
                  <a:lnTo>
                    <a:pt x="232" y="3263"/>
                  </a:lnTo>
                  <a:lnTo>
                    <a:pt x="213" y="3267"/>
                  </a:lnTo>
                  <a:lnTo>
                    <a:pt x="194" y="3273"/>
                  </a:lnTo>
                  <a:lnTo>
                    <a:pt x="178" y="3282"/>
                  </a:lnTo>
                  <a:lnTo>
                    <a:pt x="163" y="3295"/>
                  </a:lnTo>
                  <a:lnTo>
                    <a:pt x="150" y="3312"/>
                  </a:lnTo>
                  <a:lnTo>
                    <a:pt x="139" y="3332"/>
                  </a:lnTo>
                  <a:lnTo>
                    <a:pt x="129" y="335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5" name="Freeform 70"/>
            <p:cNvSpPr>
              <a:spLocks noChangeArrowheads="1"/>
            </p:cNvSpPr>
            <p:nvPr userDrawn="1"/>
          </p:nvSpPr>
          <p:spPr bwMode="auto">
            <a:xfrm>
              <a:off x="2062162" y="1215163"/>
              <a:ext cx="1892300" cy="1074135"/>
            </a:xfrm>
            <a:custGeom>
              <a:avLst/>
              <a:gdLst>
                <a:gd name="T0" fmla="*/ 299 w 4197"/>
                <a:gd name="T1" fmla="*/ 1447 h 1939"/>
                <a:gd name="T2" fmla="*/ 642 w 4197"/>
                <a:gd name="T3" fmla="*/ 1222 h 1939"/>
                <a:gd name="T4" fmla="*/ 993 w 4197"/>
                <a:gd name="T5" fmla="*/ 1010 h 1939"/>
                <a:gd name="T6" fmla="*/ 1413 w 4197"/>
                <a:gd name="T7" fmla="*/ 780 h 1939"/>
                <a:gd name="T8" fmla="*/ 1885 w 4197"/>
                <a:gd name="T9" fmla="*/ 552 h 1939"/>
                <a:gd name="T10" fmla="*/ 2360 w 4197"/>
                <a:gd name="T11" fmla="*/ 358 h 1939"/>
                <a:gd name="T12" fmla="*/ 2832 w 4197"/>
                <a:gd name="T13" fmla="*/ 201 h 1939"/>
                <a:gd name="T14" fmla="*/ 3300 w 4197"/>
                <a:gd name="T15" fmla="*/ 86 h 1939"/>
                <a:gd name="T16" fmla="*/ 3757 w 4197"/>
                <a:gd name="T17" fmla="*/ 18 h 1939"/>
                <a:gd name="T18" fmla="*/ 4121 w 4197"/>
                <a:gd name="T19" fmla="*/ 1 h 1939"/>
                <a:gd name="T20" fmla="*/ 4160 w 4197"/>
                <a:gd name="T21" fmla="*/ 16 h 1939"/>
                <a:gd name="T22" fmla="*/ 4187 w 4197"/>
                <a:gd name="T23" fmla="*/ 46 h 1939"/>
                <a:gd name="T24" fmla="*/ 4197 w 4197"/>
                <a:gd name="T25" fmla="*/ 87 h 1939"/>
                <a:gd name="T26" fmla="*/ 4190 w 4197"/>
                <a:gd name="T27" fmla="*/ 122 h 1939"/>
                <a:gd name="T28" fmla="*/ 4169 w 4197"/>
                <a:gd name="T29" fmla="*/ 151 h 1939"/>
                <a:gd name="T30" fmla="*/ 4140 w 4197"/>
                <a:gd name="T31" fmla="*/ 168 h 1939"/>
                <a:gd name="T32" fmla="*/ 3784 w 4197"/>
                <a:gd name="T33" fmla="*/ 300 h 1939"/>
                <a:gd name="T34" fmla="*/ 3373 w 4197"/>
                <a:gd name="T35" fmla="*/ 476 h 1939"/>
                <a:gd name="T36" fmla="*/ 2982 w 4197"/>
                <a:gd name="T37" fmla="*/ 669 h 1939"/>
                <a:gd name="T38" fmla="*/ 2599 w 4197"/>
                <a:gd name="T39" fmla="*/ 884 h 1939"/>
                <a:gd name="T40" fmla="*/ 2214 w 4197"/>
                <a:gd name="T41" fmla="*/ 1122 h 1939"/>
                <a:gd name="T42" fmla="*/ 1820 w 4197"/>
                <a:gd name="T43" fmla="*/ 1387 h 1939"/>
                <a:gd name="T44" fmla="*/ 1567 w 4197"/>
                <a:gd name="T45" fmla="*/ 1565 h 1939"/>
                <a:gd name="T46" fmla="*/ 1458 w 4197"/>
                <a:gd name="T47" fmla="*/ 1621 h 1939"/>
                <a:gd name="T48" fmla="*/ 1245 w 4197"/>
                <a:gd name="T49" fmla="*/ 1722 h 1939"/>
                <a:gd name="T50" fmla="*/ 1050 w 4197"/>
                <a:gd name="T51" fmla="*/ 1802 h 1939"/>
                <a:gd name="T52" fmla="*/ 858 w 4197"/>
                <a:gd name="T53" fmla="*/ 1868 h 1939"/>
                <a:gd name="T54" fmla="*/ 644 w 4197"/>
                <a:gd name="T55" fmla="*/ 1920 h 1939"/>
                <a:gd name="T56" fmla="*/ 461 w 4197"/>
                <a:gd name="T57" fmla="*/ 1939 h 1939"/>
                <a:gd name="T58" fmla="*/ 310 w 4197"/>
                <a:gd name="T59" fmla="*/ 1930 h 1939"/>
                <a:gd name="T60" fmla="*/ 187 w 4197"/>
                <a:gd name="T61" fmla="*/ 1895 h 1939"/>
                <a:gd name="T62" fmla="*/ 93 w 4197"/>
                <a:gd name="T63" fmla="*/ 1838 h 1939"/>
                <a:gd name="T64" fmla="*/ 23 w 4197"/>
                <a:gd name="T65" fmla="*/ 1763 h 1939"/>
                <a:gd name="T66" fmla="*/ 1 w 4197"/>
                <a:gd name="T67" fmla="*/ 1716 h 1939"/>
                <a:gd name="T68" fmla="*/ 4 w 4197"/>
                <a:gd name="T69" fmla="*/ 1677 h 1939"/>
                <a:gd name="T70" fmla="*/ 24 w 4197"/>
                <a:gd name="T71" fmla="*/ 1643 h 1939"/>
                <a:gd name="T72" fmla="*/ 607 w 4197"/>
                <a:gd name="T73" fmla="*/ 1447 h 1939"/>
                <a:gd name="T74" fmla="*/ 324 w 4197"/>
                <a:gd name="T75" fmla="*/ 1637 h 1939"/>
                <a:gd name="T76" fmla="*/ 244 w 4197"/>
                <a:gd name="T77" fmla="*/ 1734 h 1939"/>
                <a:gd name="T78" fmla="*/ 309 w 4197"/>
                <a:gd name="T79" fmla="*/ 1757 h 1939"/>
                <a:gd name="T80" fmla="*/ 388 w 4197"/>
                <a:gd name="T81" fmla="*/ 1769 h 1939"/>
                <a:gd name="T82" fmla="*/ 485 w 4197"/>
                <a:gd name="T83" fmla="*/ 1769 h 1939"/>
                <a:gd name="T84" fmla="*/ 678 w 4197"/>
                <a:gd name="T85" fmla="*/ 1739 h 1939"/>
                <a:gd name="T86" fmla="*/ 918 w 4197"/>
                <a:gd name="T87" fmla="*/ 1668 h 1939"/>
                <a:gd name="T88" fmla="*/ 1099 w 4197"/>
                <a:gd name="T89" fmla="*/ 1598 h 1939"/>
                <a:gd name="T90" fmla="*/ 1302 w 4197"/>
                <a:gd name="T91" fmla="*/ 1508 h 1939"/>
                <a:gd name="T92" fmla="*/ 1477 w 4197"/>
                <a:gd name="T93" fmla="*/ 1419 h 1939"/>
                <a:gd name="T94" fmla="*/ 1810 w 4197"/>
                <a:gd name="T95" fmla="*/ 1187 h 1939"/>
                <a:gd name="T96" fmla="*/ 2204 w 4197"/>
                <a:gd name="T97" fmla="*/ 925 h 1939"/>
                <a:gd name="T98" fmla="*/ 2591 w 4197"/>
                <a:gd name="T99" fmla="*/ 689 h 1939"/>
                <a:gd name="T100" fmla="*/ 2889 w 4197"/>
                <a:gd name="T101" fmla="*/ 524 h 1939"/>
                <a:gd name="T102" fmla="*/ 3130 w 4197"/>
                <a:gd name="T103" fmla="*/ 401 h 1939"/>
                <a:gd name="T104" fmla="*/ 3377 w 4197"/>
                <a:gd name="T105" fmla="*/ 286 h 1939"/>
                <a:gd name="T106" fmla="*/ 3389 w 4197"/>
                <a:gd name="T107" fmla="*/ 244 h 1939"/>
                <a:gd name="T108" fmla="*/ 3031 w 4197"/>
                <a:gd name="T109" fmla="*/ 324 h 1939"/>
                <a:gd name="T110" fmla="*/ 2670 w 4197"/>
                <a:gd name="T111" fmla="*/ 431 h 1939"/>
                <a:gd name="T112" fmla="*/ 2305 w 4197"/>
                <a:gd name="T113" fmla="*/ 562 h 1939"/>
                <a:gd name="T114" fmla="*/ 1939 w 4197"/>
                <a:gd name="T115" fmla="*/ 715 h 1939"/>
                <a:gd name="T116" fmla="*/ 1577 w 4197"/>
                <a:gd name="T117" fmla="*/ 888 h 1939"/>
                <a:gd name="T118" fmla="*/ 1217 w 4197"/>
                <a:gd name="T119" fmla="*/ 1079 h 1939"/>
                <a:gd name="T120" fmla="*/ 869 w 4197"/>
                <a:gd name="T121" fmla="*/ 1282 h 1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97" h="1939">
                  <a:moveTo>
                    <a:pt x="36" y="1632"/>
                  </a:moveTo>
                  <a:lnTo>
                    <a:pt x="101" y="1586"/>
                  </a:lnTo>
                  <a:lnTo>
                    <a:pt x="166" y="1539"/>
                  </a:lnTo>
                  <a:lnTo>
                    <a:pt x="232" y="1493"/>
                  </a:lnTo>
                  <a:lnTo>
                    <a:pt x="299" y="1447"/>
                  </a:lnTo>
                  <a:lnTo>
                    <a:pt x="367" y="1401"/>
                  </a:lnTo>
                  <a:lnTo>
                    <a:pt x="435" y="1356"/>
                  </a:lnTo>
                  <a:lnTo>
                    <a:pt x="504" y="1311"/>
                  </a:lnTo>
                  <a:lnTo>
                    <a:pt x="573" y="1266"/>
                  </a:lnTo>
                  <a:lnTo>
                    <a:pt x="642" y="1222"/>
                  </a:lnTo>
                  <a:lnTo>
                    <a:pt x="712" y="1179"/>
                  </a:lnTo>
                  <a:lnTo>
                    <a:pt x="781" y="1135"/>
                  </a:lnTo>
                  <a:lnTo>
                    <a:pt x="851" y="1093"/>
                  </a:lnTo>
                  <a:lnTo>
                    <a:pt x="922" y="1051"/>
                  </a:lnTo>
                  <a:lnTo>
                    <a:pt x="993" y="1010"/>
                  </a:lnTo>
                  <a:lnTo>
                    <a:pt x="1064" y="969"/>
                  </a:lnTo>
                  <a:lnTo>
                    <a:pt x="1135" y="929"/>
                  </a:lnTo>
                  <a:lnTo>
                    <a:pt x="1228" y="879"/>
                  </a:lnTo>
                  <a:lnTo>
                    <a:pt x="1320" y="828"/>
                  </a:lnTo>
                  <a:lnTo>
                    <a:pt x="1413" y="780"/>
                  </a:lnTo>
                  <a:lnTo>
                    <a:pt x="1508" y="731"/>
                  </a:lnTo>
                  <a:lnTo>
                    <a:pt x="1602" y="685"/>
                  </a:lnTo>
                  <a:lnTo>
                    <a:pt x="1695" y="640"/>
                  </a:lnTo>
                  <a:lnTo>
                    <a:pt x="1790" y="595"/>
                  </a:lnTo>
                  <a:lnTo>
                    <a:pt x="1885" y="552"/>
                  </a:lnTo>
                  <a:lnTo>
                    <a:pt x="1980" y="511"/>
                  </a:lnTo>
                  <a:lnTo>
                    <a:pt x="2074" y="470"/>
                  </a:lnTo>
                  <a:lnTo>
                    <a:pt x="2169" y="431"/>
                  </a:lnTo>
                  <a:lnTo>
                    <a:pt x="2264" y="394"/>
                  </a:lnTo>
                  <a:lnTo>
                    <a:pt x="2360" y="358"/>
                  </a:lnTo>
                  <a:lnTo>
                    <a:pt x="2454" y="323"/>
                  </a:lnTo>
                  <a:lnTo>
                    <a:pt x="2549" y="290"/>
                  </a:lnTo>
                  <a:lnTo>
                    <a:pt x="2644" y="259"/>
                  </a:lnTo>
                  <a:lnTo>
                    <a:pt x="2739" y="229"/>
                  </a:lnTo>
                  <a:lnTo>
                    <a:pt x="2832" y="201"/>
                  </a:lnTo>
                  <a:lnTo>
                    <a:pt x="2927" y="175"/>
                  </a:lnTo>
                  <a:lnTo>
                    <a:pt x="3021" y="150"/>
                  </a:lnTo>
                  <a:lnTo>
                    <a:pt x="3115" y="127"/>
                  </a:lnTo>
                  <a:lnTo>
                    <a:pt x="3207" y="106"/>
                  </a:lnTo>
                  <a:lnTo>
                    <a:pt x="3300" y="86"/>
                  </a:lnTo>
                  <a:lnTo>
                    <a:pt x="3393" y="68"/>
                  </a:lnTo>
                  <a:lnTo>
                    <a:pt x="3484" y="53"/>
                  </a:lnTo>
                  <a:lnTo>
                    <a:pt x="3576" y="40"/>
                  </a:lnTo>
                  <a:lnTo>
                    <a:pt x="3667" y="28"/>
                  </a:lnTo>
                  <a:lnTo>
                    <a:pt x="3757" y="18"/>
                  </a:lnTo>
                  <a:lnTo>
                    <a:pt x="3847" y="11"/>
                  </a:lnTo>
                  <a:lnTo>
                    <a:pt x="3936" y="6"/>
                  </a:lnTo>
                  <a:lnTo>
                    <a:pt x="4024" y="2"/>
                  </a:lnTo>
                  <a:lnTo>
                    <a:pt x="4112" y="0"/>
                  </a:lnTo>
                  <a:lnTo>
                    <a:pt x="4121" y="1"/>
                  </a:lnTo>
                  <a:lnTo>
                    <a:pt x="4129" y="2"/>
                  </a:lnTo>
                  <a:lnTo>
                    <a:pt x="4137" y="5"/>
                  </a:lnTo>
                  <a:lnTo>
                    <a:pt x="4146" y="8"/>
                  </a:lnTo>
                  <a:lnTo>
                    <a:pt x="4153" y="12"/>
                  </a:lnTo>
                  <a:lnTo>
                    <a:pt x="4160" y="16"/>
                  </a:lnTo>
                  <a:lnTo>
                    <a:pt x="4166" y="21"/>
                  </a:lnTo>
                  <a:lnTo>
                    <a:pt x="4172" y="26"/>
                  </a:lnTo>
                  <a:lnTo>
                    <a:pt x="4178" y="32"/>
                  </a:lnTo>
                  <a:lnTo>
                    <a:pt x="4183" y="39"/>
                  </a:lnTo>
                  <a:lnTo>
                    <a:pt x="4187" y="46"/>
                  </a:lnTo>
                  <a:lnTo>
                    <a:pt x="4191" y="53"/>
                  </a:lnTo>
                  <a:lnTo>
                    <a:pt x="4194" y="61"/>
                  </a:lnTo>
                  <a:lnTo>
                    <a:pt x="4196" y="69"/>
                  </a:lnTo>
                  <a:lnTo>
                    <a:pt x="4197" y="78"/>
                  </a:lnTo>
                  <a:lnTo>
                    <a:pt x="4197" y="87"/>
                  </a:lnTo>
                  <a:lnTo>
                    <a:pt x="4197" y="94"/>
                  </a:lnTo>
                  <a:lnTo>
                    <a:pt x="4196" y="101"/>
                  </a:lnTo>
                  <a:lnTo>
                    <a:pt x="4195" y="109"/>
                  </a:lnTo>
                  <a:lnTo>
                    <a:pt x="4193" y="116"/>
                  </a:lnTo>
                  <a:lnTo>
                    <a:pt x="4190" y="122"/>
                  </a:lnTo>
                  <a:lnTo>
                    <a:pt x="4187" y="128"/>
                  </a:lnTo>
                  <a:lnTo>
                    <a:pt x="4183" y="134"/>
                  </a:lnTo>
                  <a:lnTo>
                    <a:pt x="4180" y="141"/>
                  </a:lnTo>
                  <a:lnTo>
                    <a:pt x="4175" y="146"/>
                  </a:lnTo>
                  <a:lnTo>
                    <a:pt x="4169" y="151"/>
                  </a:lnTo>
                  <a:lnTo>
                    <a:pt x="4164" y="155"/>
                  </a:lnTo>
                  <a:lnTo>
                    <a:pt x="4159" y="159"/>
                  </a:lnTo>
                  <a:lnTo>
                    <a:pt x="4153" y="162"/>
                  </a:lnTo>
                  <a:lnTo>
                    <a:pt x="4147" y="165"/>
                  </a:lnTo>
                  <a:lnTo>
                    <a:pt x="4140" y="168"/>
                  </a:lnTo>
                  <a:lnTo>
                    <a:pt x="4133" y="171"/>
                  </a:lnTo>
                  <a:lnTo>
                    <a:pt x="4044" y="202"/>
                  </a:lnTo>
                  <a:lnTo>
                    <a:pt x="3956" y="234"/>
                  </a:lnTo>
                  <a:lnTo>
                    <a:pt x="3870" y="267"/>
                  </a:lnTo>
                  <a:lnTo>
                    <a:pt x="3784" y="300"/>
                  </a:lnTo>
                  <a:lnTo>
                    <a:pt x="3700" y="334"/>
                  </a:lnTo>
                  <a:lnTo>
                    <a:pt x="3617" y="368"/>
                  </a:lnTo>
                  <a:lnTo>
                    <a:pt x="3535" y="403"/>
                  </a:lnTo>
                  <a:lnTo>
                    <a:pt x="3454" y="440"/>
                  </a:lnTo>
                  <a:lnTo>
                    <a:pt x="3373" y="476"/>
                  </a:lnTo>
                  <a:lnTo>
                    <a:pt x="3294" y="513"/>
                  </a:lnTo>
                  <a:lnTo>
                    <a:pt x="3215" y="551"/>
                  </a:lnTo>
                  <a:lnTo>
                    <a:pt x="3136" y="589"/>
                  </a:lnTo>
                  <a:lnTo>
                    <a:pt x="3059" y="629"/>
                  </a:lnTo>
                  <a:lnTo>
                    <a:pt x="2982" y="669"/>
                  </a:lnTo>
                  <a:lnTo>
                    <a:pt x="2905" y="710"/>
                  </a:lnTo>
                  <a:lnTo>
                    <a:pt x="2828" y="752"/>
                  </a:lnTo>
                  <a:lnTo>
                    <a:pt x="2752" y="794"/>
                  </a:lnTo>
                  <a:lnTo>
                    <a:pt x="2675" y="838"/>
                  </a:lnTo>
                  <a:lnTo>
                    <a:pt x="2599" y="884"/>
                  </a:lnTo>
                  <a:lnTo>
                    <a:pt x="2521" y="929"/>
                  </a:lnTo>
                  <a:lnTo>
                    <a:pt x="2445" y="976"/>
                  </a:lnTo>
                  <a:lnTo>
                    <a:pt x="2368" y="1023"/>
                  </a:lnTo>
                  <a:lnTo>
                    <a:pt x="2292" y="1072"/>
                  </a:lnTo>
                  <a:lnTo>
                    <a:pt x="2214" y="1122"/>
                  </a:lnTo>
                  <a:lnTo>
                    <a:pt x="2136" y="1172"/>
                  </a:lnTo>
                  <a:lnTo>
                    <a:pt x="2058" y="1224"/>
                  </a:lnTo>
                  <a:lnTo>
                    <a:pt x="1980" y="1278"/>
                  </a:lnTo>
                  <a:lnTo>
                    <a:pt x="1900" y="1331"/>
                  </a:lnTo>
                  <a:lnTo>
                    <a:pt x="1820" y="1387"/>
                  </a:lnTo>
                  <a:lnTo>
                    <a:pt x="1740" y="1443"/>
                  </a:lnTo>
                  <a:lnTo>
                    <a:pt x="1658" y="1500"/>
                  </a:lnTo>
                  <a:lnTo>
                    <a:pt x="1576" y="1559"/>
                  </a:lnTo>
                  <a:lnTo>
                    <a:pt x="1571" y="1562"/>
                  </a:lnTo>
                  <a:lnTo>
                    <a:pt x="1567" y="1565"/>
                  </a:lnTo>
                  <a:lnTo>
                    <a:pt x="1556" y="1570"/>
                  </a:lnTo>
                  <a:lnTo>
                    <a:pt x="1551" y="1573"/>
                  </a:lnTo>
                  <a:lnTo>
                    <a:pt x="1504" y="1597"/>
                  </a:lnTo>
                  <a:lnTo>
                    <a:pt x="1458" y="1621"/>
                  </a:lnTo>
                  <a:lnTo>
                    <a:pt x="1413" y="1643"/>
                  </a:lnTo>
                  <a:lnTo>
                    <a:pt x="1370" y="1664"/>
                  </a:lnTo>
                  <a:lnTo>
                    <a:pt x="1327" y="1685"/>
                  </a:lnTo>
                  <a:lnTo>
                    <a:pt x="1285" y="1703"/>
                  </a:lnTo>
                  <a:lnTo>
                    <a:pt x="1245" y="1722"/>
                  </a:lnTo>
                  <a:lnTo>
                    <a:pt x="1205" y="1739"/>
                  </a:lnTo>
                  <a:lnTo>
                    <a:pt x="1166" y="1756"/>
                  </a:lnTo>
                  <a:lnTo>
                    <a:pt x="1127" y="1772"/>
                  </a:lnTo>
                  <a:lnTo>
                    <a:pt x="1088" y="1788"/>
                  </a:lnTo>
                  <a:lnTo>
                    <a:pt x="1050" y="1802"/>
                  </a:lnTo>
                  <a:lnTo>
                    <a:pt x="1012" y="1817"/>
                  </a:lnTo>
                  <a:lnTo>
                    <a:pt x="976" y="1829"/>
                  </a:lnTo>
                  <a:lnTo>
                    <a:pt x="939" y="1842"/>
                  </a:lnTo>
                  <a:lnTo>
                    <a:pt x="904" y="1853"/>
                  </a:lnTo>
                  <a:lnTo>
                    <a:pt x="858" y="1868"/>
                  </a:lnTo>
                  <a:lnTo>
                    <a:pt x="813" y="1881"/>
                  </a:lnTo>
                  <a:lnTo>
                    <a:pt x="768" y="1893"/>
                  </a:lnTo>
                  <a:lnTo>
                    <a:pt x="726" y="1903"/>
                  </a:lnTo>
                  <a:lnTo>
                    <a:pt x="684" y="1913"/>
                  </a:lnTo>
                  <a:lnTo>
                    <a:pt x="644" y="1920"/>
                  </a:lnTo>
                  <a:lnTo>
                    <a:pt x="605" y="1926"/>
                  </a:lnTo>
                  <a:lnTo>
                    <a:pt x="567" y="1931"/>
                  </a:lnTo>
                  <a:lnTo>
                    <a:pt x="531" y="1935"/>
                  </a:lnTo>
                  <a:lnTo>
                    <a:pt x="496" y="1937"/>
                  </a:lnTo>
                  <a:lnTo>
                    <a:pt x="461" y="1939"/>
                  </a:lnTo>
                  <a:lnTo>
                    <a:pt x="429" y="1939"/>
                  </a:lnTo>
                  <a:lnTo>
                    <a:pt x="398" y="1938"/>
                  </a:lnTo>
                  <a:lnTo>
                    <a:pt x="368" y="1937"/>
                  </a:lnTo>
                  <a:lnTo>
                    <a:pt x="338" y="1934"/>
                  </a:lnTo>
                  <a:lnTo>
                    <a:pt x="310" y="1930"/>
                  </a:lnTo>
                  <a:lnTo>
                    <a:pt x="283" y="1925"/>
                  </a:lnTo>
                  <a:lnTo>
                    <a:pt x="257" y="1919"/>
                  </a:lnTo>
                  <a:lnTo>
                    <a:pt x="233" y="1912"/>
                  </a:lnTo>
                  <a:lnTo>
                    <a:pt x="210" y="1904"/>
                  </a:lnTo>
                  <a:lnTo>
                    <a:pt x="187" y="1895"/>
                  </a:lnTo>
                  <a:lnTo>
                    <a:pt x="166" y="1886"/>
                  </a:lnTo>
                  <a:lnTo>
                    <a:pt x="146" y="1876"/>
                  </a:lnTo>
                  <a:lnTo>
                    <a:pt x="128" y="1863"/>
                  </a:lnTo>
                  <a:lnTo>
                    <a:pt x="109" y="1852"/>
                  </a:lnTo>
                  <a:lnTo>
                    <a:pt x="93" y="1838"/>
                  </a:lnTo>
                  <a:lnTo>
                    <a:pt x="76" y="1825"/>
                  </a:lnTo>
                  <a:lnTo>
                    <a:pt x="62" y="1811"/>
                  </a:lnTo>
                  <a:lnTo>
                    <a:pt x="47" y="1795"/>
                  </a:lnTo>
                  <a:lnTo>
                    <a:pt x="35" y="1780"/>
                  </a:lnTo>
                  <a:lnTo>
                    <a:pt x="23" y="1763"/>
                  </a:lnTo>
                  <a:lnTo>
                    <a:pt x="12" y="1746"/>
                  </a:lnTo>
                  <a:lnTo>
                    <a:pt x="8" y="1738"/>
                  </a:lnTo>
                  <a:lnTo>
                    <a:pt x="5" y="1731"/>
                  </a:lnTo>
                  <a:lnTo>
                    <a:pt x="3" y="1723"/>
                  </a:lnTo>
                  <a:lnTo>
                    <a:pt x="1" y="1716"/>
                  </a:lnTo>
                  <a:lnTo>
                    <a:pt x="0" y="1707"/>
                  </a:lnTo>
                  <a:lnTo>
                    <a:pt x="0" y="1700"/>
                  </a:lnTo>
                  <a:lnTo>
                    <a:pt x="1" y="1692"/>
                  </a:lnTo>
                  <a:lnTo>
                    <a:pt x="2" y="1684"/>
                  </a:lnTo>
                  <a:lnTo>
                    <a:pt x="4" y="1677"/>
                  </a:lnTo>
                  <a:lnTo>
                    <a:pt x="6" y="1669"/>
                  </a:lnTo>
                  <a:lnTo>
                    <a:pt x="10" y="1662"/>
                  </a:lnTo>
                  <a:lnTo>
                    <a:pt x="14" y="1655"/>
                  </a:lnTo>
                  <a:lnTo>
                    <a:pt x="18" y="1649"/>
                  </a:lnTo>
                  <a:lnTo>
                    <a:pt x="24" y="1643"/>
                  </a:lnTo>
                  <a:lnTo>
                    <a:pt x="30" y="1637"/>
                  </a:lnTo>
                  <a:lnTo>
                    <a:pt x="36" y="1632"/>
                  </a:lnTo>
                  <a:close/>
                  <a:moveTo>
                    <a:pt x="664" y="1411"/>
                  </a:moveTo>
                  <a:lnTo>
                    <a:pt x="607" y="1447"/>
                  </a:lnTo>
                  <a:lnTo>
                    <a:pt x="550" y="1484"/>
                  </a:lnTo>
                  <a:lnTo>
                    <a:pt x="493" y="1522"/>
                  </a:lnTo>
                  <a:lnTo>
                    <a:pt x="437" y="1560"/>
                  </a:lnTo>
                  <a:lnTo>
                    <a:pt x="381" y="1598"/>
                  </a:lnTo>
                  <a:lnTo>
                    <a:pt x="324" y="1637"/>
                  </a:lnTo>
                  <a:lnTo>
                    <a:pt x="269" y="1677"/>
                  </a:lnTo>
                  <a:lnTo>
                    <a:pt x="213" y="1716"/>
                  </a:lnTo>
                  <a:lnTo>
                    <a:pt x="222" y="1722"/>
                  </a:lnTo>
                  <a:lnTo>
                    <a:pt x="233" y="1728"/>
                  </a:lnTo>
                  <a:lnTo>
                    <a:pt x="244" y="1734"/>
                  </a:lnTo>
                  <a:lnTo>
                    <a:pt x="255" y="1739"/>
                  </a:lnTo>
                  <a:lnTo>
                    <a:pt x="268" y="1745"/>
                  </a:lnTo>
                  <a:lnTo>
                    <a:pt x="281" y="1750"/>
                  </a:lnTo>
                  <a:lnTo>
                    <a:pt x="295" y="1754"/>
                  </a:lnTo>
                  <a:lnTo>
                    <a:pt x="309" y="1757"/>
                  </a:lnTo>
                  <a:lnTo>
                    <a:pt x="323" y="1761"/>
                  </a:lnTo>
                  <a:lnTo>
                    <a:pt x="339" y="1764"/>
                  </a:lnTo>
                  <a:lnTo>
                    <a:pt x="354" y="1766"/>
                  </a:lnTo>
                  <a:lnTo>
                    <a:pt x="372" y="1768"/>
                  </a:lnTo>
                  <a:lnTo>
                    <a:pt x="388" y="1769"/>
                  </a:lnTo>
                  <a:lnTo>
                    <a:pt x="407" y="1770"/>
                  </a:lnTo>
                  <a:lnTo>
                    <a:pt x="425" y="1770"/>
                  </a:lnTo>
                  <a:lnTo>
                    <a:pt x="445" y="1770"/>
                  </a:lnTo>
                  <a:lnTo>
                    <a:pt x="464" y="1770"/>
                  </a:lnTo>
                  <a:lnTo>
                    <a:pt x="485" y="1769"/>
                  </a:lnTo>
                  <a:lnTo>
                    <a:pt x="507" y="1767"/>
                  </a:lnTo>
                  <a:lnTo>
                    <a:pt x="529" y="1765"/>
                  </a:lnTo>
                  <a:lnTo>
                    <a:pt x="576" y="1759"/>
                  </a:lnTo>
                  <a:lnTo>
                    <a:pt x="625" y="1750"/>
                  </a:lnTo>
                  <a:lnTo>
                    <a:pt x="678" y="1739"/>
                  </a:lnTo>
                  <a:lnTo>
                    <a:pt x="732" y="1726"/>
                  </a:lnTo>
                  <a:lnTo>
                    <a:pt x="791" y="1710"/>
                  </a:lnTo>
                  <a:lnTo>
                    <a:pt x="853" y="1690"/>
                  </a:lnTo>
                  <a:lnTo>
                    <a:pt x="885" y="1680"/>
                  </a:lnTo>
                  <a:lnTo>
                    <a:pt x="918" y="1668"/>
                  </a:lnTo>
                  <a:lnTo>
                    <a:pt x="953" y="1656"/>
                  </a:lnTo>
                  <a:lnTo>
                    <a:pt x="988" y="1643"/>
                  </a:lnTo>
                  <a:lnTo>
                    <a:pt x="1024" y="1629"/>
                  </a:lnTo>
                  <a:lnTo>
                    <a:pt x="1061" y="1614"/>
                  </a:lnTo>
                  <a:lnTo>
                    <a:pt x="1099" y="1598"/>
                  </a:lnTo>
                  <a:lnTo>
                    <a:pt x="1138" y="1582"/>
                  </a:lnTo>
                  <a:lnTo>
                    <a:pt x="1178" y="1564"/>
                  </a:lnTo>
                  <a:lnTo>
                    <a:pt x="1218" y="1546"/>
                  </a:lnTo>
                  <a:lnTo>
                    <a:pt x="1260" y="1527"/>
                  </a:lnTo>
                  <a:lnTo>
                    <a:pt x="1302" y="1508"/>
                  </a:lnTo>
                  <a:lnTo>
                    <a:pt x="1344" y="1487"/>
                  </a:lnTo>
                  <a:lnTo>
                    <a:pt x="1386" y="1465"/>
                  </a:lnTo>
                  <a:lnTo>
                    <a:pt x="1430" y="1444"/>
                  </a:lnTo>
                  <a:lnTo>
                    <a:pt x="1474" y="1421"/>
                  </a:lnTo>
                  <a:lnTo>
                    <a:pt x="1477" y="1419"/>
                  </a:lnTo>
                  <a:lnTo>
                    <a:pt x="1482" y="1416"/>
                  </a:lnTo>
                  <a:lnTo>
                    <a:pt x="1566" y="1357"/>
                  </a:lnTo>
                  <a:lnTo>
                    <a:pt x="1647" y="1299"/>
                  </a:lnTo>
                  <a:lnTo>
                    <a:pt x="1728" y="1243"/>
                  </a:lnTo>
                  <a:lnTo>
                    <a:pt x="1810" y="1187"/>
                  </a:lnTo>
                  <a:lnTo>
                    <a:pt x="1889" y="1132"/>
                  </a:lnTo>
                  <a:lnTo>
                    <a:pt x="1968" y="1079"/>
                  </a:lnTo>
                  <a:lnTo>
                    <a:pt x="2048" y="1026"/>
                  </a:lnTo>
                  <a:lnTo>
                    <a:pt x="2126" y="975"/>
                  </a:lnTo>
                  <a:lnTo>
                    <a:pt x="2204" y="925"/>
                  </a:lnTo>
                  <a:lnTo>
                    <a:pt x="2281" y="876"/>
                  </a:lnTo>
                  <a:lnTo>
                    <a:pt x="2360" y="828"/>
                  </a:lnTo>
                  <a:lnTo>
                    <a:pt x="2437" y="781"/>
                  </a:lnTo>
                  <a:lnTo>
                    <a:pt x="2514" y="734"/>
                  </a:lnTo>
                  <a:lnTo>
                    <a:pt x="2591" y="689"/>
                  </a:lnTo>
                  <a:lnTo>
                    <a:pt x="2669" y="645"/>
                  </a:lnTo>
                  <a:lnTo>
                    <a:pt x="2746" y="601"/>
                  </a:lnTo>
                  <a:lnTo>
                    <a:pt x="2793" y="576"/>
                  </a:lnTo>
                  <a:lnTo>
                    <a:pt x="2842" y="550"/>
                  </a:lnTo>
                  <a:lnTo>
                    <a:pt x="2889" y="524"/>
                  </a:lnTo>
                  <a:lnTo>
                    <a:pt x="2936" y="499"/>
                  </a:lnTo>
                  <a:lnTo>
                    <a:pt x="2985" y="475"/>
                  </a:lnTo>
                  <a:lnTo>
                    <a:pt x="3033" y="450"/>
                  </a:lnTo>
                  <a:lnTo>
                    <a:pt x="3082" y="426"/>
                  </a:lnTo>
                  <a:lnTo>
                    <a:pt x="3130" y="401"/>
                  </a:lnTo>
                  <a:lnTo>
                    <a:pt x="3179" y="379"/>
                  </a:lnTo>
                  <a:lnTo>
                    <a:pt x="3228" y="355"/>
                  </a:lnTo>
                  <a:lnTo>
                    <a:pt x="3277" y="332"/>
                  </a:lnTo>
                  <a:lnTo>
                    <a:pt x="3327" y="309"/>
                  </a:lnTo>
                  <a:lnTo>
                    <a:pt x="3377" y="286"/>
                  </a:lnTo>
                  <a:lnTo>
                    <a:pt x="3428" y="264"/>
                  </a:lnTo>
                  <a:lnTo>
                    <a:pt x="3478" y="242"/>
                  </a:lnTo>
                  <a:lnTo>
                    <a:pt x="3529" y="220"/>
                  </a:lnTo>
                  <a:lnTo>
                    <a:pt x="3459" y="231"/>
                  </a:lnTo>
                  <a:lnTo>
                    <a:pt x="3389" y="244"/>
                  </a:lnTo>
                  <a:lnTo>
                    <a:pt x="3318" y="258"/>
                  </a:lnTo>
                  <a:lnTo>
                    <a:pt x="3247" y="273"/>
                  </a:lnTo>
                  <a:lnTo>
                    <a:pt x="3174" y="289"/>
                  </a:lnTo>
                  <a:lnTo>
                    <a:pt x="3103" y="306"/>
                  </a:lnTo>
                  <a:lnTo>
                    <a:pt x="3031" y="324"/>
                  </a:lnTo>
                  <a:lnTo>
                    <a:pt x="2959" y="344"/>
                  </a:lnTo>
                  <a:lnTo>
                    <a:pt x="2887" y="364"/>
                  </a:lnTo>
                  <a:lnTo>
                    <a:pt x="2815" y="385"/>
                  </a:lnTo>
                  <a:lnTo>
                    <a:pt x="2742" y="408"/>
                  </a:lnTo>
                  <a:lnTo>
                    <a:pt x="2670" y="431"/>
                  </a:lnTo>
                  <a:lnTo>
                    <a:pt x="2597" y="455"/>
                  </a:lnTo>
                  <a:lnTo>
                    <a:pt x="2523" y="481"/>
                  </a:lnTo>
                  <a:lnTo>
                    <a:pt x="2450" y="507"/>
                  </a:lnTo>
                  <a:lnTo>
                    <a:pt x="2378" y="534"/>
                  </a:lnTo>
                  <a:lnTo>
                    <a:pt x="2305" y="562"/>
                  </a:lnTo>
                  <a:lnTo>
                    <a:pt x="2232" y="591"/>
                  </a:lnTo>
                  <a:lnTo>
                    <a:pt x="2159" y="621"/>
                  </a:lnTo>
                  <a:lnTo>
                    <a:pt x="2086" y="652"/>
                  </a:lnTo>
                  <a:lnTo>
                    <a:pt x="2013" y="683"/>
                  </a:lnTo>
                  <a:lnTo>
                    <a:pt x="1939" y="715"/>
                  </a:lnTo>
                  <a:lnTo>
                    <a:pt x="1866" y="749"/>
                  </a:lnTo>
                  <a:lnTo>
                    <a:pt x="1794" y="782"/>
                  </a:lnTo>
                  <a:lnTo>
                    <a:pt x="1721" y="817"/>
                  </a:lnTo>
                  <a:lnTo>
                    <a:pt x="1649" y="852"/>
                  </a:lnTo>
                  <a:lnTo>
                    <a:pt x="1577" y="888"/>
                  </a:lnTo>
                  <a:lnTo>
                    <a:pt x="1505" y="925"/>
                  </a:lnTo>
                  <a:lnTo>
                    <a:pt x="1433" y="962"/>
                  </a:lnTo>
                  <a:lnTo>
                    <a:pt x="1361" y="1000"/>
                  </a:lnTo>
                  <a:lnTo>
                    <a:pt x="1290" y="1040"/>
                  </a:lnTo>
                  <a:lnTo>
                    <a:pt x="1217" y="1079"/>
                  </a:lnTo>
                  <a:lnTo>
                    <a:pt x="1147" y="1118"/>
                  </a:lnTo>
                  <a:lnTo>
                    <a:pt x="1077" y="1158"/>
                  </a:lnTo>
                  <a:lnTo>
                    <a:pt x="1007" y="1199"/>
                  </a:lnTo>
                  <a:lnTo>
                    <a:pt x="938" y="1241"/>
                  </a:lnTo>
                  <a:lnTo>
                    <a:pt x="869" y="1282"/>
                  </a:lnTo>
                  <a:lnTo>
                    <a:pt x="800" y="1324"/>
                  </a:lnTo>
                  <a:lnTo>
                    <a:pt x="732" y="1367"/>
                  </a:lnTo>
                  <a:lnTo>
                    <a:pt x="664" y="14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6" name="Freeform 71"/>
            <p:cNvSpPr>
              <a:spLocks noChangeArrowheads="1"/>
            </p:cNvSpPr>
            <p:nvPr userDrawn="1"/>
          </p:nvSpPr>
          <p:spPr bwMode="auto">
            <a:xfrm>
              <a:off x="2105024" y="1268869"/>
              <a:ext cx="1806575" cy="975673"/>
            </a:xfrm>
            <a:custGeom>
              <a:avLst/>
              <a:gdLst>
                <a:gd name="T0" fmla="*/ 117 w 4027"/>
                <a:gd name="T1" fmla="*/ 1532 h 1768"/>
                <a:gd name="T2" fmla="*/ 354 w 4027"/>
                <a:gd name="T3" fmla="*/ 1369 h 1768"/>
                <a:gd name="T4" fmla="*/ 596 w 4027"/>
                <a:gd name="T5" fmla="*/ 1211 h 1768"/>
                <a:gd name="T6" fmla="*/ 844 w 4027"/>
                <a:gd name="T7" fmla="*/ 1060 h 1768"/>
                <a:gd name="T8" fmla="*/ 1095 w 4027"/>
                <a:gd name="T9" fmla="*/ 914 h 1768"/>
                <a:gd name="T10" fmla="*/ 1351 w 4027"/>
                <a:gd name="T11" fmla="*/ 777 h 1768"/>
                <a:gd name="T12" fmla="*/ 1608 w 4027"/>
                <a:gd name="T13" fmla="*/ 648 h 1768"/>
                <a:gd name="T14" fmla="*/ 1868 w 4027"/>
                <a:gd name="T15" fmla="*/ 529 h 1768"/>
                <a:gd name="T16" fmla="*/ 2127 w 4027"/>
                <a:gd name="T17" fmla="*/ 420 h 1768"/>
                <a:gd name="T18" fmla="*/ 2388 w 4027"/>
                <a:gd name="T19" fmla="*/ 321 h 1768"/>
                <a:gd name="T20" fmla="*/ 2648 w 4027"/>
                <a:gd name="T21" fmla="*/ 234 h 1768"/>
                <a:gd name="T22" fmla="*/ 2906 w 4027"/>
                <a:gd name="T23" fmla="*/ 159 h 1768"/>
                <a:gd name="T24" fmla="*/ 3162 w 4027"/>
                <a:gd name="T25" fmla="*/ 98 h 1768"/>
                <a:gd name="T26" fmla="*/ 3414 w 4027"/>
                <a:gd name="T27" fmla="*/ 51 h 1768"/>
                <a:gd name="T28" fmla="*/ 3663 w 4027"/>
                <a:gd name="T29" fmla="*/ 19 h 1768"/>
                <a:gd name="T30" fmla="*/ 3907 w 4027"/>
                <a:gd name="T31" fmla="*/ 2 h 1768"/>
                <a:gd name="T32" fmla="*/ 3936 w 4027"/>
                <a:gd name="T33" fmla="*/ 32 h 1768"/>
                <a:gd name="T34" fmla="*/ 3759 w 4027"/>
                <a:gd name="T35" fmla="*/ 98 h 1768"/>
                <a:gd name="T36" fmla="*/ 3587 w 4027"/>
                <a:gd name="T37" fmla="*/ 166 h 1768"/>
                <a:gd name="T38" fmla="*/ 3419 w 4027"/>
                <a:gd name="T39" fmla="*/ 237 h 1768"/>
                <a:gd name="T40" fmla="*/ 3255 w 4027"/>
                <a:gd name="T41" fmla="*/ 310 h 1768"/>
                <a:gd name="T42" fmla="*/ 3095 w 4027"/>
                <a:gd name="T43" fmla="*/ 386 h 1768"/>
                <a:gd name="T44" fmla="*/ 2936 w 4027"/>
                <a:gd name="T45" fmla="*/ 465 h 1768"/>
                <a:gd name="T46" fmla="*/ 2780 w 4027"/>
                <a:gd name="T47" fmla="*/ 547 h 1768"/>
                <a:gd name="T48" fmla="*/ 2625 w 4027"/>
                <a:gd name="T49" fmla="*/ 633 h 1768"/>
                <a:gd name="T50" fmla="*/ 2470 w 4027"/>
                <a:gd name="T51" fmla="*/ 723 h 1768"/>
                <a:gd name="T52" fmla="*/ 2316 w 4027"/>
                <a:gd name="T53" fmla="*/ 815 h 1768"/>
                <a:gd name="T54" fmla="*/ 2161 w 4027"/>
                <a:gd name="T55" fmla="*/ 912 h 1768"/>
                <a:gd name="T56" fmla="*/ 2006 w 4027"/>
                <a:gd name="T57" fmla="*/ 1013 h 1768"/>
                <a:gd name="T58" fmla="*/ 1848 w 4027"/>
                <a:gd name="T59" fmla="*/ 1118 h 1768"/>
                <a:gd name="T60" fmla="*/ 1606 w 4027"/>
                <a:gd name="T61" fmla="*/ 1285 h 1768"/>
                <a:gd name="T62" fmla="*/ 1359 w 4027"/>
                <a:gd name="T63" fmla="*/ 1445 h 1768"/>
                <a:gd name="T64" fmla="*/ 1203 w 4027"/>
                <a:gd name="T65" fmla="*/ 1521 h 1768"/>
                <a:gd name="T66" fmla="*/ 1057 w 4027"/>
                <a:gd name="T67" fmla="*/ 1585 h 1768"/>
                <a:gd name="T68" fmla="*/ 922 w 4027"/>
                <a:gd name="T69" fmla="*/ 1640 h 1768"/>
                <a:gd name="T70" fmla="*/ 798 w 4027"/>
                <a:gd name="T71" fmla="*/ 1683 h 1768"/>
                <a:gd name="T72" fmla="*/ 682 w 4027"/>
                <a:gd name="T73" fmla="*/ 1717 h 1768"/>
                <a:gd name="T74" fmla="*/ 576 w 4027"/>
                <a:gd name="T75" fmla="*/ 1743 h 1768"/>
                <a:gd name="T76" fmla="*/ 479 w 4027"/>
                <a:gd name="T77" fmla="*/ 1759 h 1768"/>
                <a:gd name="T78" fmla="*/ 392 w 4027"/>
                <a:gd name="T79" fmla="*/ 1767 h 1768"/>
                <a:gd name="T80" fmla="*/ 314 w 4027"/>
                <a:gd name="T81" fmla="*/ 1767 h 1768"/>
                <a:gd name="T82" fmla="*/ 244 w 4027"/>
                <a:gd name="T83" fmla="*/ 1761 h 1768"/>
                <a:gd name="T84" fmla="*/ 182 w 4027"/>
                <a:gd name="T85" fmla="*/ 1746 h 1768"/>
                <a:gd name="T86" fmla="*/ 128 w 4027"/>
                <a:gd name="T87" fmla="*/ 1727 h 1768"/>
                <a:gd name="T88" fmla="*/ 82 w 4027"/>
                <a:gd name="T89" fmla="*/ 1701 h 1768"/>
                <a:gd name="T90" fmla="*/ 44 w 4027"/>
                <a:gd name="T91" fmla="*/ 1670 h 1768"/>
                <a:gd name="T92" fmla="*/ 13 w 4027"/>
                <a:gd name="T93" fmla="*/ 1635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27" h="1768">
                  <a:moveTo>
                    <a:pt x="0" y="1615"/>
                  </a:moveTo>
                  <a:lnTo>
                    <a:pt x="117" y="1532"/>
                  </a:lnTo>
                  <a:lnTo>
                    <a:pt x="234" y="1449"/>
                  </a:lnTo>
                  <a:lnTo>
                    <a:pt x="354" y="1369"/>
                  </a:lnTo>
                  <a:lnTo>
                    <a:pt x="474" y="1290"/>
                  </a:lnTo>
                  <a:lnTo>
                    <a:pt x="596" y="1211"/>
                  </a:lnTo>
                  <a:lnTo>
                    <a:pt x="719" y="1135"/>
                  </a:lnTo>
                  <a:lnTo>
                    <a:pt x="844" y="1060"/>
                  </a:lnTo>
                  <a:lnTo>
                    <a:pt x="970" y="987"/>
                  </a:lnTo>
                  <a:lnTo>
                    <a:pt x="1095" y="914"/>
                  </a:lnTo>
                  <a:lnTo>
                    <a:pt x="1223" y="845"/>
                  </a:lnTo>
                  <a:lnTo>
                    <a:pt x="1351" y="777"/>
                  </a:lnTo>
                  <a:lnTo>
                    <a:pt x="1480" y="711"/>
                  </a:lnTo>
                  <a:lnTo>
                    <a:pt x="1608" y="648"/>
                  </a:lnTo>
                  <a:lnTo>
                    <a:pt x="1738" y="588"/>
                  </a:lnTo>
                  <a:lnTo>
                    <a:pt x="1868" y="529"/>
                  </a:lnTo>
                  <a:lnTo>
                    <a:pt x="1998" y="473"/>
                  </a:lnTo>
                  <a:lnTo>
                    <a:pt x="2127" y="420"/>
                  </a:lnTo>
                  <a:lnTo>
                    <a:pt x="2258" y="368"/>
                  </a:lnTo>
                  <a:lnTo>
                    <a:pt x="2388" y="321"/>
                  </a:lnTo>
                  <a:lnTo>
                    <a:pt x="2518" y="275"/>
                  </a:lnTo>
                  <a:lnTo>
                    <a:pt x="2648" y="234"/>
                  </a:lnTo>
                  <a:lnTo>
                    <a:pt x="2777" y="195"/>
                  </a:lnTo>
                  <a:lnTo>
                    <a:pt x="2906" y="159"/>
                  </a:lnTo>
                  <a:lnTo>
                    <a:pt x="3034" y="127"/>
                  </a:lnTo>
                  <a:lnTo>
                    <a:pt x="3162" y="98"/>
                  </a:lnTo>
                  <a:lnTo>
                    <a:pt x="3288" y="72"/>
                  </a:lnTo>
                  <a:lnTo>
                    <a:pt x="3414" y="51"/>
                  </a:lnTo>
                  <a:lnTo>
                    <a:pt x="3540" y="33"/>
                  </a:lnTo>
                  <a:lnTo>
                    <a:pt x="3663" y="19"/>
                  </a:lnTo>
                  <a:lnTo>
                    <a:pt x="3786" y="8"/>
                  </a:lnTo>
                  <a:lnTo>
                    <a:pt x="3907" y="2"/>
                  </a:lnTo>
                  <a:lnTo>
                    <a:pt x="4027" y="0"/>
                  </a:lnTo>
                  <a:lnTo>
                    <a:pt x="3936" y="32"/>
                  </a:lnTo>
                  <a:lnTo>
                    <a:pt x="3847" y="65"/>
                  </a:lnTo>
                  <a:lnTo>
                    <a:pt x="3759" y="98"/>
                  </a:lnTo>
                  <a:lnTo>
                    <a:pt x="3672" y="132"/>
                  </a:lnTo>
                  <a:lnTo>
                    <a:pt x="3587" y="166"/>
                  </a:lnTo>
                  <a:lnTo>
                    <a:pt x="3502" y="201"/>
                  </a:lnTo>
                  <a:lnTo>
                    <a:pt x="3419" y="237"/>
                  </a:lnTo>
                  <a:lnTo>
                    <a:pt x="3337" y="273"/>
                  </a:lnTo>
                  <a:lnTo>
                    <a:pt x="3255" y="310"/>
                  </a:lnTo>
                  <a:lnTo>
                    <a:pt x="3175" y="347"/>
                  </a:lnTo>
                  <a:lnTo>
                    <a:pt x="3095" y="386"/>
                  </a:lnTo>
                  <a:lnTo>
                    <a:pt x="3015" y="425"/>
                  </a:lnTo>
                  <a:lnTo>
                    <a:pt x="2936" y="465"/>
                  </a:lnTo>
                  <a:lnTo>
                    <a:pt x="2858" y="506"/>
                  </a:lnTo>
                  <a:lnTo>
                    <a:pt x="2780" y="547"/>
                  </a:lnTo>
                  <a:lnTo>
                    <a:pt x="2702" y="590"/>
                  </a:lnTo>
                  <a:lnTo>
                    <a:pt x="2625" y="633"/>
                  </a:lnTo>
                  <a:lnTo>
                    <a:pt x="2548" y="677"/>
                  </a:lnTo>
                  <a:lnTo>
                    <a:pt x="2470" y="723"/>
                  </a:lnTo>
                  <a:lnTo>
                    <a:pt x="2393" y="768"/>
                  </a:lnTo>
                  <a:lnTo>
                    <a:pt x="2316" y="815"/>
                  </a:lnTo>
                  <a:lnTo>
                    <a:pt x="2240" y="863"/>
                  </a:lnTo>
                  <a:lnTo>
                    <a:pt x="2161" y="912"/>
                  </a:lnTo>
                  <a:lnTo>
                    <a:pt x="2084" y="962"/>
                  </a:lnTo>
                  <a:lnTo>
                    <a:pt x="2006" y="1013"/>
                  </a:lnTo>
                  <a:lnTo>
                    <a:pt x="1927" y="1066"/>
                  </a:lnTo>
                  <a:lnTo>
                    <a:pt x="1848" y="1118"/>
                  </a:lnTo>
                  <a:lnTo>
                    <a:pt x="1768" y="1173"/>
                  </a:lnTo>
                  <a:lnTo>
                    <a:pt x="1606" y="1285"/>
                  </a:lnTo>
                  <a:lnTo>
                    <a:pt x="1441" y="1403"/>
                  </a:lnTo>
                  <a:lnTo>
                    <a:pt x="1359" y="1445"/>
                  </a:lnTo>
                  <a:lnTo>
                    <a:pt x="1280" y="1484"/>
                  </a:lnTo>
                  <a:lnTo>
                    <a:pt x="1203" y="1521"/>
                  </a:lnTo>
                  <a:lnTo>
                    <a:pt x="1129" y="1555"/>
                  </a:lnTo>
                  <a:lnTo>
                    <a:pt x="1057" y="1585"/>
                  </a:lnTo>
                  <a:lnTo>
                    <a:pt x="989" y="1614"/>
                  </a:lnTo>
                  <a:lnTo>
                    <a:pt x="922" y="1640"/>
                  </a:lnTo>
                  <a:lnTo>
                    <a:pt x="858" y="1663"/>
                  </a:lnTo>
                  <a:lnTo>
                    <a:pt x="798" y="1683"/>
                  </a:lnTo>
                  <a:lnTo>
                    <a:pt x="739" y="1702"/>
                  </a:lnTo>
                  <a:lnTo>
                    <a:pt x="682" y="1717"/>
                  </a:lnTo>
                  <a:lnTo>
                    <a:pt x="628" y="1732"/>
                  </a:lnTo>
                  <a:lnTo>
                    <a:pt x="576" y="1743"/>
                  </a:lnTo>
                  <a:lnTo>
                    <a:pt x="527" y="1751"/>
                  </a:lnTo>
                  <a:lnTo>
                    <a:pt x="479" y="1759"/>
                  </a:lnTo>
                  <a:lnTo>
                    <a:pt x="435" y="1764"/>
                  </a:lnTo>
                  <a:lnTo>
                    <a:pt x="392" y="1767"/>
                  </a:lnTo>
                  <a:lnTo>
                    <a:pt x="352" y="1768"/>
                  </a:lnTo>
                  <a:lnTo>
                    <a:pt x="314" y="1767"/>
                  </a:lnTo>
                  <a:lnTo>
                    <a:pt x="278" y="1765"/>
                  </a:lnTo>
                  <a:lnTo>
                    <a:pt x="244" y="1761"/>
                  </a:lnTo>
                  <a:lnTo>
                    <a:pt x="212" y="1755"/>
                  </a:lnTo>
                  <a:lnTo>
                    <a:pt x="182" y="1746"/>
                  </a:lnTo>
                  <a:lnTo>
                    <a:pt x="154" y="1737"/>
                  </a:lnTo>
                  <a:lnTo>
                    <a:pt x="128" y="1727"/>
                  </a:lnTo>
                  <a:lnTo>
                    <a:pt x="104" y="1714"/>
                  </a:lnTo>
                  <a:lnTo>
                    <a:pt x="82" y="1701"/>
                  </a:lnTo>
                  <a:lnTo>
                    <a:pt x="62" y="1686"/>
                  </a:lnTo>
                  <a:lnTo>
                    <a:pt x="44" y="1670"/>
                  </a:lnTo>
                  <a:lnTo>
                    <a:pt x="27" y="1652"/>
                  </a:lnTo>
                  <a:lnTo>
                    <a:pt x="13" y="1635"/>
                  </a:lnTo>
                  <a:lnTo>
                    <a:pt x="0" y="16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7" name="Freeform 72"/>
            <p:cNvSpPr>
              <a:spLocks noChangeArrowheads="1"/>
            </p:cNvSpPr>
            <p:nvPr userDrawn="1"/>
          </p:nvSpPr>
          <p:spPr bwMode="auto">
            <a:xfrm>
              <a:off x="738187" y="3479797"/>
              <a:ext cx="344487" cy="2049806"/>
            </a:xfrm>
            <a:custGeom>
              <a:avLst/>
              <a:gdLst>
                <a:gd name="T0" fmla="*/ 178 w 761"/>
                <a:gd name="T1" fmla="*/ 3487 h 3698"/>
                <a:gd name="T2" fmla="*/ 82 w 761"/>
                <a:gd name="T3" fmla="*/ 3207 h 3698"/>
                <a:gd name="T4" fmla="*/ 29 w 761"/>
                <a:gd name="T5" fmla="*/ 3014 h 3698"/>
                <a:gd name="T6" fmla="*/ 7 w 761"/>
                <a:gd name="T7" fmla="*/ 147 h 3698"/>
                <a:gd name="T8" fmla="*/ 36 w 761"/>
                <a:gd name="T9" fmla="*/ 46 h 3698"/>
                <a:gd name="T10" fmla="*/ 63 w 761"/>
                <a:gd name="T11" fmla="*/ 15 h 3698"/>
                <a:gd name="T12" fmla="*/ 101 w 761"/>
                <a:gd name="T13" fmla="*/ 0 h 3698"/>
                <a:gd name="T14" fmla="*/ 141 w 761"/>
                <a:gd name="T15" fmla="*/ 5 h 3698"/>
                <a:gd name="T16" fmla="*/ 170 w 761"/>
                <a:gd name="T17" fmla="*/ 22 h 3698"/>
                <a:gd name="T18" fmla="*/ 195 w 761"/>
                <a:gd name="T19" fmla="*/ 61 h 3698"/>
                <a:gd name="T20" fmla="*/ 208 w 761"/>
                <a:gd name="T21" fmla="*/ 219 h 3698"/>
                <a:gd name="T22" fmla="*/ 258 w 761"/>
                <a:gd name="T23" fmla="*/ 589 h 3698"/>
                <a:gd name="T24" fmla="*/ 333 w 761"/>
                <a:gd name="T25" fmla="*/ 989 h 3698"/>
                <a:gd name="T26" fmla="*/ 427 w 761"/>
                <a:gd name="T27" fmla="*/ 1403 h 3698"/>
                <a:gd name="T28" fmla="*/ 534 w 761"/>
                <a:gd name="T29" fmla="*/ 1817 h 3698"/>
                <a:gd name="T30" fmla="*/ 642 w 761"/>
                <a:gd name="T31" fmla="*/ 2211 h 3698"/>
                <a:gd name="T32" fmla="*/ 745 w 761"/>
                <a:gd name="T33" fmla="*/ 2568 h 3698"/>
                <a:gd name="T34" fmla="*/ 759 w 761"/>
                <a:gd name="T35" fmla="*/ 2726 h 3698"/>
                <a:gd name="T36" fmla="*/ 756 w 761"/>
                <a:gd name="T37" fmla="*/ 2922 h 3698"/>
                <a:gd name="T38" fmla="*/ 729 w 761"/>
                <a:gd name="T39" fmla="*/ 3079 h 3698"/>
                <a:gd name="T40" fmla="*/ 687 w 761"/>
                <a:gd name="T41" fmla="*/ 3201 h 3698"/>
                <a:gd name="T42" fmla="*/ 632 w 761"/>
                <a:gd name="T43" fmla="*/ 3298 h 3698"/>
                <a:gd name="T44" fmla="*/ 522 w 761"/>
                <a:gd name="T45" fmla="*/ 3433 h 3698"/>
                <a:gd name="T46" fmla="*/ 442 w 761"/>
                <a:gd name="T47" fmla="*/ 3534 h 3698"/>
                <a:gd name="T48" fmla="*/ 414 w 761"/>
                <a:gd name="T49" fmla="*/ 3596 h 3698"/>
                <a:gd name="T50" fmla="*/ 401 w 761"/>
                <a:gd name="T51" fmla="*/ 3650 h 3698"/>
                <a:gd name="T52" fmla="*/ 375 w 761"/>
                <a:gd name="T53" fmla="*/ 3682 h 3698"/>
                <a:gd name="T54" fmla="*/ 338 w 761"/>
                <a:gd name="T55" fmla="*/ 3697 h 3698"/>
                <a:gd name="T56" fmla="*/ 290 w 761"/>
                <a:gd name="T57" fmla="*/ 3692 h 3698"/>
                <a:gd name="T58" fmla="*/ 251 w 761"/>
                <a:gd name="T59" fmla="*/ 3657 h 3698"/>
                <a:gd name="T60" fmla="*/ 266 w 761"/>
                <a:gd name="T61" fmla="*/ 3219 h 3698"/>
                <a:gd name="T62" fmla="*/ 316 w 761"/>
                <a:gd name="T63" fmla="*/ 3368 h 3698"/>
                <a:gd name="T64" fmla="*/ 396 w 761"/>
                <a:gd name="T65" fmla="*/ 3318 h 3698"/>
                <a:gd name="T66" fmla="*/ 485 w 761"/>
                <a:gd name="T67" fmla="*/ 3208 h 3698"/>
                <a:gd name="T68" fmla="*/ 529 w 761"/>
                <a:gd name="T69" fmla="*/ 3127 h 3698"/>
                <a:gd name="T70" fmla="*/ 564 w 761"/>
                <a:gd name="T71" fmla="*/ 3025 h 3698"/>
                <a:gd name="T72" fmla="*/ 586 w 761"/>
                <a:gd name="T73" fmla="*/ 2894 h 3698"/>
                <a:gd name="T74" fmla="*/ 588 w 761"/>
                <a:gd name="T75" fmla="*/ 2728 h 3698"/>
                <a:gd name="T76" fmla="*/ 538 w 761"/>
                <a:gd name="T77" fmla="*/ 2469 h 3698"/>
                <a:gd name="T78" fmla="*/ 431 w 761"/>
                <a:gd name="T79" fmla="*/ 2092 h 3698"/>
                <a:gd name="T80" fmla="*/ 322 w 761"/>
                <a:gd name="T81" fmla="*/ 1689 h 3698"/>
                <a:gd name="T82" fmla="*/ 230 w 761"/>
                <a:gd name="T83" fmla="*/ 1311 h 3698"/>
                <a:gd name="T84" fmla="*/ 176 w 761"/>
                <a:gd name="T85" fmla="*/ 1073 h 3698"/>
                <a:gd name="T86" fmla="*/ 128 w 761"/>
                <a:gd name="T87" fmla="*/ 839 h 3698"/>
                <a:gd name="T88" fmla="*/ 88 w 761"/>
                <a:gd name="T89" fmla="*/ 610 h 3698"/>
                <a:gd name="T90" fmla="*/ 48 w 761"/>
                <a:gd name="T91" fmla="*/ 924 h 3698"/>
                <a:gd name="T92" fmla="*/ 27 w 761"/>
                <a:gd name="T93" fmla="*/ 1250 h 3698"/>
                <a:gd name="T94" fmla="*/ 22 w 761"/>
                <a:gd name="T95" fmla="*/ 1581 h 3698"/>
                <a:gd name="T96" fmla="*/ 34 w 761"/>
                <a:gd name="T97" fmla="*/ 1913 h 3698"/>
                <a:gd name="T98" fmla="*/ 63 w 761"/>
                <a:gd name="T99" fmla="*/ 2242 h 3698"/>
                <a:gd name="T100" fmla="*/ 108 w 761"/>
                <a:gd name="T101" fmla="*/ 2563 h 3698"/>
                <a:gd name="T102" fmla="*/ 169 w 761"/>
                <a:gd name="T103" fmla="*/ 2868 h 3698"/>
                <a:gd name="T104" fmla="*/ 246 w 761"/>
                <a:gd name="T105" fmla="*/ 3157 h 3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1" h="3698">
                  <a:moveTo>
                    <a:pt x="246" y="3648"/>
                  </a:moveTo>
                  <a:lnTo>
                    <a:pt x="244" y="3643"/>
                  </a:lnTo>
                  <a:lnTo>
                    <a:pt x="221" y="3592"/>
                  </a:lnTo>
                  <a:lnTo>
                    <a:pt x="199" y="3539"/>
                  </a:lnTo>
                  <a:lnTo>
                    <a:pt x="178" y="3487"/>
                  </a:lnTo>
                  <a:lnTo>
                    <a:pt x="158" y="3432"/>
                  </a:lnTo>
                  <a:lnTo>
                    <a:pt x="138" y="3378"/>
                  </a:lnTo>
                  <a:lnTo>
                    <a:pt x="118" y="3321"/>
                  </a:lnTo>
                  <a:lnTo>
                    <a:pt x="100" y="3264"/>
                  </a:lnTo>
                  <a:lnTo>
                    <a:pt x="82" y="3207"/>
                  </a:lnTo>
                  <a:lnTo>
                    <a:pt x="71" y="3169"/>
                  </a:lnTo>
                  <a:lnTo>
                    <a:pt x="60" y="3131"/>
                  </a:lnTo>
                  <a:lnTo>
                    <a:pt x="49" y="3092"/>
                  </a:lnTo>
                  <a:lnTo>
                    <a:pt x="39" y="3053"/>
                  </a:lnTo>
                  <a:lnTo>
                    <a:pt x="29" y="3014"/>
                  </a:lnTo>
                  <a:lnTo>
                    <a:pt x="19" y="2974"/>
                  </a:lnTo>
                  <a:lnTo>
                    <a:pt x="9" y="2934"/>
                  </a:lnTo>
                  <a:lnTo>
                    <a:pt x="0" y="2893"/>
                  </a:lnTo>
                  <a:lnTo>
                    <a:pt x="0" y="176"/>
                  </a:lnTo>
                  <a:lnTo>
                    <a:pt x="7" y="147"/>
                  </a:lnTo>
                  <a:lnTo>
                    <a:pt x="14" y="118"/>
                  </a:lnTo>
                  <a:lnTo>
                    <a:pt x="22" y="90"/>
                  </a:lnTo>
                  <a:lnTo>
                    <a:pt x="30" y="61"/>
                  </a:lnTo>
                  <a:lnTo>
                    <a:pt x="32" y="53"/>
                  </a:lnTo>
                  <a:lnTo>
                    <a:pt x="36" y="46"/>
                  </a:lnTo>
                  <a:lnTo>
                    <a:pt x="40" y="39"/>
                  </a:lnTo>
                  <a:lnTo>
                    <a:pt x="45" y="32"/>
                  </a:lnTo>
                  <a:lnTo>
                    <a:pt x="50" y="25"/>
                  </a:lnTo>
                  <a:lnTo>
                    <a:pt x="57" y="19"/>
                  </a:lnTo>
                  <a:lnTo>
                    <a:pt x="63" y="15"/>
                  </a:lnTo>
                  <a:lnTo>
                    <a:pt x="70" y="10"/>
                  </a:lnTo>
                  <a:lnTo>
                    <a:pt x="77" y="7"/>
                  </a:lnTo>
                  <a:lnTo>
                    <a:pt x="84" y="4"/>
                  </a:lnTo>
                  <a:lnTo>
                    <a:pt x="93" y="2"/>
                  </a:lnTo>
                  <a:lnTo>
                    <a:pt x="101" y="0"/>
                  </a:lnTo>
                  <a:lnTo>
                    <a:pt x="109" y="0"/>
                  </a:lnTo>
                  <a:lnTo>
                    <a:pt x="117" y="0"/>
                  </a:lnTo>
                  <a:lnTo>
                    <a:pt x="126" y="1"/>
                  </a:lnTo>
                  <a:lnTo>
                    <a:pt x="135" y="2"/>
                  </a:lnTo>
                  <a:lnTo>
                    <a:pt x="141" y="5"/>
                  </a:lnTo>
                  <a:lnTo>
                    <a:pt x="147" y="7"/>
                  </a:lnTo>
                  <a:lnTo>
                    <a:pt x="153" y="10"/>
                  </a:lnTo>
                  <a:lnTo>
                    <a:pt x="160" y="14"/>
                  </a:lnTo>
                  <a:lnTo>
                    <a:pt x="165" y="18"/>
                  </a:lnTo>
                  <a:lnTo>
                    <a:pt x="170" y="22"/>
                  </a:lnTo>
                  <a:lnTo>
                    <a:pt x="175" y="27"/>
                  </a:lnTo>
                  <a:lnTo>
                    <a:pt x="179" y="33"/>
                  </a:lnTo>
                  <a:lnTo>
                    <a:pt x="186" y="44"/>
                  </a:lnTo>
                  <a:lnTo>
                    <a:pt x="193" y="55"/>
                  </a:lnTo>
                  <a:lnTo>
                    <a:pt x="195" y="61"/>
                  </a:lnTo>
                  <a:lnTo>
                    <a:pt x="196" y="69"/>
                  </a:lnTo>
                  <a:lnTo>
                    <a:pt x="197" y="75"/>
                  </a:lnTo>
                  <a:lnTo>
                    <a:pt x="198" y="82"/>
                  </a:lnTo>
                  <a:lnTo>
                    <a:pt x="202" y="149"/>
                  </a:lnTo>
                  <a:lnTo>
                    <a:pt x="208" y="219"/>
                  </a:lnTo>
                  <a:lnTo>
                    <a:pt x="215" y="290"/>
                  </a:lnTo>
                  <a:lnTo>
                    <a:pt x="225" y="362"/>
                  </a:lnTo>
                  <a:lnTo>
                    <a:pt x="234" y="437"/>
                  </a:lnTo>
                  <a:lnTo>
                    <a:pt x="245" y="513"/>
                  </a:lnTo>
                  <a:lnTo>
                    <a:pt x="258" y="589"/>
                  </a:lnTo>
                  <a:lnTo>
                    <a:pt x="271" y="668"/>
                  </a:lnTo>
                  <a:lnTo>
                    <a:pt x="285" y="747"/>
                  </a:lnTo>
                  <a:lnTo>
                    <a:pt x="300" y="826"/>
                  </a:lnTo>
                  <a:lnTo>
                    <a:pt x="316" y="908"/>
                  </a:lnTo>
                  <a:lnTo>
                    <a:pt x="333" y="989"/>
                  </a:lnTo>
                  <a:lnTo>
                    <a:pt x="350" y="1071"/>
                  </a:lnTo>
                  <a:lnTo>
                    <a:pt x="369" y="1153"/>
                  </a:lnTo>
                  <a:lnTo>
                    <a:pt x="388" y="1236"/>
                  </a:lnTo>
                  <a:lnTo>
                    <a:pt x="407" y="1319"/>
                  </a:lnTo>
                  <a:lnTo>
                    <a:pt x="427" y="1403"/>
                  </a:lnTo>
                  <a:lnTo>
                    <a:pt x="448" y="1486"/>
                  </a:lnTo>
                  <a:lnTo>
                    <a:pt x="469" y="1570"/>
                  </a:lnTo>
                  <a:lnTo>
                    <a:pt x="490" y="1653"/>
                  </a:lnTo>
                  <a:lnTo>
                    <a:pt x="512" y="1736"/>
                  </a:lnTo>
                  <a:lnTo>
                    <a:pt x="534" y="1817"/>
                  </a:lnTo>
                  <a:lnTo>
                    <a:pt x="555" y="1897"/>
                  </a:lnTo>
                  <a:lnTo>
                    <a:pt x="577" y="1978"/>
                  </a:lnTo>
                  <a:lnTo>
                    <a:pt x="598" y="2056"/>
                  </a:lnTo>
                  <a:lnTo>
                    <a:pt x="620" y="2133"/>
                  </a:lnTo>
                  <a:lnTo>
                    <a:pt x="642" y="2211"/>
                  </a:lnTo>
                  <a:lnTo>
                    <a:pt x="663" y="2285"/>
                  </a:lnTo>
                  <a:lnTo>
                    <a:pt x="684" y="2359"/>
                  </a:lnTo>
                  <a:lnTo>
                    <a:pt x="705" y="2430"/>
                  </a:lnTo>
                  <a:lnTo>
                    <a:pt x="725" y="2500"/>
                  </a:lnTo>
                  <a:lnTo>
                    <a:pt x="745" y="2568"/>
                  </a:lnTo>
                  <a:lnTo>
                    <a:pt x="747" y="2577"/>
                  </a:lnTo>
                  <a:lnTo>
                    <a:pt x="748" y="2585"/>
                  </a:lnTo>
                  <a:lnTo>
                    <a:pt x="753" y="2634"/>
                  </a:lnTo>
                  <a:lnTo>
                    <a:pt x="757" y="2681"/>
                  </a:lnTo>
                  <a:lnTo>
                    <a:pt x="759" y="2726"/>
                  </a:lnTo>
                  <a:lnTo>
                    <a:pt x="760" y="2768"/>
                  </a:lnTo>
                  <a:lnTo>
                    <a:pt x="761" y="2810"/>
                  </a:lnTo>
                  <a:lnTo>
                    <a:pt x="760" y="2849"/>
                  </a:lnTo>
                  <a:lnTo>
                    <a:pt x="758" y="2887"/>
                  </a:lnTo>
                  <a:lnTo>
                    <a:pt x="756" y="2922"/>
                  </a:lnTo>
                  <a:lnTo>
                    <a:pt x="752" y="2957"/>
                  </a:lnTo>
                  <a:lnTo>
                    <a:pt x="748" y="2989"/>
                  </a:lnTo>
                  <a:lnTo>
                    <a:pt x="743" y="3021"/>
                  </a:lnTo>
                  <a:lnTo>
                    <a:pt x="736" y="3050"/>
                  </a:lnTo>
                  <a:lnTo>
                    <a:pt x="729" y="3079"/>
                  </a:lnTo>
                  <a:lnTo>
                    <a:pt x="722" y="3105"/>
                  </a:lnTo>
                  <a:lnTo>
                    <a:pt x="714" y="3131"/>
                  </a:lnTo>
                  <a:lnTo>
                    <a:pt x="706" y="3156"/>
                  </a:lnTo>
                  <a:lnTo>
                    <a:pt x="696" y="3179"/>
                  </a:lnTo>
                  <a:lnTo>
                    <a:pt x="687" y="3201"/>
                  </a:lnTo>
                  <a:lnTo>
                    <a:pt x="677" y="3223"/>
                  </a:lnTo>
                  <a:lnTo>
                    <a:pt x="666" y="3243"/>
                  </a:lnTo>
                  <a:lnTo>
                    <a:pt x="655" y="3262"/>
                  </a:lnTo>
                  <a:lnTo>
                    <a:pt x="644" y="3281"/>
                  </a:lnTo>
                  <a:lnTo>
                    <a:pt x="632" y="3298"/>
                  </a:lnTo>
                  <a:lnTo>
                    <a:pt x="620" y="3316"/>
                  </a:lnTo>
                  <a:lnTo>
                    <a:pt x="596" y="3348"/>
                  </a:lnTo>
                  <a:lnTo>
                    <a:pt x="572" y="3378"/>
                  </a:lnTo>
                  <a:lnTo>
                    <a:pt x="547" y="3406"/>
                  </a:lnTo>
                  <a:lnTo>
                    <a:pt x="522" y="3433"/>
                  </a:lnTo>
                  <a:lnTo>
                    <a:pt x="502" y="3456"/>
                  </a:lnTo>
                  <a:lnTo>
                    <a:pt x="483" y="3478"/>
                  </a:lnTo>
                  <a:lnTo>
                    <a:pt x="466" y="3499"/>
                  </a:lnTo>
                  <a:lnTo>
                    <a:pt x="449" y="3522"/>
                  </a:lnTo>
                  <a:lnTo>
                    <a:pt x="442" y="3534"/>
                  </a:lnTo>
                  <a:lnTo>
                    <a:pt x="435" y="3546"/>
                  </a:lnTo>
                  <a:lnTo>
                    <a:pt x="428" y="3558"/>
                  </a:lnTo>
                  <a:lnTo>
                    <a:pt x="423" y="3570"/>
                  </a:lnTo>
                  <a:lnTo>
                    <a:pt x="418" y="3583"/>
                  </a:lnTo>
                  <a:lnTo>
                    <a:pt x="414" y="3596"/>
                  </a:lnTo>
                  <a:lnTo>
                    <a:pt x="411" y="3611"/>
                  </a:lnTo>
                  <a:lnTo>
                    <a:pt x="409" y="3625"/>
                  </a:lnTo>
                  <a:lnTo>
                    <a:pt x="407" y="3633"/>
                  </a:lnTo>
                  <a:lnTo>
                    <a:pt x="404" y="3642"/>
                  </a:lnTo>
                  <a:lnTo>
                    <a:pt x="401" y="3650"/>
                  </a:lnTo>
                  <a:lnTo>
                    <a:pt x="397" y="3657"/>
                  </a:lnTo>
                  <a:lnTo>
                    <a:pt x="392" y="3664"/>
                  </a:lnTo>
                  <a:lnTo>
                    <a:pt x="387" y="3670"/>
                  </a:lnTo>
                  <a:lnTo>
                    <a:pt x="381" y="3677"/>
                  </a:lnTo>
                  <a:lnTo>
                    <a:pt x="375" y="3682"/>
                  </a:lnTo>
                  <a:lnTo>
                    <a:pt x="368" y="3686"/>
                  </a:lnTo>
                  <a:lnTo>
                    <a:pt x="362" y="3690"/>
                  </a:lnTo>
                  <a:lnTo>
                    <a:pt x="353" y="3693"/>
                  </a:lnTo>
                  <a:lnTo>
                    <a:pt x="346" y="3695"/>
                  </a:lnTo>
                  <a:lnTo>
                    <a:pt x="338" y="3697"/>
                  </a:lnTo>
                  <a:lnTo>
                    <a:pt x="329" y="3698"/>
                  </a:lnTo>
                  <a:lnTo>
                    <a:pt x="320" y="3698"/>
                  </a:lnTo>
                  <a:lnTo>
                    <a:pt x="312" y="3697"/>
                  </a:lnTo>
                  <a:lnTo>
                    <a:pt x="301" y="3695"/>
                  </a:lnTo>
                  <a:lnTo>
                    <a:pt x="290" y="3692"/>
                  </a:lnTo>
                  <a:lnTo>
                    <a:pt x="281" y="3687"/>
                  </a:lnTo>
                  <a:lnTo>
                    <a:pt x="272" y="3681"/>
                  </a:lnTo>
                  <a:lnTo>
                    <a:pt x="264" y="3673"/>
                  </a:lnTo>
                  <a:lnTo>
                    <a:pt x="258" y="3666"/>
                  </a:lnTo>
                  <a:lnTo>
                    <a:pt x="251" y="3657"/>
                  </a:lnTo>
                  <a:lnTo>
                    <a:pt x="246" y="3648"/>
                  </a:lnTo>
                  <a:close/>
                  <a:moveTo>
                    <a:pt x="246" y="3157"/>
                  </a:moveTo>
                  <a:lnTo>
                    <a:pt x="255" y="3189"/>
                  </a:lnTo>
                  <a:lnTo>
                    <a:pt x="266" y="3219"/>
                  </a:lnTo>
                  <a:lnTo>
                    <a:pt x="275" y="3250"/>
                  </a:lnTo>
                  <a:lnTo>
                    <a:pt x="285" y="3280"/>
                  </a:lnTo>
                  <a:lnTo>
                    <a:pt x="296" y="3310"/>
                  </a:lnTo>
                  <a:lnTo>
                    <a:pt x="306" y="3339"/>
                  </a:lnTo>
                  <a:lnTo>
                    <a:pt x="316" y="3368"/>
                  </a:lnTo>
                  <a:lnTo>
                    <a:pt x="328" y="3397"/>
                  </a:lnTo>
                  <a:lnTo>
                    <a:pt x="344" y="3378"/>
                  </a:lnTo>
                  <a:lnTo>
                    <a:pt x="361" y="3357"/>
                  </a:lnTo>
                  <a:lnTo>
                    <a:pt x="378" y="3337"/>
                  </a:lnTo>
                  <a:lnTo>
                    <a:pt x="396" y="3318"/>
                  </a:lnTo>
                  <a:lnTo>
                    <a:pt x="416" y="3296"/>
                  </a:lnTo>
                  <a:lnTo>
                    <a:pt x="436" y="3272"/>
                  </a:lnTo>
                  <a:lnTo>
                    <a:pt x="456" y="3248"/>
                  </a:lnTo>
                  <a:lnTo>
                    <a:pt x="476" y="3222"/>
                  </a:lnTo>
                  <a:lnTo>
                    <a:pt x="485" y="3208"/>
                  </a:lnTo>
                  <a:lnTo>
                    <a:pt x="494" y="3193"/>
                  </a:lnTo>
                  <a:lnTo>
                    <a:pt x="504" y="3178"/>
                  </a:lnTo>
                  <a:lnTo>
                    <a:pt x="513" y="3162"/>
                  </a:lnTo>
                  <a:lnTo>
                    <a:pt x="521" y="3146"/>
                  </a:lnTo>
                  <a:lnTo>
                    <a:pt x="529" y="3127"/>
                  </a:lnTo>
                  <a:lnTo>
                    <a:pt x="538" y="3110"/>
                  </a:lnTo>
                  <a:lnTo>
                    <a:pt x="545" y="3090"/>
                  </a:lnTo>
                  <a:lnTo>
                    <a:pt x="552" y="3069"/>
                  </a:lnTo>
                  <a:lnTo>
                    <a:pt x="558" y="3048"/>
                  </a:lnTo>
                  <a:lnTo>
                    <a:pt x="564" y="3025"/>
                  </a:lnTo>
                  <a:lnTo>
                    <a:pt x="570" y="3001"/>
                  </a:lnTo>
                  <a:lnTo>
                    <a:pt x="575" y="2977"/>
                  </a:lnTo>
                  <a:lnTo>
                    <a:pt x="579" y="2951"/>
                  </a:lnTo>
                  <a:lnTo>
                    <a:pt x="583" y="2923"/>
                  </a:lnTo>
                  <a:lnTo>
                    <a:pt x="586" y="2894"/>
                  </a:lnTo>
                  <a:lnTo>
                    <a:pt x="588" y="2864"/>
                  </a:lnTo>
                  <a:lnTo>
                    <a:pt x="589" y="2832"/>
                  </a:lnTo>
                  <a:lnTo>
                    <a:pt x="589" y="2799"/>
                  </a:lnTo>
                  <a:lnTo>
                    <a:pt x="589" y="2764"/>
                  </a:lnTo>
                  <a:lnTo>
                    <a:pt x="588" y="2728"/>
                  </a:lnTo>
                  <a:lnTo>
                    <a:pt x="586" y="2690"/>
                  </a:lnTo>
                  <a:lnTo>
                    <a:pt x="583" y="2651"/>
                  </a:lnTo>
                  <a:lnTo>
                    <a:pt x="579" y="2609"/>
                  </a:lnTo>
                  <a:lnTo>
                    <a:pt x="558" y="2540"/>
                  </a:lnTo>
                  <a:lnTo>
                    <a:pt x="538" y="2469"/>
                  </a:lnTo>
                  <a:lnTo>
                    <a:pt x="517" y="2396"/>
                  </a:lnTo>
                  <a:lnTo>
                    <a:pt x="495" y="2322"/>
                  </a:lnTo>
                  <a:lnTo>
                    <a:pt x="475" y="2247"/>
                  </a:lnTo>
                  <a:lnTo>
                    <a:pt x="453" y="2171"/>
                  </a:lnTo>
                  <a:lnTo>
                    <a:pt x="431" y="2092"/>
                  </a:lnTo>
                  <a:lnTo>
                    <a:pt x="409" y="2013"/>
                  </a:lnTo>
                  <a:lnTo>
                    <a:pt x="387" y="1933"/>
                  </a:lnTo>
                  <a:lnTo>
                    <a:pt x="366" y="1852"/>
                  </a:lnTo>
                  <a:lnTo>
                    <a:pt x="344" y="1771"/>
                  </a:lnTo>
                  <a:lnTo>
                    <a:pt x="322" y="1689"/>
                  </a:lnTo>
                  <a:lnTo>
                    <a:pt x="302" y="1607"/>
                  </a:lnTo>
                  <a:lnTo>
                    <a:pt x="281" y="1524"/>
                  </a:lnTo>
                  <a:lnTo>
                    <a:pt x="261" y="1441"/>
                  </a:lnTo>
                  <a:lnTo>
                    <a:pt x="241" y="1358"/>
                  </a:lnTo>
                  <a:lnTo>
                    <a:pt x="230" y="1311"/>
                  </a:lnTo>
                  <a:lnTo>
                    <a:pt x="218" y="1263"/>
                  </a:lnTo>
                  <a:lnTo>
                    <a:pt x="207" y="1216"/>
                  </a:lnTo>
                  <a:lnTo>
                    <a:pt x="197" y="1168"/>
                  </a:lnTo>
                  <a:lnTo>
                    <a:pt x="186" y="1120"/>
                  </a:lnTo>
                  <a:lnTo>
                    <a:pt x="176" y="1073"/>
                  </a:lnTo>
                  <a:lnTo>
                    <a:pt x="166" y="1025"/>
                  </a:lnTo>
                  <a:lnTo>
                    <a:pt x="157" y="979"/>
                  </a:lnTo>
                  <a:lnTo>
                    <a:pt x="146" y="931"/>
                  </a:lnTo>
                  <a:lnTo>
                    <a:pt x="137" y="885"/>
                  </a:lnTo>
                  <a:lnTo>
                    <a:pt x="128" y="839"/>
                  </a:lnTo>
                  <a:lnTo>
                    <a:pt x="119" y="792"/>
                  </a:lnTo>
                  <a:lnTo>
                    <a:pt x="111" y="746"/>
                  </a:lnTo>
                  <a:lnTo>
                    <a:pt x="103" y="701"/>
                  </a:lnTo>
                  <a:lnTo>
                    <a:pt x="95" y="654"/>
                  </a:lnTo>
                  <a:lnTo>
                    <a:pt x="88" y="610"/>
                  </a:lnTo>
                  <a:lnTo>
                    <a:pt x="78" y="672"/>
                  </a:lnTo>
                  <a:lnTo>
                    <a:pt x="70" y="734"/>
                  </a:lnTo>
                  <a:lnTo>
                    <a:pt x="62" y="797"/>
                  </a:lnTo>
                  <a:lnTo>
                    <a:pt x="55" y="860"/>
                  </a:lnTo>
                  <a:lnTo>
                    <a:pt x="48" y="924"/>
                  </a:lnTo>
                  <a:lnTo>
                    <a:pt x="43" y="989"/>
                  </a:lnTo>
                  <a:lnTo>
                    <a:pt x="38" y="1054"/>
                  </a:lnTo>
                  <a:lnTo>
                    <a:pt x="34" y="1119"/>
                  </a:lnTo>
                  <a:lnTo>
                    <a:pt x="30" y="1184"/>
                  </a:lnTo>
                  <a:lnTo>
                    <a:pt x="27" y="1250"/>
                  </a:lnTo>
                  <a:lnTo>
                    <a:pt x="25" y="1316"/>
                  </a:lnTo>
                  <a:lnTo>
                    <a:pt x="23" y="1382"/>
                  </a:lnTo>
                  <a:lnTo>
                    <a:pt x="22" y="1448"/>
                  </a:lnTo>
                  <a:lnTo>
                    <a:pt x="22" y="1514"/>
                  </a:lnTo>
                  <a:lnTo>
                    <a:pt x="22" y="1581"/>
                  </a:lnTo>
                  <a:lnTo>
                    <a:pt x="24" y="1647"/>
                  </a:lnTo>
                  <a:lnTo>
                    <a:pt x="25" y="1714"/>
                  </a:lnTo>
                  <a:lnTo>
                    <a:pt x="28" y="1780"/>
                  </a:lnTo>
                  <a:lnTo>
                    <a:pt x="31" y="1847"/>
                  </a:lnTo>
                  <a:lnTo>
                    <a:pt x="34" y="1913"/>
                  </a:lnTo>
                  <a:lnTo>
                    <a:pt x="38" y="1979"/>
                  </a:lnTo>
                  <a:lnTo>
                    <a:pt x="43" y="2045"/>
                  </a:lnTo>
                  <a:lnTo>
                    <a:pt x="49" y="2111"/>
                  </a:lnTo>
                  <a:lnTo>
                    <a:pt x="56" y="2177"/>
                  </a:lnTo>
                  <a:lnTo>
                    <a:pt x="63" y="2242"/>
                  </a:lnTo>
                  <a:lnTo>
                    <a:pt x="71" y="2307"/>
                  </a:lnTo>
                  <a:lnTo>
                    <a:pt x="79" y="2372"/>
                  </a:lnTo>
                  <a:lnTo>
                    <a:pt x="89" y="2435"/>
                  </a:lnTo>
                  <a:lnTo>
                    <a:pt x="98" y="2499"/>
                  </a:lnTo>
                  <a:lnTo>
                    <a:pt x="108" y="2563"/>
                  </a:lnTo>
                  <a:lnTo>
                    <a:pt x="119" y="2626"/>
                  </a:lnTo>
                  <a:lnTo>
                    <a:pt x="131" y="2688"/>
                  </a:lnTo>
                  <a:lnTo>
                    <a:pt x="143" y="2749"/>
                  </a:lnTo>
                  <a:lnTo>
                    <a:pt x="156" y="2810"/>
                  </a:lnTo>
                  <a:lnTo>
                    <a:pt x="169" y="2868"/>
                  </a:lnTo>
                  <a:lnTo>
                    <a:pt x="183" y="2927"/>
                  </a:lnTo>
                  <a:lnTo>
                    <a:pt x="198" y="2986"/>
                  </a:lnTo>
                  <a:lnTo>
                    <a:pt x="213" y="3044"/>
                  </a:lnTo>
                  <a:lnTo>
                    <a:pt x="230" y="3101"/>
                  </a:lnTo>
                  <a:lnTo>
                    <a:pt x="246" y="315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8" name="Freeform 73"/>
            <p:cNvSpPr>
              <a:spLocks noChangeArrowheads="1"/>
            </p:cNvSpPr>
            <p:nvPr userDrawn="1"/>
          </p:nvSpPr>
          <p:spPr bwMode="auto">
            <a:xfrm>
              <a:off x="738187" y="3531713"/>
              <a:ext cx="301625" cy="1951344"/>
            </a:xfrm>
            <a:custGeom>
              <a:avLst/>
              <a:gdLst>
                <a:gd name="T0" fmla="*/ 296 w 675"/>
                <a:gd name="T1" fmla="*/ 3465 h 3529"/>
                <a:gd name="T2" fmla="*/ 242 w 675"/>
                <a:gd name="T3" fmla="*/ 3332 h 3529"/>
                <a:gd name="T4" fmla="*/ 194 w 675"/>
                <a:gd name="T5" fmla="*/ 3192 h 3529"/>
                <a:gd name="T6" fmla="*/ 148 w 675"/>
                <a:gd name="T7" fmla="*/ 3046 h 3529"/>
                <a:gd name="T8" fmla="*/ 108 w 675"/>
                <a:gd name="T9" fmla="*/ 2896 h 3529"/>
                <a:gd name="T10" fmla="*/ 72 w 675"/>
                <a:gd name="T11" fmla="*/ 2740 h 3529"/>
                <a:gd name="T12" fmla="*/ 40 w 675"/>
                <a:gd name="T13" fmla="*/ 2581 h 3529"/>
                <a:gd name="T14" fmla="*/ 12 w 675"/>
                <a:gd name="T15" fmla="*/ 2418 h 3529"/>
                <a:gd name="T16" fmla="*/ 0 w 675"/>
                <a:gd name="T17" fmla="*/ 535 h 3529"/>
                <a:gd name="T18" fmla="*/ 23 w 675"/>
                <a:gd name="T19" fmla="*/ 397 h 3529"/>
                <a:gd name="T20" fmla="*/ 48 w 675"/>
                <a:gd name="T21" fmla="*/ 261 h 3529"/>
                <a:gd name="T22" fmla="*/ 78 w 675"/>
                <a:gd name="T23" fmla="*/ 129 h 3529"/>
                <a:gd name="T24" fmla="*/ 112 w 675"/>
                <a:gd name="T25" fmla="*/ 0 h 3529"/>
                <a:gd name="T26" fmla="*/ 123 w 675"/>
                <a:gd name="T27" fmla="*/ 140 h 3529"/>
                <a:gd name="T28" fmla="*/ 139 w 675"/>
                <a:gd name="T29" fmla="*/ 287 h 3529"/>
                <a:gd name="T30" fmla="*/ 161 w 675"/>
                <a:gd name="T31" fmla="*/ 438 h 3529"/>
                <a:gd name="T32" fmla="*/ 186 w 675"/>
                <a:gd name="T33" fmla="*/ 596 h 3529"/>
                <a:gd name="T34" fmla="*/ 215 w 675"/>
                <a:gd name="T35" fmla="*/ 757 h 3529"/>
                <a:gd name="T36" fmla="*/ 249 w 675"/>
                <a:gd name="T37" fmla="*/ 921 h 3529"/>
                <a:gd name="T38" fmla="*/ 285 w 675"/>
                <a:gd name="T39" fmla="*/ 1088 h 3529"/>
                <a:gd name="T40" fmla="*/ 324 w 675"/>
                <a:gd name="T41" fmla="*/ 1255 h 3529"/>
                <a:gd name="T42" fmla="*/ 407 w 675"/>
                <a:gd name="T43" fmla="*/ 1588 h 3529"/>
                <a:gd name="T44" fmla="*/ 493 w 675"/>
                <a:gd name="T45" fmla="*/ 1913 h 3529"/>
                <a:gd name="T46" fmla="*/ 580 w 675"/>
                <a:gd name="T47" fmla="*/ 2223 h 3529"/>
                <a:gd name="T48" fmla="*/ 663 w 675"/>
                <a:gd name="T49" fmla="*/ 2508 h 3529"/>
                <a:gd name="T50" fmla="*/ 674 w 675"/>
                <a:gd name="T51" fmla="*/ 2643 h 3529"/>
                <a:gd name="T52" fmla="*/ 675 w 675"/>
                <a:gd name="T53" fmla="*/ 2760 h 3529"/>
                <a:gd name="T54" fmla="*/ 666 w 675"/>
                <a:gd name="T55" fmla="*/ 2862 h 3529"/>
                <a:gd name="T56" fmla="*/ 652 w 675"/>
                <a:gd name="T57" fmla="*/ 2949 h 3529"/>
                <a:gd name="T58" fmla="*/ 630 w 675"/>
                <a:gd name="T59" fmla="*/ 3025 h 3529"/>
                <a:gd name="T60" fmla="*/ 605 w 675"/>
                <a:gd name="T61" fmla="*/ 3090 h 3529"/>
                <a:gd name="T62" fmla="*/ 574 w 675"/>
                <a:gd name="T63" fmla="*/ 3145 h 3529"/>
                <a:gd name="T64" fmla="*/ 541 w 675"/>
                <a:gd name="T65" fmla="*/ 3194 h 3529"/>
                <a:gd name="T66" fmla="*/ 507 w 675"/>
                <a:gd name="T67" fmla="*/ 3237 h 3529"/>
                <a:gd name="T68" fmla="*/ 472 w 675"/>
                <a:gd name="T69" fmla="*/ 3277 h 3529"/>
                <a:gd name="T70" fmla="*/ 407 w 675"/>
                <a:gd name="T71" fmla="*/ 3351 h 3529"/>
                <a:gd name="T72" fmla="*/ 378 w 675"/>
                <a:gd name="T73" fmla="*/ 3390 h 3529"/>
                <a:gd name="T74" fmla="*/ 354 w 675"/>
                <a:gd name="T75" fmla="*/ 3431 h 3529"/>
                <a:gd name="T76" fmla="*/ 336 w 675"/>
                <a:gd name="T77" fmla="*/ 3477 h 3529"/>
                <a:gd name="T78" fmla="*/ 323 w 675"/>
                <a:gd name="T79" fmla="*/ 3529 h 3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75" h="3529">
                  <a:moveTo>
                    <a:pt x="323" y="3529"/>
                  </a:moveTo>
                  <a:lnTo>
                    <a:pt x="296" y="3465"/>
                  </a:lnTo>
                  <a:lnTo>
                    <a:pt x="269" y="3399"/>
                  </a:lnTo>
                  <a:lnTo>
                    <a:pt x="242" y="3332"/>
                  </a:lnTo>
                  <a:lnTo>
                    <a:pt x="217" y="3263"/>
                  </a:lnTo>
                  <a:lnTo>
                    <a:pt x="194" y="3192"/>
                  </a:lnTo>
                  <a:lnTo>
                    <a:pt x="171" y="3119"/>
                  </a:lnTo>
                  <a:lnTo>
                    <a:pt x="148" y="3046"/>
                  </a:lnTo>
                  <a:lnTo>
                    <a:pt x="128" y="2971"/>
                  </a:lnTo>
                  <a:lnTo>
                    <a:pt x="108" y="2896"/>
                  </a:lnTo>
                  <a:lnTo>
                    <a:pt x="90" y="2818"/>
                  </a:lnTo>
                  <a:lnTo>
                    <a:pt x="72" y="2740"/>
                  </a:lnTo>
                  <a:lnTo>
                    <a:pt x="56" y="2661"/>
                  </a:lnTo>
                  <a:lnTo>
                    <a:pt x="40" y="2581"/>
                  </a:lnTo>
                  <a:lnTo>
                    <a:pt x="26" y="2500"/>
                  </a:lnTo>
                  <a:lnTo>
                    <a:pt x="12" y="2418"/>
                  </a:lnTo>
                  <a:lnTo>
                    <a:pt x="0" y="2336"/>
                  </a:lnTo>
                  <a:lnTo>
                    <a:pt x="0" y="535"/>
                  </a:lnTo>
                  <a:lnTo>
                    <a:pt x="10" y="466"/>
                  </a:lnTo>
                  <a:lnTo>
                    <a:pt x="23" y="397"/>
                  </a:lnTo>
                  <a:lnTo>
                    <a:pt x="35" y="328"/>
                  </a:lnTo>
                  <a:lnTo>
                    <a:pt x="48" y="261"/>
                  </a:lnTo>
                  <a:lnTo>
                    <a:pt x="63" y="194"/>
                  </a:lnTo>
                  <a:lnTo>
                    <a:pt x="78" y="129"/>
                  </a:lnTo>
                  <a:lnTo>
                    <a:pt x="95" y="64"/>
                  </a:lnTo>
                  <a:lnTo>
                    <a:pt x="112" y="0"/>
                  </a:lnTo>
                  <a:lnTo>
                    <a:pt x="116" y="69"/>
                  </a:lnTo>
                  <a:lnTo>
                    <a:pt x="123" y="140"/>
                  </a:lnTo>
                  <a:lnTo>
                    <a:pt x="130" y="212"/>
                  </a:lnTo>
                  <a:lnTo>
                    <a:pt x="139" y="287"/>
                  </a:lnTo>
                  <a:lnTo>
                    <a:pt x="149" y="362"/>
                  </a:lnTo>
                  <a:lnTo>
                    <a:pt x="161" y="438"/>
                  </a:lnTo>
                  <a:lnTo>
                    <a:pt x="173" y="517"/>
                  </a:lnTo>
                  <a:lnTo>
                    <a:pt x="186" y="596"/>
                  </a:lnTo>
                  <a:lnTo>
                    <a:pt x="201" y="676"/>
                  </a:lnTo>
                  <a:lnTo>
                    <a:pt x="215" y="757"/>
                  </a:lnTo>
                  <a:lnTo>
                    <a:pt x="232" y="839"/>
                  </a:lnTo>
                  <a:lnTo>
                    <a:pt x="249" y="921"/>
                  </a:lnTo>
                  <a:lnTo>
                    <a:pt x="267" y="1004"/>
                  </a:lnTo>
                  <a:lnTo>
                    <a:pt x="285" y="1088"/>
                  </a:lnTo>
                  <a:lnTo>
                    <a:pt x="304" y="1171"/>
                  </a:lnTo>
                  <a:lnTo>
                    <a:pt x="324" y="1255"/>
                  </a:lnTo>
                  <a:lnTo>
                    <a:pt x="365" y="1422"/>
                  </a:lnTo>
                  <a:lnTo>
                    <a:pt x="407" y="1588"/>
                  </a:lnTo>
                  <a:lnTo>
                    <a:pt x="450" y="1753"/>
                  </a:lnTo>
                  <a:lnTo>
                    <a:pt x="493" y="1913"/>
                  </a:lnTo>
                  <a:lnTo>
                    <a:pt x="537" y="2071"/>
                  </a:lnTo>
                  <a:lnTo>
                    <a:pt x="580" y="2223"/>
                  </a:lnTo>
                  <a:lnTo>
                    <a:pt x="622" y="2369"/>
                  </a:lnTo>
                  <a:lnTo>
                    <a:pt x="663" y="2508"/>
                  </a:lnTo>
                  <a:lnTo>
                    <a:pt x="670" y="2578"/>
                  </a:lnTo>
                  <a:lnTo>
                    <a:pt x="674" y="2643"/>
                  </a:lnTo>
                  <a:lnTo>
                    <a:pt x="675" y="2704"/>
                  </a:lnTo>
                  <a:lnTo>
                    <a:pt x="675" y="2760"/>
                  </a:lnTo>
                  <a:lnTo>
                    <a:pt x="672" y="2812"/>
                  </a:lnTo>
                  <a:lnTo>
                    <a:pt x="666" y="2862"/>
                  </a:lnTo>
                  <a:lnTo>
                    <a:pt x="660" y="2907"/>
                  </a:lnTo>
                  <a:lnTo>
                    <a:pt x="652" y="2949"/>
                  </a:lnTo>
                  <a:lnTo>
                    <a:pt x="642" y="2989"/>
                  </a:lnTo>
                  <a:lnTo>
                    <a:pt x="630" y="3025"/>
                  </a:lnTo>
                  <a:lnTo>
                    <a:pt x="618" y="3059"/>
                  </a:lnTo>
                  <a:lnTo>
                    <a:pt x="605" y="3090"/>
                  </a:lnTo>
                  <a:lnTo>
                    <a:pt x="589" y="3118"/>
                  </a:lnTo>
                  <a:lnTo>
                    <a:pt x="574" y="3145"/>
                  </a:lnTo>
                  <a:lnTo>
                    <a:pt x="558" y="3170"/>
                  </a:lnTo>
                  <a:lnTo>
                    <a:pt x="541" y="3194"/>
                  </a:lnTo>
                  <a:lnTo>
                    <a:pt x="524" y="3216"/>
                  </a:lnTo>
                  <a:lnTo>
                    <a:pt x="507" y="3237"/>
                  </a:lnTo>
                  <a:lnTo>
                    <a:pt x="489" y="3258"/>
                  </a:lnTo>
                  <a:lnTo>
                    <a:pt x="472" y="3277"/>
                  </a:lnTo>
                  <a:lnTo>
                    <a:pt x="438" y="3314"/>
                  </a:lnTo>
                  <a:lnTo>
                    <a:pt x="407" y="3351"/>
                  </a:lnTo>
                  <a:lnTo>
                    <a:pt x="391" y="3370"/>
                  </a:lnTo>
                  <a:lnTo>
                    <a:pt x="378" y="3390"/>
                  </a:lnTo>
                  <a:lnTo>
                    <a:pt x="366" y="3410"/>
                  </a:lnTo>
                  <a:lnTo>
                    <a:pt x="354" y="3431"/>
                  </a:lnTo>
                  <a:lnTo>
                    <a:pt x="344" y="3453"/>
                  </a:lnTo>
                  <a:lnTo>
                    <a:pt x="336" y="3477"/>
                  </a:lnTo>
                  <a:lnTo>
                    <a:pt x="329" y="3502"/>
                  </a:lnTo>
                  <a:lnTo>
                    <a:pt x="323" y="352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89" name="Freeform 74"/>
            <p:cNvSpPr>
              <a:spLocks noChangeArrowheads="1"/>
            </p:cNvSpPr>
            <p:nvPr userDrawn="1"/>
          </p:nvSpPr>
          <p:spPr bwMode="auto">
            <a:xfrm>
              <a:off x="738187" y="4534239"/>
              <a:ext cx="315912" cy="1747259"/>
            </a:xfrm>
            <a:custGeom>
              <a:avLst/>
              <a:gdLst>
                <a:gd name="T0" fmla="*/ 507 w 707"/>
                <a:gd name="T1" fmla="*/ 3062 h 3163"/>
                <a:gd name="T2" fmla="*/ 385 w 707"/>
                <a:gd name="T3" fmla="*/ 2869 h 3163"/>
                <a:gd name="T4" fmla="*/ 272 w 707"/>
                <a:gd name="T5" fmla="*/ 2666 h 3163"/>
                <a:gd name="T6" fmla="*/ 172 w 707"/>
                <a:gd name="T7" fmla="*/ 2464 h 3163"/>
                <a:gd name="T8" fmla="*/ 82 w 707"/>
                <a:gd name="T9" fmla="*/ 2261 h 3163"/>
                <a:gd name="T10" fmla="*/ 0 w 707"/>
                <a:gd name="T11" fmla="*/ 2052 h 3163"/>
                <a:gd name="T12" fmla="*/ 34 w 707"/>
                <a:gd name="T13" fmla="*/ 1619 h 3163"/>
                <a:gd name="T14" fmla="*/ 88 w 707"/>
                <a:gd name="T15" fmla="*/ 1789 h 3163"/>
                <a:gd name="T16" fmla="*/ 147 w 707"/>
                <a:gd name="T17" fmla="*/ 1956 h 3163"/>
                <a:gd name="T18" fmla="*/ 231 w 707"/>
                <a:gd name="T19" fmla="*/ 2173 h 3163"/>
                <a:gd name="T20" fmla="*/ 323 w 707"/>
                <a:gd name="T21" fmla="*/ 2384 h 3163"/>
                <a:gd name="T22" fmla="*/ 405 w 707"/>
                <a:gd name="T23" fmla="*/ 2552 h 3163"/>
                <a:gd name="T24" fmla="*/ 455 w 707"/>
                <a:gd name="T25" fmla="*/ 2645 h 3163"/>
                <a:gd name="T26" fmla="*/ 507 w 707"/>
                <a:gd name="T27" fmla="*/ 2738 h 3163"/>
                <a:gd name="T28" fmla="*/ 518 w 707"/>
                <a:gd name="T29" fmla="*/ 2664 h 3163"/>
                <a:gd name="T30" fmla="*/ 506 w 707"/>
                <a:gd name="T31" fmla="*/ 2503 h 3163"/>
                <a:gd name="T32" fmla="*/ 493 w 707"/>
                <a:gd name="T33" fmla="*/ 2339 h 3163"/>
                <a:gd name="T34" fmla="*/ 481 w 707"/>
                <a:gd name="T35" fmla="*/ 2194 h 3163"/>
                <a:gd name="T36" fmla="*/ 471 w 707"/>
                <a:gd name="T37" fmla="*/ 2051 h 3163"/>
                <a:gd name="T38" fmla="*/ 461 w 707"/>
                <a:gd name="T39" fmla="*/ 1910 h 3163"/>
                <a:gd name="T40" fmla="*/ 454 w 707"/>
                <a:gd name="T41" fmla="*/ 1775 h 3163"/>
                <a:gd name="T42" fmla="*/ 451 w 707"/>
                <a:gd name="T43" fmla="*/ 1649 h 3163"/>
                <a:gd name="T44" fmla="*/ 388 w 707"/>
                <a:gd name="T45" fmla="*/ 1474 h 3163"/>
                <a:gd name="T46" fmla="*/ 298 w 707"/>
                <a:gd name="T47" fmla="*/ 1272 h 3163"/>
                <a:gd name="T48" fmla="*/ 212 w 707"/>
                <a:gd name="T49" fmla="*/ 1069 h 3163"/>
                <a:gd name="T50" fmla="*/ 130 w 707"/>
                <a:gd name="T51" fmla="*/ 865 h 3163"/>
                <a:gd name="T52" fmla="*/ 50 w 707"/>
                <a:gd name="T53" fmla="*/ 660 h 3163"/>
                <a:gd name="T54" fmla="*/ 0 w 707"/>
                <a:gd name="T55" fmla="*/ 0 h 3163"/>
                <a:gd name="T56" fmla="*/ 25 w 707"/>
                <a:gd name="T57" fmla="*/ 74 h 3163"/>
                <a:gd name="T58" fmla="*/ 49 w 707"/>
                <a:gd name="T59" fmla="*/ 147 h 3163"/>
                <a:gd name="T60" fmla="*/ 96 w 707"/>
                <a:gd name="T61" fmla="*/ 282 h 3163"/>
                <a:gd name="T62" fmla="*/ 188 w 707"/>
                <a:gd name="T63" fmla="*/ 539 h 3163"/>
                <a:gd name="T64" fmla="*/ 285 w 707"/>
                <a:gd name="T65" fmla="*/ 795 h 3163"/>
                <a:gd name="T66" fmla="*/ 388 w 707"/>
                <a:gd name="T67" fmla="*/ 1050 h 3163"/>
                <a:gd name="T68" fmla="*/ 497 w 707"/>
                <a:gd name="T69" fmla="*/ 1302 h 3163"/>
                <a:gd name="T70" fmla="*/ 613 w 707"/>
                <a:gd name="T71" fmla="*/ 1552 h 3163"/>
                <a:gd name="T72" fmla="*/ 621 w 707"/>
                <a:gd name="T73" fmla="*/ 1583 h 3163"/>
                <a:gd name="T74" fmla="*/ 622 w 707"/>
                <a:gd name="T75" fmla="*/ 1673 h 3163"/>
                <a:gd name="T76" fmla="*/ 627 w 707"/>
                <a:gd name="T77" fmla="*/ 1802 h 3163"/>
                <a:gd name="T78" fmla="*/ 634 w 707"/>
                <a:gd name="T79" fmla="*/ 1939 h 3163"/>
                <a:gd name="T80" fmla="*/ 645 w 707"/>
                <a:gd name="T81" fmla="*/ 2082 h 3163"/>
                <a:gd name="T82" fmla="*/ 656 w 707"/>
                <a:gd name="T83" fmla="*/ 2228 h 3163"/>
                <a:gd name="T84" fmla="*/ 667 w 707"/>
                <a:gd name="T85" fmla="*/ 2376 h 3163"/>
                <a:gd name="T86" fmla="*/ 679 w 707"/>
                <a:gd name="T87" fmla="*/ 2526 h 3163"/>
                <a:gd name="T88" fmla="*/ 689 w 707"/>
                <a:gd name="T89" fmla="*/ 2673 h 3163"/>
                <a:gd name="T90" fmla="*/ 698 w 707"/>
                <a:gd name="T91" fmla="*/ 2816 h 3163"/>
                <a:gd name="T92" fmla="*/ 703 w 707"/>
                <a:gd name="T93" fmla="*/ 2951 h 3163"/>
                <a:gd name="T94" fmla="*/ 707 w 707"/>
                <a:gd name="T95" fmla="*/ 3077 h 3163"/>
                <a:gd name="T96" fmla="*/ 702 w 707"/>
                <a:gd name="T97" fmla="*/ 3103 h 3163"/>
                <a:gd name="T98" fmla="*/ 691 w 707"/>
                <a:gd name="T99" fmla="*/ 3125 h 3163"/>
                <a:gd name="T100" fmla="*/ 675 w 707"/>
                <a:gd name="T101" fmla="*/ 3143 h 3163"/>
                <a:gd name="T102" fmla="*/ 654 w 707"/>
                <a:gd name="T103" fmla="*/ 3156 h 3163"/>
                <a:gd name="T104" fmla="*/ 629 w 707"/>
                <a:gd name="T105" fmla="*/ 3163 h 3163"/>
                <a:gd name="T106" fmla="*/ 599 w 707"/>
                <a:gd name="T107" fmla="*/ 3160 h 3163"/>
                <a:gd name="T108" fmla="*/ 572 w 707"/>
                <a:gd name="T109" fmla="*/ 3147 h 3163"/>
                <a:gd name="T110" fmla="*/ 551 w 707"/>
                <a:gd name="T111" fmla="*/ 3126 h 3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7" h="3163">
                  <a:moveTo>
                    <a:pt x="551" y="3126"/>
                  </a:moveTo>
                  <a:lnTo>
                    <a:pt x="549" y="3124"/>
                  </a:lnTo>
                  <a:lnTo>
                    <a:pt x="507" y="3062"/>
                  </a:lnTo>
                  <a:lnTo>
                    <a:pt x="466" y="2999"/>
                  </a:lnTo>
                  <a:lnTo>
                    <a:pt x="424" y="2934"/>
                  </a:lnTo>
                  <a:lnTo>
                    <a:pt x="385" y="2869"/>
                  </a:lnTo>
                  <a:lnTo>
                    <a:pt x="346" y="2802"/>
                  </a:lnTo>
                  <a:lnTo>
                    <a:pt x="309" y="2735"/>
                  </a:lnTo>
                  <a:lnTo>
                    <a:pt x="272" y="2666"/>
                  </a:lnTo>
                  <a:lnTo>
                    <a:pt x="237" y="2597"/>
                  </a:lnTo>
                  <a:lnTo>
                    <a:pt x="204" y="2531"/>
                  </a:lnTo>
                  <a:lnTo>
                    <a:pt x="172" y="2464"/>
                  </a:lnTo>
                  <a:lnTo>
                    <a:pt x="141" y="2397"/>
                  </a:lnTo>
                  <a:lnTo>
                    <a:pt x="111" y="2329"/>
                  </a:lnTo>
                  <a:lnTo>
                    <a:pt x="82" y="2261"/>
                  </a:lnTo>
                  <a:lnTo>
                    <a:pt x="55" y="2191"/>
                  </a:lnTo>
                  <a:lnTo>
                    <a:pt x="27" y="2122"/>
                  </a:lnTo>
                  <a:lnTo>
                    <a:pt x="0" y="2052"/>
                  </a:lnTo>
                  <a:lnTo>
                    <a:pt x="0" y="1504"/>
                  </a:lnTo>
                  <a:lnTo>
                    <a:pt x="16" y="1562"/>
                  </a:lnTo>
                  <a:lnTo>
                    <a:pt x="34" y="1619"/>
                  </a:lnTo>
                  <a:lnTo>
                    <a:pt x="52" y="1675"/>
                  </a:lnTo>
                  <a:lnTo>
                    <a:pt x="70" y="1732"/>
                  </a:lnTo>
                  <a:lnTo>
                    <a:pt x="88" y="1789"/>
                  </a:lnTo>
                  <a:lnTo>
                    <a:pt x="107" y="1844"/>
                  </a:lnTo>
                  <a:lnTo>
                    <a:pt x="127" y="1900"/>
                  </a:lnTo>
                  <a:lnTo>
                    <a:pt x="147" y="1956"/>
                  </a:lnTo>
                  <a:lnTo>
                    <a:pt x="174" y="2029"/>
                  </a:lnTo>
                  <a:lnTo>
                    <a:pt x="202" y="2101"/>
                  </a:lnTo>
                  <a:lnTo>
                    <a:pt x="231" y="2173"/>
                  </a:lnTo>
                  <a:lnTo>
                    <a:pt x="261" y="2243"/>
                  </a:lnTo>
                  <a:lnTo>
                    <a:pt x="291" y="2315"/>
                  </a:lnTo>
                  <a:lnTo>
                    <a:pt x="323" y="2384"/>
                  </a:lnTo>
                  <a:lnTo>
                    <a:pt x="355" y="2453"/>
                  </a:lnTo>
                  <a:lnTo>
                    <a:pt x="389" y="2520"/>
                  </a:lnTo>
                  <a:lnTo>
                    <a:pt x="405" y="2552"/>
                  </a:lnTo>
                  <a:lnTo>
                    <a:pt x="421" y="2584"/>
                  </a:lnTo>
                  <a:lnTo>
                    <a:pt x="438" y="2615"/>
                  </a:lnTo>
                  <a:lnTo>
                    <a:pt x="455" y="2645"/>
                  </a:lnTo>
                  <a:lnTo>
                    <a:pt x="472" y="2676"/>
                  </a:lnTo>
                  <a:lnTo>
                    <a:pt x="489" y="2707"/>
                  </a:lnTo>
                  <a:lnTo>
                    <a:pt x="507" y="2738"/>
                  </a:lnTo>
                  <a:lnTo>
                    <a:pt x="524" y="2768"/>
                  </a:lnTo>
                  <a:lnTo>
                    <a:pt x="521" y="2717"/>
                  </a:lnTo>
                  <a:lnTo>
                    <a:pt x="518" y="2664"/>
                  </a:lnTo>
                  <a:lnTo>
                    <a:pt x="514" y="2611"/>
                  </a:lnTo>
                  <a:lnTo>
                    <a:pt x="510" y="2558"/>
                  </a:lnTo>
                  <a:lnTo>
                    <a:pt x="506" y="2503"/>
                  </a:lnTo>
                  <a:lnTo>
                    <a:pt x="502" y="2450"/>
                  </a:lnTo>
                  <a:lnTo>
                    <a:pt x="497" y="2395"/>
                  </a:lnTo>
                  <a:lnTo>
                    <a:pt x="493" y="2339"/>
                  </a:lnTo>
                  <a:lnTo>
                    <a:pt x="489" y="2291"/>
                  </a:lnTo>
                  <a:lnTo>
                    <a:pt x="485" y="2242"/>
                  </a:lnTo>
                  <a:lnTo>
                    <a:pt x="481" y="2194"/>
                  </a:lnTo>
                  <a:lnTo>
                    <a:pt x="478" y="2145"/>
                  </a:lnTo>
                  <a:lnTo>
                    <a:pt x="474" y="2098"/>
                  </a:lnTo>
                  <a:lnTo>
                    <a:pt x="471" y="2051"/>
                  </a:lnTo>
                  <a:lnTo>
                    <a:pt x="468" y="2003"/>
                  </a:lnTo>
                  <a:lnTo>
                    <a:pt x="465" y="1956"/>
                  </a:lnTo>
                  <a:lnTo>
                    <a:pt x="461" y="1910"/>
                  </a:lnTo>
                  <a:lnTo>
                    <a:pt x="458" y="1865"/>
                  </a:lnTo>
                  <a:lnTo>
                    <a:pt x="456" y="1820"/>
                  </a:lnTo>
                  <a:lnTo>
                    <a:pt x="454" y="1775"/>
                  </a:lnTo>
                  <a:lnTo>
                    <a:pt x="453" y="1732"/>
                  </a:lnTo>
                  <a:lnTo>
                    <a:pt x="451" y="1690"/>
                  </a:lnTo>
                  <a:lnTo>
                    <a:pt x="451" y="1649"/>
                  </a:lnTo>
                  <a:lnTo>
                    <a:pt x="450" y="1608"/>
                  </a:lnTo>
                  <a:lnTo>
                    <a:pt x="419" y="1541"/>
                  </a:lnTo>
                  <a:lnTo>
                    <a:pt x="388" y="1474"/>
                  </a:lnTo>
                  <a:lnTo>
                    <a:pt x="357" y="1407"/>
                  </a:lnTo>
                  <a:lnTo>
                    <a:pt x="328" y="1340"/>
                  </a:lnTo>
                  <a:lnTo>
                    <a:pt x="298" y="1272"/>
                  </a:lnTo>
                  <a:lnTo>
                    <a:pt x="269" y="1205"/>
                  </a:lnTo>
                  <a:lnTo>
                    <a:pt x="240" y="1137"/>
                  </a:lnTo>
                  <a:lnTo>
                    <a:pt x="212" y="1069"/>
                  </a:lnTo>
                  <a:lnTo>
                    <a:pt x="184" y="1001"/>
                  </a:lnTo>
                  <a:lnTo>
                    <a:pt x="157" y="933"/>
                  </a:lnTo>
                  <a:lnTo>
                    <a:pt x="130" y="865"/>
                  </a:lnTo>
                  <a:lnTo>
                    <a:pt x="103" y="797"/>
                  </a:lnTo>
                  <a:lnTo>
                    <a:pt x="76" y="728"/>
                  </a:lnTo>
                  <a:lnTo>
                    <a:pt x="50" y="660"/>
                  </a:lnTo>
                  <a:lnTo>
                    <a:pt x="25" y="591"/>
                  </a:lnTo>
                  <a:lnTo>
                    <a:pt x="0" y="523"/>
                  </a:lnTo>
                  <a:lnTo>
                    <a:pt x="0" y="0"/>
                  </a:lnTo>
                  <a:lnTo>
                    <a:pt x="8" y="25"/>
                  </a:lnTo>
                  <a:lnTo>
                    <a:pt x="16" y="50"/>
                  </a:lnTo>
                  <a:lnTo>
                    <a:pt x="25" y="74"/>
                  </a:lnTo>
                  <a:lnTo>
                    <a:pt x="33" y="98"/>
                  </a:lnTo>
                  <a:lnTo>
                    <a:pt x="41" y="123"/>
                  </a:lnTo>
                  <a:lnTo>
                    <a:pt x="49" y="147"/>
                  </a:lnTo>
                  <a:lnTo>
                    <a:pt x="58" y="171"/>
                  </a:lnTo>
                  <a:lnTo>
                    <a:pt x="66" y="196"/>
                  </a:lnTo>
                  <a:lnTo>
                    <a:pt x="96" y="282"/>
                  </a:lnTo>
                  <a:lnTo>
                    <a:pt x="126" y="367"/>
                  </a:lnTo>
                  <a:lnTo>
                    <a:pt x="157" y="454"/>
                  </a:lnTo>
                  <a:lnTo>
                    <a:pt x="188" y="539"/>
                  </a:lnTo>
                  <a:lnTo>
                    <a:pt x="220" y="625"/>
                  </a:lnTo>
                  <a:lnTo>
                    <a:pt x="252" y="711"/>
                  </a:lnTo>
                  <a:lnTo>
                    <a:pt x="285" y="795"/>
                  </a:lnTo>
                  <a:lnTo>
                    <a:pt x="319" y="880"/>
                  </a:lnTo>
                  <a:lnTo>
                    <a:pt x="354" y="965"/>
                  </a:lnTo>
                  <a:lnTo>
                    <a:pt x="388" y="1050"/>
                  </a:lnTo>
                  <a:lnTo>
                    <a:pt x="424" y="1134"/>
                  </a:lnTo>
                  <a:lnTo>
                    <a:pt x="460" y="1218"/>
                  </a:lnTo>
                  <a:lnTo>
                    <a:pt x="497" y="1302"/>
                  </a:lnTo>
                  <a:lnTo>
                    <a:pt x="536" y="1386"/>
                  </a:lnTo>
                  <a:lnTo>
                    <a:pt x="574" y="1469"/>
                  </a:lnTo>
                  <a:lnTo>
                    <a:pt x="613" y="1552"/>
                  </a:lnTo>
                  <a:lnTo>
                    <a:pt x="617" y="1562"/>
                  </a:lnTo>
                  <a:lnTo>
                    <a:pt x="620" y="1572"/>
                  </a:lnTo>
                  <a:lnTo>
                    <a:pt x="621" y="1583"/>
                  </a:lnTo>
                  <a:lnTo>
                    <a:pt x="621" y="1592"/>
                  </a:lnTo>
                  <a:lnTo>
                    <a:pt x="622" y="1632"/>
                  </a:lnTo>
                  <a:lnTo>
                    <a:pt x="622" y="1673"/>
                  </a:lnTo>
                  <a:lnTo>
                    <a:pt x="623" y="1716"/>
                  </a:lnTo>
                  <a:lnTo>
                    <a:pt x="625" y="1758"/>
                  </a:lnTo>
                  <a:lnTo>
                    <a:pt x="627" y="1802"/>
                  </a:lnTo>
                  <a:lnTo>
                    <a:pt x="629" y="1848"/>
                  </a:lnTo>
                  <a:lnTo>
                    <a:pt x="631" y="1893"/>
                  </a:lnTo>
                  <a:lnTo>
                    <a:pt x="634" y="1939"/>
                  </a:lnTo>
                  <a:lnTo>
                    <a:pt x="638" y="1987"/>
                  </a:lnTo>
                  <a:lnTo>
                    <a:pt x="641" y="2034"/>
                  </a:lnTo>
                  <a:lnTo>
                    <a:pt x="645" y="2082"/>
                  </a:lnTo>
                  <a:lnTo>
                    <a:pt x="648" y="2130"/>
                  </a:lnTo>
                  <a:lnTo>
                    <a:pt x="652" y="2180"/>
                  </a:lnTo>
                  <a:lnTo>
                    <a:pt x="656" y="2228"/>
                  </a:lnTo>
                  <a:lnTo>
                    <a:pt x="659" y="2277"/>
                  </a:lnTo>
                  <a:lnTo>
                    <a:pt x="663" y="2326"/>
                  </a:lnTo>
                  <a:lnTo>
                    <a:pt x="667" y="2376"/>
                  </a:lnTo>
                  <a:lnTo>
                    <a:pt x="672" y="2427"/>
                  </a:lnTo>
                  <a:lnTo>
                    <a:pt x="675" y="2476"/>
                  </a:lnTo>
                  <a:lnTo>
                    <a:pt x="679" y="2526"/>
                  </a:lnTo>
                  <a:lnTo>
                    <a:pt x="683" y="2575"/>
                  </a:lnTo>
                  <a:lnTo>
                    <a:pt x="686" y="2625"/>
                  </a:lnTo>
                  <a:lnTo>
                    <a:pt x="689" y="2673"/>
                  </a:lnTo>
                  <a:lnTo>
                    <a:pt x="693" y="2721"/>
                  </a:lnTo>
                  <a:lnTo>
                    <a:pt x="695" y="2768"/>
                  </a:lnTo>
                  <a:lnTo>
                    <a:pt x="698" y="2816"/>
                  </a:lnTo>
                  <a:lnTo>
                    <a:pt x="700" y="2861"/>
                  </a:lnTo>
                  <a:lnTo>
                    <a:pt x="702" y="2906"/>
                  </a:lnTo>
                  <a:lnTo>
                    <a:pt x="703" y="2951"/>
                  </a:lnTo>
                  <a:lnTo>
                    <a:pt x="706" y="2994"/>
                  </a:lnTo>
                  <a:lnTo>
                    <a:pt x="706" y="3036"/>
                  </a:lnTo>
                  <a:lnTo>
                    <a:pt x="707" y="3077"/>
                  </a:lnTo>
                  <a:lnTo>
                    <a:pt x="706" y="3086"/>
                  </a:lnTo>
                  <a:lnTo>
                    <a:pt x="705" y="3095"/>
                  </a:lnTo>
                  <a:lnTo>
                    <a:pt x="702" y="3103"/>
                  </a:lnTo>
                  <a:lnTo>
                    <a:pt x="699" y="3110"/>
                  </a:lnTo>
                  <a:lnTo>
                    <a:pt x="695" y="3119"/>
                  </a:lnTo>
                  <a:lnTo>
                    <a:pt x="691" y="3125"/>
                  </a:lnTo>
                  <a:lnTo>
                    <a:pt x="686" y="3132"/>
                  </a:lnTo>
                  <a:lnTo>
                    <a:pt x="681" y="3138"/>
                  </a:lnTo>
                  <a:lnTo>
                    <a:pt x="675" y="3143"/>
                  </a:lnTo>
                  <a:lnTo>
                    <a:pt x="668" y="3149"/>
                  </a:lnTo>
                  <a:lnTo>
                    <a:pt x="661" y="3153"/>
                  </a:lnTo>
                  <a:lnTo>
                    <a:pt x="654" y="3156"/>
                  </a:lnTo>
                  <a:lnTo>
                    <a:pt x="646" y="3159"/>
                  </a:lnTo>
                  <a:lnTo>
                    <a:pt x="638" y="3161"/>
                  </a:lnTo>
                  <a:lnTo>
                    <a:pt x="629" y="3163"/>
                  </a:lnTo>
                  <a:lnTo>
                    <a:pt x="621" y="3163"/>
                  </a:lnTo>
                  <a:lnTo>
                    <a:pt x="610" y="3162"/>
                  </a:lnTo>
                  <a:lnTo>
                    <a:pt x="599" y="3160"/>
                  </a:lnTo>
                  <a:lnTo>
                    <a:pt x="590" y="3157"/>
                  </a:lnTo>
                  <a:lnTo>
                    <a:pt x="581" y="3153"/>
                  </a:lnTo>
                  <a:lnTo>
                    <a:pt x="572" y="3147"/>
                  </a:lnTo>
                  <a:lnTo>
                    <a:pt x="564" y="3141"/>
                  </a:lnTo>
                  <a:lnTo>
                    <a:pt x="557" y="3134"/>
                  </a:lnTo>
                  <a:lnTo>
                    <a:pt x="551" y="31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0" name="Freeform 75"/>
            <p:cNvSpPr>
              <a:spLocks noChangeArrowheads="1"/>
            </p:cNvSpPr>
            <p:nvPr userDrawn="1"/>
          </p:nvSpPr>
          <p:spPr bwMode="auto">
            <a:xfrm>
              <a:off x="738187" y="4677456"/>
              <a:ext cx="279400" cy="1561076"/>
            </a:xfrm>
            <a:custGeom>
              <a:avLst/>
              <a:gdLst>
                <a:gd name="T0" fmla="*/ 621 w 621"/>
                <a:gd name="T1" fmla="*/ 2810 h 2810"/>
                <a:gd name="T2" fmla="*/ 596 w 621"/>
                <a:gd name="T3" fmla="*/ 2775 h 2810"/>
                <a:gd name="T4" fmla="*/ 572 w 621"/>
                <a:gd name="T5" fmla="*/ 2739 h 2810"/>
                <a:gd name="T6" fmla="*/ 548 w 621"/>
                <a:gd name="T7" fmla="*/ 2703 h 2810"/>
                <a:gd name="T8" fmla="*/ 525 w 621"/>
                <a:gd name="T9" fmla="*/ 2667 h 2810"/>
                <a:gd name="T10" fmla="*/ 479 w 621"/>
                <a:gd name="T11" fmla="*/ 2593 h 2810"/>
                <a:gd name="T12" fmla="*/ 435 w 621"/>
                <a:gd name="T13" fmla="*/ 2519 h 2810"/>
                <a:gd name="T14" fmla="*/ 391 w 621"/>
                <a:gd name="T15" fmla="*/ 2441 h 2810"/>
                <a:gd name="T16" fmla="*/ 350 w 621"/>
                <a:gd name="T17" fmla="*/ 2364 h 2810"/>
                <a:gd name="T18" fmla="*/ 310 w 621"/>
                <a:gd name="T19" fmla="*/ 2285 h 2810"/>
                <a:gd name="T20" fmla="*/ 271 w 621"/>
                <a:gd name="T21" fmla="*/ 2204 h 2810"/>
                <a:gd name="T22" fmla="*/ 233 w 621"/>
                <a:gd name="T23" fmla="*/ 2123 h 2810"/>
                <a:gd name="T24" fmla="*/ 196 w 621"/>
                <a:gd name="T25" fmla="*/ 2040 h 2810"/>
                <a:gd name="T26" fmla="*/ 160 w 621"/>
                <a:gd name="T27" fmla="*/ 1957 h 2810"/>
                <a:gd name="T28" fmla="*/ 126 w 621"/>
                <a:gd name="T29" fmla="*/ 1872 h 2810"/>
                <a:gd name="T30" fmla="*/ 93 w 621"/>
                <a:gd name="T31" fmla="*/ 1788 h 2810"/>
                <a:gd name="T32" fmla="*/ 61 w 621"/>
                <a:gd name="T33" fmla="*/ 1701 h 2810"/>
                <a:gd name="T34" fmla="*/ 30 w 621"/>
                <a:gd name="T35" fmla="*/ 1615 h 2810"/>
                <a:gd name="T36" fmla="*/ 0 w 621"/>
                <a:gd name="T37" fmla="*/ 1526 h 2810"/>
                <a:gd name="T38" fmla="*/ 0 w 621"/>
                <a:gd name="T39" fmla="*/ 0 h 2810"/>
                <a:gd name="T40" fmla="*/ 29 w 621"/>
                <a:gd name="T41" fmla="*/ 84 h 2810"/>
                <a:gd name="T42" fmla="*/ 59 w 621"/>
                <a:gd name="T43" fmla="*/ 167 h 2810"/>
                <a:gd name="T44" fmla="*/ 90 w 621"/>
                <a:gd name="T45" fmla="*/ 251 h 2810"/>
                <a:gd name="T46" fmla="*/ 121 w 621"/>
                <a:gd name="T47" fmla="*/ 334 h 2810"/>
                <a:gd name="T48" fmla="*/ 151 w 621"/>
                <a:gd name="T49" fmla="*/ 418 h 2810"/>
                <a:gd name="T50" fmla="*/ 183 w 621"/>
                <a:gd name="T51" fmla="*/ 501 h 2810"/>
                <a:gd name="T52" fmla="*/ 216 w 621"/>
                <a:gd name="T53" fmla="*/ 584 h 2810"/>
                <a:gd name="T54" fmla="*/ 249 w 621"/>
                <a:gd name="T55" fmla="*/ 667 h 2810"/>
                <a:gd name="T56" fmla="*/ 282 w 621"/>
                <a:gd name="T57" fmla="*/ 750 h 2810"/>
                <a:gd name="T58" fmla="*/ 317 w 621"/>
                <a:gd name="T59" fmla="*/ 832 h 2810"/>
                <a:gd name="T60" fmla="*/ 351 w 621"/>
                <a:gd name="T61" fmla="*/ 914 h 2810"/>
                <a:gd name="T62" fmla="*/ 387 w 621"/>
                <a:gd name="T63" fmla="*/ 996 h 2810"/>
                <a:gd name="T64" fmla="*/ 423 w 621"/>
                <a:gd name="T65" fmla="*/ 1078 h 2810"/>
                <a:gd name="T66" fmla="*/ 460 w 621"/>
                <a:gd name="T67" fmla="*/ 1160 h 2810"/>
                <a:gd name="T68" fmla="*/ 497 w 621"/>
                <a:gd name="T69" fmla="*/ 1241 h 2810"/>
                <a:gd name="T70" fmla="*/ 536 w 621"/>
                <a:gd name="T71" fmla="*/ 1322 h 2810"/>
                <a:gd name="T72" fmla="*/ 537 w 621"/>
                <a:gd name="T73" fmla="*/ 1404 h 2810"/>
                <a:gd name="T74" fmla="*/ 540 w 621"/>
                <a:gd name="T75" fmla="*/ 1491 h 2810"/>
                <a:gd name="T76" fmla="*/ 544 w 621"/>
                <a:gd name="T77" fmla="*/ 1581 h 2810"/>
                <a:gd name="T78" fmla="*/ 549 w 621"/>
                <a:gd name="T79" fmla="*/ 1674 h 2810"/>
                <a:gd name="T80" fmla="*/ 555 w 621"/>
                <a:gd name="T81" fmla="*/ 1770 h 2810"/>
                <a:gd name="T82" fmla="*/ 562 w 621"/>
                <a:gd name="T83" fmla="*/ 1868 h 2810"/>
                <a:gd name="T84" fmla="*/ 571 w 621"/>
                <a:gd name="T85" fmla="*/ 1967 h 2810"/>
                <a:gd name="T86" fmla="*/ 578 w 621"/>
                <a:gd name="T87" fmla="*/ 2066 h 2810"/>
                <a:gd name="T88" fmla="*/ 586 w 621"/>
                <a:gd name="T89" fmla="*/ 2166 h 2810"/>
                <a:gd name="T90" fmla="*/ 593 w 621"/>
                <a:gd name="T91" fmla="*/ 2265 h 2810"/>
                <a:gd name="T92" fmla="*/ 600 w 621"/>
                <a:gd name="T93" fmla="*/ 2362 h 2810"/>
                <a:gd name="T94" fmla="*/ 608 w 621"/>
                <a:gd name="T95" fmla="*/ 2458 h 2810"/>
                <a:gd name="T96" fmla="*/ 613 w 621"/>
                <a:gd name="T97" fmla="*/ 2552 h 2810"/>
                <a:gd name="T98" fmla="*/ 617 w 621"/>
                <a:gd name="T99" fmla="*/ 2641 h 2810"/>
                <a:gd name="T100" fmla="*/ 620 w 621"/>
                <a:gd name="T101" fmla="*/ 2728 h 2810"/>
                <a:gd name="T102" fmla="*/ 621 w 621"/>
                <a:gd name="T103" fmla="*/ 2810 h 2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2810">
                  <a:moveTo>
                    <a:pt x="621" y="2810"/>
                  </a:moveTo>
                  <a:lnTo>
                    <a:pt x="596" y="2775"/>
                  </a:lnTo>
                  <a:lnTo>
                    <a:pt x="572" y="2739"/>
                  </a:lnTo>
                  <a:lnTo>
                    <a:pt x="548" y="2703"/>
                  </a:lnTo>
                  <a:lnTo>
                    <a:pt x="525" y="2667"/>
                  </a:lnTo>
                  <a:lnTo>
                    <a:pt x="479" y="2593"/>
                  </a:lnTo>
                  <a:lnTo>
                    <a:pt x="435" y="2519"/>
                  </a:lnTo>
                  <a:lnTo>
                    <a:pt x="391" y="2441"/>
                  </a:lnTo>
                  <a:lnTo>
                    <a:pt x="350" y="2364"/>
                  </a:lnTo>
                  <a:lnTo>
                    <a:pt x="310" y="2285"/>
                  </a:lnTo>
                  <a:lnTo>
                    <a:pt x="271" y="2204"/>
                  </a:lnTo>
                  <a:lnTo>
                    <a:pt x="233" y="2123"/>
                  </a:lnTo>
                  <a:lnTo>
                    <a:pt x="196" y="2040"/>
                  </a:lnTo>
                  <a:lnTo>
                    <a:pt x="160" y="1957"/>
                  </a:lnTo>
                  <a:lnTo>
                    <a:pt x="126" y="1872"/>
                  </a:lnTo>
                  <a:lnTo>
                    <a:pt x="93" y="1788"/>
                  </a:lnTo>
                  <a:lnTo>
                    <a:pt x="61" y="1701"/>
                  </a:lnTo>
                  <a:lnTo>
                    <a:pt x="30" y="1615"/>
                  </a:lnTo>
                  <a:lnTo>
                    <a:pt x="0" y="1526"/>
                  </a:lnTo>
                  <a:lnTo>
                    <a:pt x="0" y="0"/>
                  </a:lnTo>
                  <a:lnTo>
                    <a:pt x="29" y="84"/>
                  </a:lnTo>
                  <a:lnTo>
                    <a:pt x="59" y="167"/>
                  </a:lnTo>
                  <a:lnTo>
                    <a:pt x="90" y="251"/>
                  </a:lnTo>
                  <a:lnTo>
                    <a:pt x="121" y="334"/>
                  </a:lnTo>
                  <a:lnTo>
                    <a:pt x="151" y="418"/>
                  </a:lnTo>
                  <a:lnTo>
                    <a:pt x="183" y="501"/>
                  </a:lnTo>
                  <a:lnTo>
                    <a:pt x="216" y="584"/>
                  </a:lnTo>
                  <a:lnTo>
                    <a:pt x="249" y="667"/>
                  </a:lnTo>
                  <a:lnTo>
                    <a:pt x="282" y="750"/>
                  </a:lnTo>
                  <a:lnTo>
                    <a:pt x="317" y="832"/>
                  </a:lnTo>
                  <a:lnTo>
                    <a:pt x="351" y="914"/>
                  </a:lnTo>
                  <a:lnTo>
                    <a:pt x="387" y="996"/>
                  </a:lnTo>
                  <a:lnTo>
                    <a:pt x="423" y="1078"/>
                  </a:lnTo>
                  <a:lnTo>
                    <a:pt x="460" y="1160"/>
                  </a:lnTo>
                  <a:lnTo>
                    <a:pt x="497" y="1241"/>
                  </a:lnTo>
                  <a:lnTo>
                    <a:pt x="536" y="1322"/>
                  </a:lnTo>
                  <a:lnTo>
                    <a:pt x="537" y="1404"/>
                  </a:lnTo>
                  <a:lnTo>
                    <a:pt x="540" y="1491"/>
                  </a:lnTo>
                  <a:lnTo>
                    <a:pt x="544" y="1581"/>
                  </a:lnTo>
                  <a:lnTo>
                    <a:pt x="549" y="1674"/>
                  </a:lnTo>
                  <a:lnTo>
                    <a:pt x="555" y="1770"/>
                  </a:lnTo>
                  <a:lnTo>
                    <a:pt x="562" y="1868"/>
                  </a:lnTo>
                  <a:lnTo>
                    <a:pt x="571" y="1967"/>
                  </a:lnTo>
                  <a:lnTo>
                    <a:pt x="578" y="2066"/>
                  </a:lnTo>
                  <a:lnTo>
                    <a:pt x="586" y="2166"/>
                  </a:lnTo>
                  <a:lnTo>
                    <a:pt x="593" y="2265"/>
                  </a:lnTo>
                  <a:lnTo>
                    <a:pt x="600" y="2362"/>
                  </a:lnTo>
                  <a:lnTo>
                    <a:pt x="608" y="2458"/>
                  </a:lnTo>
                  <a:lnTo>
                    <a:pt x="613" y="2552"/>
                  </a:lnTo>
                  <a:lnTo>
                    <a:pt x="617" y="2641"/>
                  </a:lnTo>
                  <a:lnTo>
                    <a:pt x="620" y="2728"/>
                  </a:lnTo>
                  <a:lnTo>
                    <a:pt x="621" y="28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1" name="Freeform 76"/>
            <p:cNvSpPr>
              <a:spLocks noChangeArrowheads="1"/>
            </p:cNvSpPr>
            <p:nvPr userDrawn="1"/>
          </p:nvSpPr>
          <p:spPr bwMode="auto">
            <a:xfrm>
              <a:off x="2178049" y="772978"/>
              <a:ext cx="1627188" cy="1224513"/>
            </a:xfrm>
            <a:custGeom>
              <a:avLst/>
              <a:gdLst>
                <a:gd name="T0" fmla="*/ 57 w 3604"/>
                <a:gd name="T1" fmla="*/ 2029 h 2212"/>
                <a:gd name="T2" fmla="*/ 218 w 3604"/>
                <a:gd name="T3" fmla="*/ 1859 h 2212"/>
                <a:gd name="T4" fmla="*/ 407 w 3604"/>
                <a:gd name="T5" fmla="*/ 1682 h 2212"/>
                <a:gd name="T6" fmla="*/ 619 w 3604"/>
                <a:gd name="T7" fmla="*/ 1502 h 2212"/>
                <a:gd name="T8" fmla="*/ 868 w 3604"/>
                <a:gd name="T9" fmla="*/ 1311 h 2212"/>
                <a:gd name="T10" fmla="*/ 1191 w 3604"/>
                <a:gd name="T11" fmla="*/ 1085 h 2212"/>
                <a:gd name="T12" fmla="*/ 1534 w 3604"/>
                <a:gd name="T13" fmla="*/ 865 h 2212"/>
                <a:gd name="T14" fmla="*/ 1890 w 3604"/>
                <a:gd name="T15" fmla="*/ 658 h 2212"/>
                <a:gd name="T16" fmla="*/ 2250 w 3604"/>
                <a:gd name="T17" fmla="*/ 469 h 2212"/>
                <a:gd name="T18" fmla="*/ 2606 w 3604"/>
                <a:gd name="T19" fmla="*/ 302 h 2212"/>
                <a:gd name="T20" fmla="*/ 2950 w 3604"/>
                <a:gd name="T21" fmla="*/ 163 h 2212"/>
                <a:gd name="T22" fmla="*/ 3276 w 3604"/>
                <a:gd name="T23" fmla="*/ 57 h 2212"/>
                <a:gd name="T24" fmla="*/ 3511 w 3604"/>
                <a:gd name="T25" fmla="*/ 0 h 2212"/>
                <a:gd name="T26" fmla="*/ 3544 w 3604"/>
                <a:gd name="T27" fmla="*/ 4 h 2212"/>
                <a:gd name="T28" fmla="*/ 3572 w 3604"/>
                <a:gd name="T29" fmla="*/ 20 h 2212"/>
                <a:gd name="T30" fmla="*/ 3594 w 3604"/>
                <a:gd name="T31" fmla="*/ 46 h 2212"/>
                <a:gd name="T32" fmla="*/ 3603 w 3604"/>
                <a:gd name="T33" fmla="*/ 77 h 2212"/>
                <a:gd name="T34" fmla="*/ 3601 w 3604"/>
                <a:gd name="T35" fmla="*/ 110 h 2212"/>
                <a:gd name="T36" fmla="*/ 3578 w 3604"/>
                <a:gd name="T37" fmla="*/ 149 h 2212"/>
                <a:gd name="T38" fmla="*/ 3559 w 3604"/>
                <a:gd name="T39" fmla="*/ 162 h 2212"/>
                <a:gd name="T40" fmla="*/ 3343 w 3604"/>
                <a:gd name="T41" fmla="*/ 310 h 2212"/>
                <a:gd name="T42" fmla="*/ 3127 w 3604"/>
                <a:gd name="T43" fmla="*/ 468 h 2212"/>
                <a:gd name="T44" fmla="*/ 2700 w 3604"/>
                <a:gd name="T45" fmla="*/ 818 h 2212"/>
                <a:gd name="T46" fmla="*/ 2279 w 3604"/>
                <a:gd name="T47" fmla="*/ 1190 h 2212"/>
                <a:gd name="T48" fmla="*/ 1869 w 3604"/>
                <a:gd name="T49" fmla="*/ 1567 h 2212"/>
                <a:gd name="T50" fmla="*/ 1811 w 3604"/>
                <a:gd name="T51" fmla="*/ 1613 h 2212"/>
                <a:gd name="T52" fmla="*/ 1697 w 3604"/>
                <a:gd name="T53" fmla="*/ 1648 h 2212"/>
                <a:gd name="T54" fmla="*/ 1507 w 3604"/>
                <a:gd name="T55" fmla="*/ 1712 h 2212"/>
                <a:gd name="T56" fmla="*/ 1278 w 3604"/>
                <a:gd name="T57" fmla="*/ 1795 h 2212"/>
                <a:gd name="T58" fmla="*/ 1024 w 3604"/>
                <a:gd name="T59" fmla="*/ 1887 h 2212"/>
                <a:gd name="T60" fmla="*/ 764 w 3604"/>
                <a:gd name="T61" fmla="*/ 1982 h 2212"/>
                <a:gd name="T62" fmla="*/ 516 w 3604"/>
                <a:gd name="T63" fmla="*/ 2071 h 2212"/>
                <a:gd name="T64" fmla="*/ 301 w 3604"/>
                <a:gd name="T65" fmla="*/ 2146 h 2212"/>
                <a:gd name="T66" fmla="*/ 139 w 3604"/>
                <a:gd name="T67" fmla="*/ 2200 h 2212"/>
                <a:gd name="T68" fmla="*/ 84 w 3604"/>
                <a:gd name="T69" fmla="*/ 2212 h 2212"/>
                <a:gd name="T70" fmla="*/ 52 w 3604"/>
                <a:gd name="T71" fmla="*/ 2205 h 2212"/>
                <a:gd name="T72" fmla="*/ 25 w 3604"/>
                <a:gd name="T73" fmla="*/ 2187 h 2212"/>
                <a:gd name="T74" fmla="*/ 7 w 3604"/>
                <a:gd name="T75" fmla="*/ 2159 h 2212"/>
                <a:gd name="T76" fmla="*/ 0 w 3604"/>
                <a:gd name="T77" fmla="*/ 2119 h 2212"/>
                <a:gd name="T78" fmla="*/ 14 w 3604"/>
                <a:gd name="T79" fmla="*/ 2081 h 2212"/>
                <a:gd name="T80" fmla="*/ 448 w 3604"/>
                <a:gd name="T81" fmla="*/ 1874 h 2212"/>
                <a:gd name="T82" fmla="*/ 439 w 3604"/>
                <a:gd name="T83" fmla="*/ 1918 h 2212"/>
                <a:gd name="T84" fmla="*/ 697 w 3604"/>
                <a:gd name="T85" fmla="*/ 1825 h 2212"/>
                <a:gd name="T86" fmla="*/ 964 w 3604"/>
                <a:gd name="T87" fmla="*/ 1727 h 2212"/>
                <a:gd name="T88" fmla="*/ 1213 w 3604"/>
                <a:gd name="T89" fmla="*/ 1636 h 2212"/>
                <a:gd name="T90" fmla="*/ 1440 w 3604"/>
                <a:gd name="T91" fmla="*/ 1555 h 2212"/>
                <a:gd name="T92" fmla="*/ 1630 w 3604"/>
                <a:gd name="T93" fmla="*/ 1490 h 2212"/>
                <a:gd name="T94" fmla="*/ 1753 w 3604"/>
                <a:gd name="T95" fmla="*/ 1440 h 2212"/>
                <a:gd name="T96" fmla="*/ 2071 w 3604"/>
                <a:gd name="T97" fmla="*/ 1149 h 2212"/>
                <a:gd name="T98" fmla="*/ 2394 w 3604"/>
                <a:gd name="T99" fmla="*/ 856 h 2212"/>
                <a:gd name="T100" fmla="*/ 2725 w 3604"/>
                <a:gd name="T101" fmla="*/ 572 h 2212"/>
                <a:gd name="T102" fmla="*/ 3059 w 3604"/>
                <a:gd name="T103" fmla="*/ 306 h 2212"/>
                <a:gd name="T104" fmla="*/ 2793 w 3604"/>
                <a:gd name="T105" fmla="*/ 408 h 2212"/>
                <a:gd name="T106" fmla="*/ 2518 w 3604"/>
                <a:gd name="T107" fmla="*/ 529 h 2212"/>
                <a:gd name="T108" fmla="*/ 2238 w 3604"/>
                <a:gd name="T109" fmla="*/ 666 h 2212"/>
                <a:gd name="T110" fmla="*/ 1955 w 3604"/>
                <a:gd name="T111" fmla="*/ 818 h 2212"/>
                <a:gd name="T112" fmla="*/ 1676 w 3604"/>
                <a:gd name="T113" fmla="*/ 980 h 2212"/>
                <a:gd name="T114" fmla="*/ 1403 w 3604"/>
                <a:gd name="T115" fmla="*/ 1150 h 2212"/>
                <a:gd name="T116" fmla="*/ 1142 w 3604"/>
                <a:gd name="T117" fmla="*/ 1326 h 2212"/>
                <a:gd name="T118" fmla="*/ 893 w 3604"/>
                <a:gd name="T119" fmla="*/ 1505 h 2212"/>
                <a:gd name="T120" fmla="*/ 671 w 3604"/>
                <a:gd name="T121" fmla="*/ 1681 h 2212"/>
                <a:gd name="T122" fmla="*/ 472 w 3604"/>
                <a:gd name="T123" fmla="*/ 1853 h 2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04" h="2212">
                  <a:moveTo>
                    <a:pt x="20" y="2072"/>
                  </a:moveTo>
                  <a:lnTo>
                    <a:pt x="21" y="2070"/>
                  </a:lnTo>
                  <a:lnTo>
                    <a:pt x="22" y="2070"/>
                  </a:lnTo>
                  <a:lnTo>
                    <a:pt x="57" y="2029"/>
                  </a:lnTo>
                  <a:lnTo>
                    <a:pt x="94" y="1987"/>
                  </a:lnTo>
                  <a:lnTo>
                    <a:pt x="133" y="1944"/>
                  </a:lnTo>
                  <a:lnTo>
                    <a:pt x="174" y="1901"/>
                  </a:lnTo>
                  <a:lnTo>
                    <a:pt x="218" y="1859"/>
                  </a:lnTo>
                  <a:lnTo>
                    <a:pt x="262" y="1815"/>
                  </a:lnTo>
                  <a:lnTo>
                    <a:pt x="309" y="1770"/>
                  </a:lnTo>
                  <a:lnTo>
                    <a:pt x="358" y="1726"/>
                  </a:lnTo>
                  <a:lnTo>
                    <a:pt x="407" y="1682"/>
                  </a:lnTo>
                  <a:lnTo>
                    <a:pt x="459" y="1636"/>
                  </a:lnTo>
                  <a:lnTo>
                    <a:pt x="511" y="1592"/>
                  </a:lnTo>
                  <a:lnTo>
                    <a:pt x="565" y="1548"/>
                  </a:lnTo>
                  <a:lnTo>
                    <a:pt x="619" y="1502"/>
                  </a:lnTo>
                  <a:lnTo>
                    <a:pt x="676" y="1458"/>
                  </a:lnTo>
                  <a:lnTo>
                    <a:pt x="733" y="1414"/>
                  </a:lnTo>
                  <a:lnTo>
                    <a:pt x="791" y="1369"/>
                  </a:lnTo>
                  <a:lnTo>
                    <a:pt x="868" y="1311"/>
                  </a:lnTo>
                  <a:lnTo>
                    <a:pt x="946" y="1255"/>
                  </a:lnTo>
                  <a:lnTo>
                    <a:pt x="1026" y="1197"/>
                  </a:lnTo>
                  <a:lnTo>
                    <a:pt x="1108" y="1140"/>
                  </a:lnTo>
                  <a:lnTo>
                    <a:pt x="1191" y="1085"/>
                  </a:lnTo>
                  <a:lnTo>
                    <a:pt x="1276" y="1029"/>
                  </a:lnTo>
                  <a:lnTo>
                    <a:pt x="1361" y="973"/>
                  </a:lnTo>
                  <a:lnTo>
                    <a:pt x="1448" y="919"/>
                  </a:lnTo>
                  <a:lnTo>
                    <a:pt x="1534" y="865"/>
                  </a:lnTo>
                  <a:lnTo>
                    <a:pt x="1623" y="812"/>
                  </a:lnTo>
                  <a:lnTo>
                    <a:pt x="1711" y="760"/>
                  </a:lnTo>
                  <a:lnTo>
                    <a:pt x="1801" y="708"/>
                  </a:lnTo>
                  <a:lnTo>
                    <a:pt x="1890" y="658"/>
                  </a:lnTo>
                  <a:lnTo>
                    <a:pt x="1980" y="608"/>
                  </a:lnTo>
                  <a:lnTo>
                    <a:pt x="2070" y="561"/>
                  </a:lnTo>
                  <a:lnTo>
                    <a:pt x="2160" y="515"/>
                  </a:lnTo>
                  <a:lnTo>
                    <a:pt x="2250" y="469"/>
                  </a:lnTo>
                  <a:lnTo>
                    <a:pt x="2339" y="425"/>
                  </a:lnTo>
                  <a:lnTo>
                    <a:pt x="2429" y="383"/>
                  </a:lnTo>
                  <a:lnTo>
                    <a:pt x="2518" y="341"/>
                  </a:lnTo>
                  <a:lnTo>
                    <a:pt x="2606" y="302"/>
                  </a:lnTo>
                  <a:lnTo>
                    <a:pt x="2693" y="265"/>
                  </a:lnTo>
                  <a:lnTo>
                    <a:pt x="2780" y="229"/>
                  </a:lnTo>
                  <a:lnTo>
                    <a:pt x="2866" y="195"/>
                  </a:lnTo>
                  <a:lnTo>
                    <a:pt x="2950" y="163"/>
                  </a:lnTo>
                  <a:lnTo>
                    <a:pt x="3034" y="133"/>
                  </a:lnTo>
                  <a:lnTo>
                    <a:pt x="3116" y="105"/>
                  </a:lnTo>
                  <a:lnTo>
                    <a:pt x="3196" y="81"/>
                  </a:lnTo>
                  <a:lnTo>
                    <a:pt x="3276" y="57"/>
                  </a:lnTo>
                  <a:lnTo>
                    <a:pt x="3353" y="36"/>
                  </a:lnTo>
                  <a:lnTo>
                    <a:pt x="3428" y="18"/>
                  </a:lnTo>
                  <a:lnTo>
                    <a:pt x="3502" y="2"/>
                  </a:lnTo>
                  <a:lnTo>
                    <a:pt x="3511" y="0"/>
                  </a:lnTo>
                  <a:lnTo>
                    <a:pt x="3519" y="0"/>
                  </a:lnTo>
                  <a:lnTo>
                    <a:pt x="3528" y="0"/>
                  </a:lnTo>
                  <a:lnTo>
                    <a:pt x="3536" y="2"/>
                  </a:lnTo>
                  <a:lnTo>
                    <a:pt x="3544" y="4"/>
                  </a:lnTo>
                  <a:lnTo>
                    <a:pt x="3552" y="7"/>
                  </a:lnTo>
                  <a:lnTo>
                    <a:pt x="3559" y="11"/>
                  </a:lnTo>
                  <a:lnTo>
                    <a:pt x="3566" y="15"/>
                  </a:lnTo>
                  <a:lnTo>
                    <a:pt x="3572" y="20"/>
                  </a:lnTo>
                  <a:lnTo>
                    <a:pt x="3579" y="25"/>
                  </a:lnTo>
                  <a:lnTo>
                    <a:pt x="3585" y="31"/>
                  </a:lnTo>
                  <a:lnTo>
                    <a:pt x="3590" y="38"/>
                  </a:lnTo>
                  <a:lnTo>
                    <a:pt x="3594" y="46"/>
                  </a:lnTo>
                  <a:lnTo>
                    <a:pt x="3598" y="53"/>
                  </a:lnTo>
                  <a:lnTo>
                    <a:pt x="3600" y="61"/>
                  </a:lnTo>
                  <a:lnTo>
                    <a:pt x="3603" y="69"/>
                  </a:lnTo>
                  <a:lnTo>
                    <a:pt x="3603" y="77"/>
                  </a:lnTo>
                  <a:lnTo>
                    <a:pt x="3604" y="83"/>
                  </a:lnTo>
                  <a:lnTo>
                    <a:pt x="3604" y="90"/>
                  </a:lnTo>
                  <a:lnTo>
                    <a:pt x="3603" y="97"/>
                  </a:lnTo>
                  <a:lnTo>
                    <a:pt x="3601" y="110"/>
                  </a:lnTo>
                  <a:lnTo>
                    <a:pt x="3596" y="122"/>
                  </a:lnTo>
                  <a:lnTo>
                    <a:pt x="3590" y="134"/>
                  </a:lnTo>
                  <a:lnTo>
                    <a:pt x="3582" y="145"/>
                  </a:lnTo>
                  <a:lnTo>
                    <a:pt x="3578" y="149"/>
                  </a:lnTo>
                  <a:lnTo>
                    <a:pt x="3572" y="154"/>
                  </a:lnTo>
                  <a:lnTo>
                    <a:pt x="3567" y="157"/>
                  </a:lnTo>
                  <a:lnTo>
                    <a:pt x="3561" y="161"/>
                  </a:lnTo>
                  <a:lnTo>
                    <a:pt x="3559" y="162"/>
                  </a:lnTo>
                  <a:lnTo>
                    <a:pt x="3504" y="198"/>
                  </a:lnTo>
                  <a:lnTo>
                    <a:pt x="3451" y="234"/>
                  </a:lnTo>
                  <a:lnTo>
                    <a:pt x="3397" y="271"/>
                  </a:lnTo>
                  <a:lnTo>
                    <a:pt x="3343" y="310"/>
                  </a:lnTo>
                  <a:lnTo>
                    <a:pt x="3289" y="348"/>
                  </a:lnTo>
                  <a:lnTo>
                    <a:pt x="3236" y="388"/>
                  </a:lnTo>
                  <a:lnTo>
                    <a:pt x="3182" y="428"/>
                  </a:lnTo>
                  <a:lnTo>
                    <a:pt x="3127" y="468"/>
                  </a:lnTo>
                  <a:lnTo>
                    <a:pt x="3020" y="553"/>
                  </a:lnTo>
                  <a:lnTo>
                    <a:pt x="2913" y="638"/>
                  </a:lnTo>
                  <a:lnTo>
                    <a:pt x="2806" y="727"/>
                  </a:lnTo>
                  <a:lnTo>
                    <a:pt x="2700" y="818"/>
                  </a:lnTo>
                  <a:lnTo>
                    <a:pt x="2594" y="909"/>
                  </a:lnTo>
                  <a:lnTo>
                    <a:pt x="2488" y="1002"/>
                  </a:lnTo>
                  <a:lnTo>
                    <a:pt x="2383" y="1096"/>
                  </a:lnTo>
                  <a:lnTo>
                    <a:pt x="2279" y="1190"/>
                  </a:lnTo>
                  <a:lnTo>
                    <a:pt x="2175" y="1285"/>
                  </a:lnTo>
                  <a:lnTo>
                    <a:pt x="2073" y="1379"/>
                  </a:lnTo>
                  <a:lnTo>
                    <a:pt x="1970" y="1473"/>
                  </a:lnTo>
                  <a:lnTo>
                    <a:pt x="1869" y="1567"/>
                  </a:lnTo>
                  <a:lnTo>
                    <a:pt x="1839" y="1594"/>
                  </a:lnTo>
                  <a:lnTo>
                    <a:pt x="1830" y="1602"/>
                  </a:lnTo>
                  <a:lnTo>
                    <a:pt x="1820" y="1607"/>
                  </a:lnTo>
                  <a:lnTo>
                    <a:pt x="1811" y="1613"/>
                  </a:lnTo>
                  <a:lnTo>
                    <a:pt x="1801" y="1616"/>
                  </a:lnTo>
                  <a:lnTo>
                    <a:pt x="1770" y="1624"/>
                  </a:lnTo>
                  <a:lnTo>
                    <a:pt x="1735" y="1635"/>
                  </a:lnTo>
                  <a:lnTo>
                    <a:pt x="1697" y="1648"/>
                  </a:lnTo>
                  <a:lnTo>
                    <a:pt x="1654" y="1662"/>
                  </a:lnTo>
                  <a:lnTo>
                    <a:pt x="1608" y="1677"/>
                  </a:lnTo>
                  <a:lnTo>
                    <a:pt x="1559" y="1695"/>
                  </a:lnTo>
                  <a:lnTo>
                    <a:pt x="1507" y="1712"/>
                  </a:lnTo>
                  <a:lnTo>
                    <a:pt x="1453" y="1732"/>
                  </a:lnTo>
                  <a:lnTo>
                    <a:pt x="1396" y="1753"/>
                  </a:lnTo>
                  <a:lnTo>
                    <a:pt x="1337" y="1773"/>
                  </a:lnTo>
                  <a:lnTo>
                    <a:pt x="1278" y="1795"/>
                  </a:lnTo>
                  <a:lnTo>
                    <a:pt x="1216" y="1818"/>
                  </a:lnTo>
                  <a:lnTo>
                    <a:pt x="1152" y="1840"/>
                  </a:lnTo>
                  <a:lnTo>
                    <a:pt x="1089" y="1863"/>
                  </a:lnTo>
                  <a:lnTo>
                    <a:pt x="1024" y="1887"/>
                  </a:lnTo>
                  <a:lnTo>
                    <a:pt x="959" y="1910"/>
                  </a:lnTo>
                  <a:lnTo>
                    <a:pt x="894" y="1934"/>
                  </a:lnTo>
                  <a:lnTo>
                    <a:pt x="828" y="1958"/>
                  </a:lnTo>
                  <a:lnTo>
                    <a:pt x="764" y="1982"/>
                  </a:lnTo>
                  <a:lnTo>
                    <a:pt x="700" y="2005"/>
                  </a:lnTo>
                  <a:lnTo>
                    <a:pt x="637" y="2028"/>
                  </a:lnTo>
                  <a:lnTo>
                    <a:pt x="575" y="2050"/>
                  </a:lnTo>
                  <a:lnTo>
                    <a:pt x="516" y="2071"/>
                  </a:lnTo>
                  <a:lnTo>
                    <a:pt x="459" y="2092"/>
                  </a:lnTo>
                  <a:lnTo>
                    <a:pt x="403" y="2111"/>
                  </a:lnTo>
                  <a:lnTo>
                    <a:pt x="351" y="2130"/>
                  </a:lnTo>
                  <a:lnTo>
                    <a:pt x="301" y="2146"/>
                  </a:lnTo>
                  <a:lnTo>
                    <a:pt x="256" y="2162"/>
                  </a:lnTo>
                  <a:lnTo>
                    <a:pt x="213" y="2176"/>
                  </a:lnTo>
                  <a:lnTo>
                    <a:pt x="174" y="2190"/>
                  </a:lnTo>
                  <a:lnTo>
                    <a:pt x="139" y="2200"/>
                  </a:lnTo>
                  <a:lnTo>
                    <a:pt x="110" y="2209"/>
                  </a:lnTo>
                  <a:lnTo>
                    <a:pt x="100" y="2211"/>
                  </a:lnTo>
                  <a:lnTo>
                    <a:pt x="92" y="2212"/>
                  </a:lnTo>
                  <a:lnTo>
                    <a:pt x="84" y="2212"/>
                  </a:lnTo>
                  <a:lnTo>
                    <a:pt x="76" y="2211"/>
                  </a:lnTo>
                  <a:lnTo>
                    <a:pt x="67" y="2210"/>
                  </a:lnTo>
                  <a:lnTo>
                    <a:pt x="59" y="2208"/>
                  </a:lnTo>
                  <a:lnTo>
                    <a:pt x="52" y="2205"/>
                  </a:lnTo>
                  <a:lnTo>
                    <a:pt x="45" y="2201"/>
                  </a:lnTo>
                  <a:lnTo>
                    <a:pt x="37" y="2197"/>
                  </a:lnTo>
                  <a:lnTo>
                    <a:pt x="30" y="2192"/>
                  </a:lnTo>
                  <a:lnTo>
                    <a:pt x="25" y="2187"/>
                  </a:lnTo>
                  <a:lnTo>
                    <a:pt x="19" y="2181"/>
                  </a:lnTo>
                  <a:lnTo>
                    <a:pt x="14" y="2173"/>
                  </a:lnTo>
                  <a:lnTo>
                    <a:pt x="10" y="2166"/>
                  </a:lnTo>
                  <a:lnTo>
                    <a:pt x="7" y="2159"/>
                  </a:lnTo>
                  <a:lnTo>
                    <a:pt x="3" y="2150"/>
                  </a:lnTo>
                  <a:lnTo>
                    <a:pt x="1" y="2139"/>
                  </a:lnTo>
                  <a:lnTo>
                    <a:pt x="0" y="2129"/>
                  </a:lnTo>
                  <a:lnTo>
                    <a:pt x="0" y="2119"/>
                  </a:lnTo>
                  <a:lnTo>
                    <a:pt x="2" y="2108"/>
                  </a:lnTo>
                  <a:lnTo>
                    <a:pt x="6" y="2099"/>
                  </a:lnTo>
                  <a:lnTo>
                    <a:pt x="9" y="2090"/>
                  </a:lnTo>
                  <a:lnTo>
                    <a:pt x="14" y="2081"/>
                  </a:lnTo>
                  <a:lnTo>
                    <a:pt x="20" y="2072"/>
                  </a:lnTo>
                  <a:close/>
                  <a:moveTo>
                    <a:pt x="472" y="1853"/>
                  </a:moveTo>
                  <a:lnTo>
                    <a:pt x="448" y="1874"/>
                  </a:lnTo>
                  <a:lnTo>
                    <a:pt x="425" y="1896"/>
                  </a:lnTo>
                  <a:lnTo>
                    <a:pt x="402" y="1917"/>
                  </a:lnTo>
                  <a:lnTo>
                    <a:pt x="380" y="1938"/>
                  </a:lnTo>
                  <a:lnTo>
                    <a:pt x="439" y="1918"/>
                  </a:lnTo>
                  <a:lnTo>
                    <a:pt x="501" y="1895"/>
                  </a:lnTo>
                  <a:lnTo>
                    <a:pt x="564" y="1872"/>
                  </a:lnTo>
                  <a:lnTo>
                    <a:pt x="630" y="1849"/>
                  </a:lnTo>
                  <a:lnTo>
                    <a:pt x="697" y="1825"/>
                  </a:lnTo>
                  <a:lnTo>
                    <a:pt x="764" y="1800"/>
                  </a:lnTo>
                  <a:lnTo>
                    <a:pt x="833" y="1774"/>
                  </a:lnTo>
                  <a:lnTo>
                    <a:pt x="902" y="1750"/>
                  </a:lnTo>
                  <a:lnTo>
                    <a:pt x="964" y="1727"/>
                  </a:lnTo>
                  <a:lnTo>
                    <a:pt x="1028" y="1703"/>
                  </a:lnTo>
                  <a:lnTo>
                    <a:pt x="1090" y="1681"/>
                  </a:lnTo>
                  <a:lnTo>
                    <a:pt x="1152" y="1658"/>
                  </a:lnTo>
                  <a:lnTo>
                    <a:pt x="1213" y="1636"/>
                  </a:lnTo>
                  <a:lnTo>
                    <a:pt x="1272" y="1615"/>
                  </a:lnTo>
                  <a:lnTo>
                    <a:pt x="1330" y="1594"/>
                  </a:lnTo>
                  <a:lnTo>
                    <a:pt x="1387" y="1574"/>
                  </a:lnTo>
                  <a:lnTo>
                    <a:pt x="1440" y="1555"/>
                  </a:lnTo>
                  <a:lnTo>
                    <a:pt x="1492" y="1537"/>
                  </a:lnTo>
                  <a:lnTo>
                    <a:pt x="1541" y="1520"/>
                  </a:lnTo>
                  <a:lnTo>
                    <a:pt x="1588" y="1504"/>
                  </a:lnTo>
                  <a:lnTo>
                    <a:pt x="1630" y="1490"/>
                  </a:lnTo>
                  <a:lnTo>
                    <a:pt x="1670" y="1476"/>
                  </a:lnTo>
                  <a:lnTo>
                    <a:pt x="1706" y="1465"/>
                  </a:lnTo>
                  <a:lnTo>
                    <a:pt x="1738" y="1455"/>
                  </a:lnTo>
                  <a:lnTo>
                    <a:pt x="1753" y="1440"/>
                  </a:lnTo>
                  <a:lnTo>
                    <a:pt x="1832" y="1368"/>
                  </a:lnTo>
                  <a:lnTo>
                    <a:pt x="1911" y="1295"/>
                  </a:lnTo>
                  <a:lnTo>
                    <a:pt x="1990" y="1222"/>
                  </a:lnTo>
                  <a:lnTo>
                    <a:pt x="2071" y="1149"/>
                  </a:lnTo>
                  <a:lnTo>
                    <a:pt x="2151" y="1075"/>
                  </a:lnTo>
                  <a:lnTo>
                    <a:pt x="2231" y="1002"/>
                  </a:lnTo>
                  <a:lnTo>
                    <a:pt x="2313" y="929"/>
                  </a:lnTo>
                  <a:lnTo>
                    <a:pt x="2394" y="856"/>
                  </a:lnTo>
                  <a:lnTo>
                    <a:pt x="2476" y="785"/>
                  </a:lnTo>
                  <a:lnTo>
                    <a:pt x="2559" y="713"/>
                  </a:lnTo>
                  <a:lnTo>
                    <a:pt x="2641" y="642"/>
                  </a:lnTo>
                  <a:lnTo>
                    <a:pt x="2725" y="572"/>
                  </a:lnTo>
                  <a:lnTo>
                    <a:pt x="2808" y="504"/>
                  </a:lnTo>
                  <a:lnTo>
                    <a:pt x="2892" y="436"/>
                  </a:lnTo>
                  <a:lnTo>
                    <a:pt x="2975" y="370"/>
                  </a:lnTo>
                  <a:lnTo>
                    <a:pt x="3059" y="306"/>
                  </a:lnTo>
                  <a:lnTo>
                    <a:pt x="2994" y="330"/>
                  </a:lnTo>
                  <a:lnTo>
                    <a:pt x="2928" y="355"/>
                  </a:lnTo>
                  <a:lnTo>
                    <a:pt x="2861" y="381"/>
                  </a:lnTo>
                  <a:lnTo>
                    <a:pt x="2793" y="408"/>
                  </a:lnTo>
                  <a:lnTo>
                    <a:pt x="2725" y="437"/>
                  </a:lnTo>
                  <a:lnTo>
                    <a:pt x="2657" y="466"/>
                  </a:lnTo>
                  <a:lnTo>
                    <a:pt x="2588" y="497"/>
                  </a:lnTo>
                  <a:lnTo>
                    <a:pt x="2518" y="529"/>
                  </a:lnTo>
                  <a:lnTo>
                    <a:pt x="2449" y="562"/>
                  </a:lnTo>
                  <a:lnTo>
                    <a:pt x="2379" y="596"/>
                  </a:lnTo>
                  <a:lnTo>
                    <a:pt x="2308" y="631"/>
                  </a:lnTo>
                  <a:lnTo>
                    <a:pt x="2238" y="666"/>
                  </a:lnTo>
                  <a:lnTo>
                    <a:pt x="2166" y="703"/>
                  </a:lnTo>
                  <a:lnTo>
                    <a:pt x="2096" y="740"/>
                  </a:lnTo>
                  <a:lnTo>
                    <a:pt x="2026" y="779"/>
                  </a:lnTo>
                  <a:lnTo>
                    <a:pt x="1955" y="818"/>
                  </a:lnTo>
                  <a:lnTo>
                    <a:pt x="1885" y="857"/>
                  </a:lnTo>
                  <a:lnTo>
                    <a:pt x="1815" y="897"/>
                  </a:lnTo>
                  <a:lnTo>
                    <a:pt x="1745" y="938"/>
                  </a:lnTo>
                  <a:lnTo>
                    <a:pt x="1676" y="980"/>
                  </a:lnTo>
                  <a:lnTo>
                    <a:pt x="1607" y="1021"/>
                  </a:lnTo>
                  <a:lnTo>
                    <a:pt x="1539" y="1064"/>
                  </a:lnTo>
                  <a:lnTo>
                    <a:pt x="1471" y="1106"/>
                  </a:lnTo>
                  <a:lnTo>
                    <a:pt x="1403" y="1150"/>
                  </a:lnTo>
                  <a:lnTo>
                    <a:pt x="1336" y="1193"/>
                  </a:lnTo>
                  <a:lnTo>
                    <a:pt x="1270" y="1237"/>
                  </a:lnTo>
                  <a:lnTo>
                    <a:pt x="1205" y="1282"/>
                  </a:lnTo>
                  <a:lnTo>
                    <a:pt x="1142" y="1326"/>
                  </a:lnTo>
                  <a:lnTo>
                    <a:pt x="1078" y="1370"/>
                  </a:lnTo>
                  <a:lnTo>
                    <a:pt x="1016" y="1416"/>
                  </a:lnTo>
                  <a:lnTo>
                    <a:pt x="954" y="1461"/>
                  </a:lnTo>
                  <a:lnTo>
                    <a:pt x="893" y="1505"/>
                  </a:lnTo>
                  <a:lnTo>
                    <a:pt x="836" y="1550"/>
                  </a:lnTo>
                  <a:lnTo>
                    <a:pt x="780" y="1594"/>
                  </a:lnTo>
                  <a:lnTo>
                    <a:pt x="724" y="1637"/>
                  </a:lnTo>
                  <a:lnTo>
                    <a:pt x="671" y="1681"/>
                  </a:lnTo>
                  <a:lnTo>
                    <a:pt x="618" y="1724"/>
                  </a:lnTo>
                  <a:lnTo>
                    <a:pt x="568" y="1767"/>
                  </a:lnTo>
                  <a:lnTo>
                    <a:pt x="519" y="1810"/>
                  </a:lnTo>
                  <a:lnTo>
                    <a:pt x="472" y="185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2" name="Freeform 77"/>
            <p:cNvSpPr>
              <a:spLocks noChangeArrowheads="1"/>
            </p:cNvSpPr>
            <p:nvPr userDrawn="1"/>
          </p:nvSpPr>
          <p:spPr bwMode="auto">
            <a:xfrm>
              <a:off x="2219324" y="817733"/>
              <a:ext cx="1539875" cy="1136793"/>
            </a:xfrm>
            <a:custGeom>
              <a:avLst/>
              <a:gdLst>
                <a:gd name="T0" fmla="*/ 63 w 3433"/>
                <a:gd name="T1" fmla="*/ 1968 h 2041"/>
                <a:gd name="T2" fmla="*/ 206 w 3433"/>
                <a:gd name="T3" fmla="*/ 1818 h 2041"/>
                <a:gd name="T4" fmla="*/ 372 w 3433"/>
                <a:gd name="T5" fmla="*/ 1665 h 2041"/>
                <a:gd name="T6" fmla="*/ 556 w 3433"/>
                <a:gd name="T7" fmla="*/ 1508 h 2041"/>
                <a:gd name="T8" fmla="*/ 758 w 3433"/>
                <a:gd name="T9" fmla="*/ 1350 h 2041"/>
                <a:gd name="T10" fmla="*/ 974 w 3433"/>
                <a:gd name="T11" fmla="*/ 1193 h 2041"/>
                <a:gd name="T12" fmla="*/ 1201 w 3433"/>
                <a:gd name="T13" fmla="*/ 1038 h 2041"/>
                <a:gd name="T14" fmla="*/ 1437 w 3433"/>
                <a:gd name="T15" fmla="*/ 886 h 2041"/>
                <a:gd name="T16" fmla="*/ 1679 w 3433"/>
                <a:gd name="T17" fmla="*/ 741 h 2041"/>
                <a:gd name="T18" fmla="*/ 1925 w 3433"/>
                <a:gd name="T19" fmla="*/ 603 h 2041"/>
                <a:gd name="T20" fmla="*/ 2172 w 3433"/>
                <a:gd name="T21" fmla="*/ 474 h 2041"/>
                <a:gd name="T22" fmla="*/ 2417 w 3433"/>
                <a:gd name="T23" fmla="*/ 355 h 2041"/>
                <a:gd name="T24" fmla="*/ 2658 w 3433"/>
                <a:gd name="T25" fmla="*/ 249 h 2041"/>
                <a:gd name="T26" fmla="*/ 2893 w 3433"/>
                <a:gd name="T27" fmla="*/ 158 h 2041"/>
                <a:gd name="T28" fmla="*/ 3119 w 3433"/>
                <a:gd name="T29" fmla="*/ 81 h 2041"/>
                <a:gd name="T30" fmla="*/ 3332 w 3433"/>
                <a:gd name="T31" fmla="*/ 23 h 2041"/>
                <a:gd name="T32" fmla="*/ 3377 w 3433"/>
                <a:gd name="T33" fmla="*/ 37 h 2041"/>
                <a:gd name="T34" fmla="*/ 3266 w 3433"/>
                <a:gd name="T35" fmla="*/ 112 h 2041"/>
                <a:gd name="T36" fmla="*/ 3155 w 3433"/>
                <a:gd name="T37" fmla="*/ 192 h 2041"/>
                <a:gd name="T38" fmla="*/ 3044 w 3433"/>
                <a:gd name="T39" fmla="*/ 274 h 2041"/>
                <a:gd name="T40" fmla="*/ 2933 w 3433"/>
                <a:gd name="T41" fmla="*/ 359 h 2041"/>
                <a:gd name="T42" fmla="*/ 2823 w 3433"/>
                <a:gd name="T43" fmla="*/ 446 h 2041"/>
                <a:gd name="T44" fmla="*/ 2657 w 3433"/>
                <a:gd name="T45" fmla="*/ 582 h 2041"/>
                <a:gd name="T46" fmla="*/ 2439 w 3433"/>
                <a:gd name="T47" fmla="*/ 770 h 2041"/>
                <a:gd name="T48" fmla="*/ 2223 w 3433"/>
                <a:gd name="T49" fmla="*/ 962 h 2041"/>
                <a:gd name="T50" fmla="*/ 2009 w 3433"/>
                <a:gd name="T51" fmla="*/ 1155 h 2041"/>
                <a:gd name="T52" fmla="*/ 1799 w 3433"/>
                <a:gd name="T53" fmla="*/ 1349 h 2041"/>
                <a:gd name="T54" fmla="*/ 1630 w 3433"/>
                <a:gd name="T55" fmla="*/ 1466 h 2041"/>
                <a:gd name="T56" fmla="*/ 1454 w 3433"/>
                <a:gd name="T57" fmla="*/ 1524 h 2041"/>
                <a:gd name="T58" fmla="*/ 1230 w 3433"/>
                <a:gd name="T59" fmla="*/ 1604 h 2041"/>
                <a:gd name="T60" fmla="*/ 978 w 3433"/>
                <a:gd name="T61" fmla="*/ 1696 h 2041"/>
                <a:gd name="T62" fmla="*/ 717 w 3433"/>
                <a:gd name="T63" fmla="*/ 1790 h 2041"/>
                <a:gd name="T64" fmla="*/ 464 w 3433"/>
                <a:gd name="T65" fmla="*/ 1882 h 2041"/>
                <a:gd name="T66" fmla="*/ 241 w 3433"/>
                <a:gd name="T67" fmla="*/ 1962 h 2041"/>
                <a:gd name="T68" fmla="*/ 65 w 3433"/>
                <a:gd name="T69" fmla="*/ 2021 h 2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33" h="2041">
                  <a:moveTo>
                    <a:pt x="0" y="2041"/>
                  </a:moveTo>
                  <a:lnTo>
                    <a:pt x="63" y="1968"/>
                  </a:lnTo>
                  <a:lnTo>
                    <a:pt x="132" y="1893"/>
                  </a:lnTo>
                  <a:lnTo>
                    <a:pt x="206" y="1818"/>
                  </a:lnTo>
                  <a:lnTo>
                    <a:pt x="286" y="1742"/>
                  </a:lnTo>
                  <a:lnTo>
                    <a:pt x="372" y="1665"/>
                  </a:lnTo>
                  <a:lnTo>
                    <a:pt x="462" y="1586"/>
                  </a:lnTo>
                  <a:lnTo>
                    <a:pt x="556" y="1508"/>
                  </a:lnTo>
                  <a:lnTo>
                    <a:pt x="656" y="1429"/>
                  </a:lnTo>
                  <a:lnTo>
                    <a:pt x="758" y="1350"/>
                  </a:lnTo>
                  <a:lnTo>
                    <a:pt x="864" y="1271"/>
                  </a:lnTo>
                  <a:lnTo>
                    <a:pt x="974" y="1193"/>
                  </a:lnTo>
                  <a:lnTo>
                    <a:pt x="1087" y="1115"/>
                  </a:lnTo>
                  <a:lnTo>
                    <a:pt x="1201" y="1038"/>
                  </a:lnTo>
                  <a:lnTo>
                    <a:pt x="1318" y="962"/>
                  </a:lnTo>
                  <a:lnTo>
                    <a:pt x="1437" y="886"/>
                  </a:lnTo>
                  <a:lnTo>
                    <a:pt x="1557" y="813"/>
                  </a:lnTo>
                  <a:lnTo>
                    <a:pt x="1679" y="741"/>
                  </a:lnTo>
                  <a:lnTo>
                    <a:pt x="1801" y="671"/>
                  </a:lnTo>
                  <a:lnTo>
                    <a:pt x="1925" y="603"/>
                  </a:lnTo>
                  <a:lnTo>
                    <a:pt x="2049" y="537"/>
                  </a:lnTo>
                  <a:lnTo>
                    <a:pt x="2172" y="474"/>
                  </a:lnTo>
                  <a:lnTo>
                    <a:pt x="2295" y="413"/>
                  </a:lnTo>
                  <a:lnTo>
                    <a:pt x="2417" y="355"/>
                  </a:lnTo>
                  <a:lnTo>
                    <a:pt x="2539" y="301"/>
                  </a:lnTo>
                  <a:lnTo>
                    <a:pt x="2658" y="249"/>
                  </a:lnTo>
                  <a:lnTo>
                    <a:pt x="2777" y="202"/>
                  </a:lnTo>
                  <a:lnTo>
                    <a:pt x="2893" y="158"/>
                  </a:lnTo>
                  <a:lnTo>
                    <a:pt x="3007" y="117"/>
                  </a:lnTo>
                  <a:lnTo>
                    <a:pt x="3119" y="81"/>
                  </a:lnTo>
                  <a:lnTo>
                    <a:pt x="3227" y="49"/>
                  </a:lnTo>
                  <a:lnTo>
                    <a:pt x="3332" y="23"/>
                  </a:lnTo>
                  <a:lnTo>
                    <a:pt x="3433" y="0"/>
                  </a:lnTo>
                  <a:lnTo>
                    <a:pt x="3377" y="37"/>
                  </a:lnTo>
                  <a:lnTo>
                    <a:pt x="3322" y="74"/>
                  </a:lnTo>
                  <a:lnTo>
                    <a:pt x="3266" y="112"/>
                  </a:lnTo>
                  <a:lnTo>
                    <a:pt x="3210" y="151"/>
                  </a:lnTo>
                  <a:lnTo>
                    <a:pt x="3155" y="192"/>
                  </a:lnTo>
                  <a:lnTo>
                    <a:pt x="3099" y="232"/>
                  </a:lnTo>
                  <a:lnTo>
                    <a:pt x="3044" y="274"/>
                  </a:lnTo>
                  <a:lnTo>
                    <a:pt x="2989" y="315"/>
                  </a:lnTo>
                  <a:lnTo>
                    <a:pt x="2933" y="359"/>
                  </a:lnTo>
                  <a:lnTo>
                    <a:pt x="2878" y="402"/>
                  </a:lnTo>
                  <a:lnTo>
                    <a:pt x="2823" y="446"/>
                  </a:lnTo>
                  <a:lnTo>
                    <a:pt x="2767" y="492"/>
                  </a:lnTo>
                  <a:lnTo>
                    <a:pt x="2657" y="582"/>
                  </a:lnTo>
                  <a:lnTo>
                    <a:pt x="2548" y="675"/>
                  </a:lnTo>
                  <a:lnTo>
                    <a:pt x="2439" y="770"/>
                  </a:lnTo>
                  <a:lnTo>
                    <a:pt x="2331" y="865"/>
                  </a:lnTo>
                  <a:lnTo>
                    <a:pt x="2223" y="962"/>
                  </a:lnTo>
                  <a:lnTo>
                    <a:pt x="2115" y="1059"/>
                  </a:lnTo>
                  <a:lnTo>
                    <a:pt x="2009" y="1155"/>
                  </a:lnTo>
                  <a:lnTo>
                    <a:pt x="1903" y="1252"/>
                  </a:lnTo>
                  <a:lnTo>
                    <a:pt x="1799" y="1349"/>
                  </a:lnTo>
                  <a:lnTo>
                    <a:pt x="1695" y="1445"/>
                  </a:lnTo>
                  <a:lnTo>
                    <a:pt x="1630" y="1466"/>
                  </a:lnTo>
                  <a:lnTo>
                    <a:pt x="1549" y="1491"/>
                  </a:lnTo>
                  <a:lnTo>
                    <a:pt x="1454" y="1524"/>
                  </a:lnTo>
                  <a:lnTo>
                    <a:pt x="1347" y="1563"/>
                  </a:lnTo>
                  <a:lnTo>
                    <a:pt x="1230" y="1604"/>
                  </a:lnTo>
                  <a:lnTo>
                    <a:pt x="1106" y="1649"/>
                  </a:lnTo>
                  <a:lnTo>
                    <a:pt x="978" y="1696"/>
                  </a:lnTo>
                  <a:lnTo>
                    <a:pt x="848" y="1743"/>
                  </a:lnTo>
                  <a:lnTo>
                    <a:pt x="717" y="1790"/>
                  </a:lnTo>
                  <a:lnTo>
                    <a:pt x="588" y="1838"/>
                  </a:lnTo>
                  <a:lnTo>
                    <a:pt x="464" y="1882"/>
                  </a:lnTo>
                  <a:lnTo>
                    <a:pt x="348" y="1923"/>
                  </a:lnTo>
                  <a:lnTo>
                    <a:pt x="241" y="1962"/>
                  </a:lnTo>
                  <a:lnTo>
                    <a:pt x="145" y="1995"/>
                  </a:lnTo>
                  <a:lnTo>
                    <a:pt x="65" y="2021"/>
                  </a:lnTo>
                  <a:lnTo>
                    <a:pt x="0" y="204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3" name="Freeform 78"/>
            <p:cNvSpPr>
              <a:spLocks noChangeArrowheads="1"/>
            </p:cNvSpPr>
            <p:nvPr userDrawn="1"/>
          </p:nvSpPr>
          <p:spPr bwMode="auto">
            <a:xfrm>
              <a:off x="1724024" y="1100588"/>
              <a:ext cx="1144588" cy="1410697"/>
            </a:xfrm>
            <a:custGeom>
              <a:avLst/>
              <a:gdLst>
                <a:gd name="T0" fmla="*/ 9 w 2544"/>
                <a:gd name="T1" fmla="*/ 2428 h 2551"/>
                <a:gd name="T2" fmla="*/ 109 w 2544"/>
                <a:gd name="T3" fmla="*/ 2236 h 2551"/>
                <a:gd name="T4" fmla="*/ 225 w 2544"/>
                <a:gd name="T5" fmla="*/ 2040 h 2551"/>
                <a:gd name="T6" fmla="*/ 357 w 2544"/>
                <a:gd name="T7" fmla="*/ 1845 h 2551"/>
                <a:gd name="T8" fmla="*/ 500 w 2544"/>
                <a:gd name="T9" fmla="*/ 1654 h 2551"/>
                <a:gd name="T10" fmla="*/ 701 w 2544"/>
                <a:gd name="T11" fmla="*/ 1411 h 2551"/>
                <a:gd name="T12" fmla="*/ 920 w 2544"/>
                <a:gd name="T13" fmla="*/ 1174 h 2551"/>
                <a:gd name="T14" fmla="*/ 1152 w 2544"/>
                <a:gd name="T15" fmla="*/ 944 h 2551"/>
                <a:gd name="T16" fmla="*/ 1396 w 2544"/>
                <a:gd name="T17" fmla="*/ 727 h 2551"/>
                <a:gd name="T18" fmla="*/ 1647 w 2544"/>
                <a:gd name="T19" fmla="*/ 522 h 2551"/>
                <a:gd name="T20" fmla="*/ 1903 w 2544"/>
                <a:gd name="T21" fmla="*/ 332 h 2551"/>
                <a:gd name="T22" fmla="*/ 2162 w 2544"/>
                <a:gd name="T23" fmla="*/ 161 h 2551"/>
                <a:gd name="T24" fmla="*/ 2418 w 2544"/>
                <a:gd name="T25" fmla="*/ 10 h 2551"/>
                <a:gd name="T26" fmla="*/ 2450 w 2544"/>
                <a:gd name="T27" fmla="*/ 0 h 2551"/>
                <a:gd name="T28" fmla="*/ 2483 w 2544"/>
                <a:gd name="T29" fmla="*/ 3 h 2551"/>
                <a:gd name="T30" fmla="*/ 2512 w 2544"/>
                <a:gd name="T31" fmla="*/ 19 h 2551"/>
                <a:gd name="T32" fmla="*/ 2534 w 2544"/>
                <a:gd name="T33" fmla="*/ 44 h 2551"/>
                <a:gd name="T34" fmla="*/ 2543 w 2544"/>
                <a:gd name="T35" fmla="*/ 72 h 2551"/>
                <a:gd name="T36" fmla="*/ 2543 w 2544"/>
                <a:gd name="T37" fmla="*/ 100 h 2551"/>
                <a:gd name="T38" fmla="*/ 2535 w 2544"/>
                <a:gd name="T39" fmla="*/ 126 h 2551"/>
                <a:gd name="T40" fmla="*/ 2517 w 2544"/>
                <a:gd name="T41" fmla="*/ 149 h 2551"/>
                <a:gd name="T42" fmla="*/ 2396 w 2544"/>
                <a:gd name="T43" fmla="*/ 288 h 2551"/>
                <a:gd name="T44" fmla="*/ 2236 w 2544"/>
                <a:gd name="T45" fmla="*/ 488 h 2551"/>
                <a:gd name="T46" fmla="*/ 2079 w 2544"/>
                <a:gd name="T47" fmla="*/ 701 h 2551"/>
                <a:gd name="T48" fmla="*/ 1814 w 2544"/>
                <a:gd name="T49" fmla="*/ 1095 h 2551"/>
                <a:gd name="T50" fmla="*/ 1523 w 2544"/>
                <a:gd name="T51" fmla="*/ 1562 h 2551"/>
                <a:gd name="T52" fmla="*/ 1260 w 2544"/>
                <a:gd name="T53" fmla="*/ 2000 h 2551"/>
                <a:gd name="T54" fmla="*/ 1235 w 2544"/>
                <a:gd name="T55" fmla="*/ 2027 h 2551"/>
                <a:gd name="T56" fmla="*/ 1197 w 2544"/>
                <a:gd name="T57" fmla="*/ 2051 h 2551"/>
                <a:gd name="T58" fmla="*/ 1038 w 2544"/>
                <a:gd name="T59" fmla="*/ 2138 h 2551"/>
                <a:gd name="T60" fmla="*/ 849 w 2544"/>
                <a:gd name="T61" fmla="*/ 2227 h 2551"/>
                <a:gd name="T62" fmla="*/ 648 w 2544"/>
                <a:gd name="T63" fmla="*/ 2315 h 2551"/>
                <a:gd name="T64" fmla="*/ 443 w 2544"/>
                <a:gd name="T65" fmla="*/ 2401 h 2551"/>
                <a:gd name="T66" fmla="*/ 244 w 2544"/>
                <a:gd name="T67" fmla="*/ 2486 h 2551"/>
                <a:gd name="T68" fmla="*/ 116 w 2544"/>
                <a:gd name="T69" fmla="*/ 2546 h 2551"/>
                <a:gd name="T70" fmla="*/ 82 w 2544"/>
                <a:gd name="T71" fmla="*/ 2551 h 2551"/>
                <a:gd name="T72" fmla="*/ 50 w 2544"/>
                <a:gd name="T73" fmla="*/ 2544 h 2551"/>
                <a:gd name="T74" fmla="*/ 23 w 2544"/>
                <a:gd name="T75" fmla="*/ 2525 h 2551"/>
                <a:gd name="T76" fmla="*/ 5 w 2544"/>
                <a:gd name="T77" fmla="*/ 2495 h 2551"/>
                <a:gd name="T78" fmla="*/ 1 w 2544"/>
                <a:gd name="T79" fmla="*/ 2457 h 2551"/>
                <a:gd name="T80" fmla="*/ 8 w 2544"/>
                <a:gd name="T81" fmla="*/ 2430 h 2551"/>
                <a:gd name="T82" fmla="*/ 333 w 2544"/>
                <a:gd name="T83" fmla="*/ 2190 h 2551"/>
                <a:gd name="T84" fmla="*/ 288 w 2544"/>
                <a:gd name="T85" fmla="*/ 2266 h 2551"/>
                <a:gd name="T86" fmla="*/ 623 w 2544"/>
                <a:gd name="T87" fmla="*/ 2139 h 2551"/>
                <a:gd name="T88" fmla="*/ 901 w 2544"/>
                <a:gd name="T89" fmla="*/ 2014 h 2551"/>
                <a:gd name="T90" fmla="*/ 1060 w 2544"/>
                <a:gd name="T91" fmla="*/ 1933 h 2551"/>
                <a:gd name="T92" fmla="*/ 1220 w 2544"/>
                <a:gd name="T93" fmla="*/ 1735 h 2551"/>
                <a:gd name="T94" fmla="*/ 1435 w 2544"/>
                <a:gd name="T95" fmla="*/ 1379 h 2551"/>
                <a:gd name="T96" fmla="*/ 1658 w 2544"/>
                <a:gd name="T97" fmla="*/ 1023 h 2551"/>
                <a:gd name="T98" fmla="*/ 1890 w 2544"/>
                <a:gd name="T99" fmla="*/ 674 h 2551"/>
                <a:gd name="T100" fmla="*/ 2020 w 2544"/>
                <a:gd name="T101" fmla="*/ 460 h 2551"/>
                <a:gd name="T102" fmla="*/ 1824 w 2544"/>
                <a:gd name="T103" fmla="*/ 602 h 2551"/>
                <a:gd name="T104" fmla="*/ 1630 w 2544"/>
                <a:gd name="T105" fmla="*/ 754 h 2551"/>
                <a:gd name="T106" fmla="*/ 1441 w 2544"/>
                <a:gd name="T107" fmla="*/ 914 h 2551"/>
                <a:gd name="T108" fmla="*/ 1256 w 2544"/>
                <a:gd name="T109" fmla="*/ 1082 h 2551"/>
                <a:gd name="T110" fmla="*/ 1078 w 2544"/>
                <a:gd name="T111" fmla="*/ 1257 h 2551"/>
                <a:gd name="T112" fmla="*/ 908 w 2544"/>
                <a:gd name="T113" fmla="*/ 1436 h 2551"/>
                <a:gd name="T114" fmla="*/ 748 w 2544"/>
                <a:gd name="T115" fmla="*/ 1621 h 2551"/>
                <a:gd name="T116" fmla="*/ 598 w 2544"/>
                <a:gd name="T117" fmla="*/ 1807 h 2551"/>
                <a:gd name="T118" fmla="*/ 461 w 2544"/>
                <a:gd name="T119" fmla="*/ 1994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44" h="2551">
                  <a:moveTo>
                    <a:pt x="8" y="2430"/>
                  </a:moveTo>
                  <a:lnTo>
                    <a:pt x="9" y="2429"/>
                  </a:lnTo>
                  <a:lnTo>
                    <a:pt x="9" y="2428"/>
                  </a:lnTo>
                  <a:lnTo>
                    <a:pt x="32" y="2380"/>
                  </a:lnTo>
                  <a:lnTo>
                    <a:pt x="56" y="2332"/>
                  </a:lnTo>
                  <a:lnTo>
                    <a:pt x="82" y="2284"/>
                  </a:lnTo>
                  <a:lnTo>
                    <a:pt x="109" y="2236"/>
                  </a:lnTo>
                  <a:lnTo>
                    <a:pt x="136" y="2187"/>
                  </a:lnTo>
                  <a:lnTo>
                    <a:pt x="165" y="2138"/>
                  </a:lnTo>
                  <a:lnTo>
                    <a:pt x="194" y="2090"/>
                  </a:lnTo>
                  <a:lnTo>
                    <a:pt x="225" y="2040"/>
                  </a:lnTo>
                  <a:lnTo>
                    <a:pt x="257" y="1992"/>
                  </a:lnTo>
                  <a:lnTo>
                    <a:pt x="289" y="1942"/>
                  </a:lnTo>
                  <a:lnTo>
                    <a:pt x="323" y="1894"/>
                  </a:lnTo>
                  <a:lnTo>
                    <a:pt x="357" y="1845"/>
                  </a:lnTo>
                  <a:lnTo>
                    <a:pt x="391" y="1797"/>
                  </a:lnTo>
                  <a:lnTo>
                    <a:pt x="427" y="1749"/>
                  </a:lnTo>
                  <a:lnTo>
                    <a:pt x="463" y="1702"/>
                  </a:lnTo>
                  <a:lnTo>
                    <a:pt x="500" y="1654"/>
                  </a:lnTo>
                  <a:lnTo>
                    <a:pt x="549" y="1593"/>
                  </a:lnTo>
                  <a:lnTo>
                    <a:pt x="598" y="1532"/>
                  </a:lnTo>
                  <a:lnTo>
                    <a:pt x="650" y="1471"/>
                  </a:lnTo>
                  <a:lnTo>
                    <a:pt x="701" y="1411"/>
                  </a:lnTo>
                  <a:lnTo>
                    <a:pt x="755" y="1352"/>
                  </a:lnTo>
                  <a:lnTo>
                    <a:pt x="808" y="1292"/>
                  </a:lnTo>
                  <a:lnTo>
                    <a:pt x="864" y="1232"/>
                  </a:lnTo>
                  <a:lnTo>
                    <a:pt x="920" y="1174"/>
                  </a:lnTo>
                  <a:lnTo>
                    <a:pt x="977" y="1115"/>
                  </a:lnTo>
                  <a:lnTo>
                    <a:pt x="1035" y="1058"/>
                  </a:lnTo>
                  <a:lnTo>
                    <a:pt x="1094" y="1001"/>
                  </a:lnTo>
                  <a:lnTo>
                    <a:pt x="1152" y="944"/>
                  </a:lnTo>
                  <a:lnTo>
                    <a:pt x="1212" y="890"/>
                  </a:lnTo>
                  <a:lnTo>
                    <a:pt x="1273" y="834"/>
                  </a:lnTo>
                  <a:lnTo>
                    <a:pt x="1335" y="780"/>
                  </a:lnTo>
                  <a:lnTo>
                    <a:pt x="1396" y="727"/>
                  </a:lnTo>
                  <a:lnTo>
                    <a:pt x="1458" y="674"/>
                  </a:lnTo>
                  <a:lnTo>
                    <a:pt x="1521" y="623"/>
                  </a:lnTo>
                  <a:lnTo>
                    <a:pt x="1584" y="571"/>
                  </a:lnTo>
                  <a:lnTo>
                    <a:pt x="1647" y="522"/>
                  </a:lnTo>
                  <a:lnTo>
                    <a:pt x="1711" y="473"/>
                  </a:lnTo>
                  <a:lnTo>
                    <a:pt x="1774" y="425"/>
                  </a:lnTo>
                  <a:lnTo>
                    <a:pt x="1839" y="378"/>
                  </a:lnTo>
                  <a:lnTo>
                    <a:pt x="1903" y="332"/>
                  </a:lnTo>
                  <a:lnTo>
                    <a:pt x="1968" y="288"/>
                  </a:lnTo>
                  <a:lnTo>
                    <a:pt x="2032" y="244"/>
                  </a:lnTo>
                  <a:lnTo>
                    <a:pt x="2097" y="202"/>
                  </a:lnTo>
                  <a:lnTo>
                    <a:pt x="2162" y="161"/>
                  </a:lnTo>
                  <a:lnTo>
                    <a:pt x="2226" y="121"/>
                  </a:lnTo>
                  <a:lnTo>
                    <a:pt x="2290" y="83"/>
                  </a:lnTo>
                  <a:lnTo>
                    <a:pt x="2354" y="45"/>
                  </a:lnTo>
                  <a:lnTo>
                    <a:pt x="2418" y="10"/>
                  </a:lnTo>
                  <a:lnTo>
                    <a:pt x="2426" y="6"/>
                  </a:lnTo>
                  <a:lnTo>
                    <a:pt x="2434" y="3"/>
                  </a:lnTo>
                  <a:lnTo>
                    <a:pt x="2442" y="1"/>
                  </a:lnTo>
                  <a:lnTo>
                    <a:pt x="2450" y="0"/>
                  </a:lnTo>
                  <a:lnTo>
                    <a:pt x="2458" y="0"/>
                  </a:lnTo>
                  <a:lnTo>
                    <a:pt x="2467" y="0"/>
                  </a:lnTo>
                  <a:lnTo>
                    <a:pt x="2475" y="1"/>
                  </a:lnTo>
                  <a:lnTo>
                    <a:pt x="2483" y="3"/>
                  </a:lnTo>
                  <a:lnTo>
                    <a:pt x="2491" y="6"/>
                  </a:lnTo>
                  <a:lnTo>
                    <a:pt x="2499" y="9"/>
                  </a:lnTo>
                  <a:lnTo>
                    <a:pt x="2506" y="13"/>
                  </a:lnTo>
                  <a:lnTo>
                    <a:pt x="2512" y="19"/>
                  </a:lnTo>
                  <a:lnTo>
                    <a:pt x="2518" y="24"/>
                  </a:lnTo>
                  <a:lnTo>
                    <a:pt x="2524" y="30"/>
                  </a:lnTo>
                  <a:lnTo>
                    <a:pt x="2529" y="37"/>
                  </a:lnTo>
                  <a:lnTo>
                    <a:pt x="2534" y="44"/>
                  </a:lnTo>
                  <a:lnTo>
                    <a:pt x="2537" y="51"/>
                  </a:lnTo>
                  <a:lnTo>
                    <a:pt x="2540" y="58"/>
                  </a:lnTo>
                  <a:lnTo>
                    <a:pt x="2542" y="65"/>
                  </a:lnTo>
                  <a:lnTo>
                    <a:pt x="2543" y="72"/>
                  </a:lnTo>
                  <a:lnTo>
                    <a:pt x="2544" y="78"/>
                  </a:lnTo>
                  <a:lnTo>
                    <a:pt x="2544" y="86"/>
                  </a:lnTo>
                  <a:lnTo>
                    <a:pt x="2544" y="93"/>
                  </a:lnTo>
                  <a:lnTo>
                    <a:pt x="2543" y="100"/>
                  </a:lnTo>
                  <a:lnTo>
                    <a:pt x="2542" y="106"/>
                  </a:lnTo>
                  <a:lnTo>
                    <a:pt x="2540" y="113"/>
                  </a:lnTo>
                  <a:lnTo>
                    <a:pt x="2538" y="120"/>
                  </a:lnTo>
                  <a:lnTo>
                    <a:pt x="2535" y="126"/>
                  </a:lnTo>
                  <a:lnTo>
                    <a:pt x="2530" y="132"/>
                  </a:lnTo>
                  <a:lnTo>
                    <a:pt x="2526" y="137"/>
                  </a:lnTo>
                  <a:lnTo>
                    <a:pt x="2522" y="143"/>
                  </a:lnTo>
                  <a:lnTo>
                    <a:pt x="2517" y="149"/>
                  </a:lnTo>
                  <a:lnTo>
                    <a:pt x="2476" y="194"/>
                  </a:lnTo>
                  <a:lnTo>
                    <a:pt x="2436" y="240"/>
                  </a:lnTo>
                  <a:lnTo>
                    <a:pt x="2396" y="288"/>
                  </a:lnTo>
                  <a:lnTo>
                    <a:pt x="2355" y="336"/>
                  </a:lnTo>
                  <a:lnTo>
                    <a:pt x="2315" y="387"/>
                  </a:lnTo>
                  <a:lnTo>
                    <a:pt x="2275" y="437"/>
                  </a:lnTo>
                  <a:lnTo>
                    <a:pt x="2236" y="488"/>
                  </a:lnTo>
                  <a:lnTo>
                    <a:pt x="2196" y="540"/>
                  </a:lnTo>
                  <a:lnTo>
                    <a:pt x="2157" y="593"/>
                  </a:lnTo>
                  <a:lnTo>
                    <a:pt x="2117" y="646"/>
                  </a:lnTo>
                  <a:lnTo>
                    <a:pt x="2079" y="701"/>
                  </a:lnTo>
                  <a:lnTo>
                    <a:pt x="2040" y="756"/>
                  </a:lnTo>
                  <a:lnTo>
                    <a:pt x="1964" y="867"/>
                  </a:lnTo>
                  <a:lnTo>
                    <a:pt x="1889" y="980"/>
                  </a:lnTo>
                  <a:lnTo>
                    <a:pt x="1814" y="1095"/>
                  </a:lnTo>
                  <a:lnTo>
                    <a:pt x="1739" y="1211"/>
                  </a:lnTo>
                  <a:lnTo>
                    <a:pt x="1666" y="1328"/>
                  </a:lnTo>
                  <a:lnTo>
                    <a:pt x="1594" y="1445"/>
                  </a:lnTo>
                  <a:lnTo>
                    <a:pt x="1523" y="1562"/>
                  </a:lnTo>
                  <a:lnTo>
                    <a:pt x="1452" y="1679"/>
                  </a:lnTo>
                  <a:lnTo>
                    <a:pt x="1383" y="1795"/>
                  </a:lnTo>
                  <a:lnTo>
                    <a:pt x="1314" y="1910"/>
                  </a:lnTo>
                  <a:lnTo>
                    <a:pt x="1260" y="2000"/>
                  </a:lnTo>
                  <a:lnTo>
                    <a:pt x="1255" y="2007"/>
                  </a:lnTo>
                  <a:lnTo>
                    <a:pt x="1249" y="2014"/>
                  </a:lnTo>
                  <a:lnTo>
                    <a:pt x="1242" y="2022"/>
                  </a:lnTo>
                  <a:lnTo>
                    <a:pt x="1235" y="2027"/>
                  </a:lnTo>
                  <a:lnTo>
                    <a:pt x="1235" y="2028"/>
                  </a:lnTo>
                  <a:lnTo>
                    <a:pt x="1230" y="2030"/>
                  </a:lnTo>
                  <a:lnTo>
                    <a:pt x="1197" y="2051"/>
                  </a:lnTo>
                  <a:lnTo>
                    <a:pt x="1161" y="2073"/>
                  </a:lnTo>
                  <a:lnTo>
                    <a:pt x="1121" y="2095"/>
                  </a:lnTo>
                  <a:lnTo>
                    <a:pt x="1081" y="2116"/>
                  </a:lnTo>
                  <a:lnTo>
                    <a:pt x="1038" y="2138"/>
                  </a:lnTo>
                  <a:lnTo>
                    <a:pt x="993" y="2161"/>
                  </a:lnTo>
                  <a:lnTo>
                    <a:pt x="946" y="2182"/>
                  </a:lnTo>
                  <a:lnTo>
                    <a:pt x="899" y="2205"/>
                  </a:lnTo>
                  <a:lnTo>
                    <a:pt x="849" y="2227"/>
                  </a:lnTo>
                  <a:lnTo>
                    <a:pt x="800" y="2249"/>
                  </a:lnTo>
                  <a:lnTo>
                    <a:pt x="750" y="2271"/>
                  </a:lnTo>
                  <a:lnTo>
                    <a:pt x="699" y="2293"/>
                  </a:lnTo>
                  <a:lnTo>
                    <a:pt x="648" y="2315"/>
                  </a:lnTo>
                  <a:lnTo>
                    <a:pt x="597" y="2336"/>
                  </a:lnTo>
                  <a:lnTo>
                    <a:pt x="547" y="2358"/>
                  </a:lnTo>
                  <a:lnTo>
                    <a:pt x="497" y="2378"/>
                  </a:lnTo>
                  <a:lnTo>
                    <a:pt x="443" y="2401"/>
                  </a:lnTo>
                  <a:lnTo>
                    <a:pt x="390" y="2424"/>
                  </a:lnTo>
                  <a:lnTo>
                    <a:pt x="339" y="2445"/>
                  </a:lnTo>
                  <a:lnTo>
                    <a:pt x="290" y="2466"/>
                  </a:lnTo>
                  <a:lnTo>
                    <a:pt x="244" y="2486"/>
                  </a:lnTo>
                  <a:lnTo>
                    <a:pt x="201" y="2506"/>
                  </a:lnTo>
                  <a:lnTo>
                    <a:pt x="160" y="2525"/>
                  </a:lnTo>
                  <a:lnTo>
                    <a:pt x="123" y="2542"/>
                  </a:lnTo>
                  <a:lnTo>
                    <a:pt x="116" y="2546"/>
                  </a:lnTo>
                  <a:lnTo>
                    <a:pt x="108" y="2548"/>
                  </a:lnTo>
                  <a:lnTo>
                    <a:pt x="100" y="2550"/>
                  </a:lnTo>
                  <a:lnTo>
                    <a:pt x="90" y="2551"/>
                  </a:lnTo>
                  <a:lnTo>
                    <a:pt x="82" y="2551"/>
                  </a:lnTo>
                  <a:lnTo>
                    <a:pt x="74" y="2550"/>
                  </a:lnTo>
                  <a:lnTo>
                    <a:pt x="67" y="2549"/>
                  </a:lnTo>
                  <a:lnTo>
                    <a:pt x="58" y="2547"/>
                  </a:lnTo>
                  <a:lnTo>
                    <a:pt x="50" y="2544"/>
                  </a:lnTo>
                  <a:lnTo>
                    <a:pt x="43" y="2540"/>
                  </a:lnTo>
                  <a:lnTo>
                    <a:pt x="36" y="2536"/>
                  </a:lnTo>
                  <a:lnTo>
                    <a:pt x="30" y="2531"/>
                  </a:lnTo>
                  <a:lnTo>
                    <a:pt x="23" y="2525"/>
                  </a:lnTo>
                  <a:lnTo>
                    <a:pt x="18" y="2518"/>
                  </a:lnTo>
                  <a:lnTo>
                    <a:pt x="13" y="2511"/>
                  </a:lnTo>
                  <a:lnTo>
                    <a:pt x="9" y="2504"/>
                  </a:lnTo>
                  <a:lnTo>
                    <a:pt x="5" y="2495"/>
                  </a:lnTo>
                  <a:lnTo>
                    <a:pt x="2" y="2485"/>
                  </a:lnTo>
                  <a:lnTo>
                    <a:pt x="1" y="2476"/>
                  </a:lnTo>
                  <a:lnTo>
                    <a:pt x="0" y="2466"/>
                  </a:lnTo>
                  <a:lnTo>
                    <a:pt x="1" y="2457"/>
                  </a:lnTo>
                  <a:lnTo>
                    <a:pt x="2" y="2447"/>
                  </a:lnTo>
                  <a:lnTo>
                    <a:pt x="5" y="2438"/>
                  </a:lnTo>
                  <a:lnTo>
                    <a:pt x="8" y="2430"/>
                  </a:lnTo>
                  <a:close/>
                  <a:moveTo>
                    <a:pt x="369" y="2132"/>
                  </a:moveTo>
                  <a:lnTo>
                    <a:pt x="357" y="2151"/>
                  </a:lnTo>
                  <a:lnTo>
                    <a:pt x="345" y="2170"/>
                  </a:lnTo>
                  <a:lnTo>
                    <a:pt x="333" y="2190"/>
                  </a:lnTo>
                  <a:lnTo>
                    <a:pt x="322" y="2208"/>
                  </a:lnTo>
                  <a:lnTo>
                    <a:pt x="311" y="2228"/>
                  </a:lnTo>
                  <a:lnTo>
                    <a:pt x="299" y="2247"/>
                  </a:lnTo>
                  <a:lnTo>
                    <a:pt x="288" y="2266"/>
                  </a:lnTo>
                  <a:lnTo>
                    <a:pt x="277" y="2285"/>
                  </a:lnTo>
                  <a:lnTo>
                    <a:pt x="432" y="2220"/>
                  </a:lnTo>
                  <a:lnTo>
                    <a:pt x="527" y="2180"/>
                  </a:lnTo>
                  <a:lnTo>
                    <a:pt x="623" y="2139"/>
                  </a:lnTo>
                  <a:lnTo>
                    <a:pt x="719" y="2098"/>
                  </a:lnTo>
                  <a:lnTo>
                    <a:pt x="812" y="2056"/>
                  </a:lnTo>
                  <a:lnTo>
                    <a:pt x="858" y="2035"/>
                  </a:lnTo>
                  <a:lnTo>
                    <a:pt x="901" y="2014"/>
                  </a:lnTo>
                  <a:lnTo>
                    <a:pt x="943" y="1994"/>
                  </a:lnTo>
                  <a:lnTo>
                    <a:pt x="984" y="1973"/>
                  </a:lnTo>
                  <a:lnTo>
                    <a:pt x="1023" y="1954"/>
                  </a:lnTo>
                  <a:lnTo>
                    <a:pt x="1060" y="1933"/>
                  </a:lnTo>
                  <a:lnTo>
                    <a:pt x="1094" y="1913"/>
                  </a:lnTo>
                  <a:lnTo>
                    <a:pt x="1124" y="1895"/>
                  </a:lnTo>
                  <a:lnTo>
                    <a:pt x="1168" y="1822"/>
                  </a:lnTo>
                  <a:lnTo>
                    <a:pt x="1220" y="1735"/>
                  </a:lnTo>
                  <a:lnTo>
                    <a:pt x="1273" y="1646"/>
                  </a:lnTo>
                  <a:lnTo>
                    <a:pt x="1326" y="1558"/>
                  </a:lnTo>
                  <a:lnTo>
                    <a:pt x="1380" y="1468"/>
                  </a:lnTo>
                  <a:lnTo>
                    <a:pt x="1435" y="1379"/>
                  </a:lnTo>
                  <a:lnTo>
                    <a:pt x="1489" y="1290"/>
                  </a:lnTo>
                  <a:lnTo>
                    <a:pt x="1545" y="1200"/>
                  </a:lnTo>
                  <a:lnTo>
                    <a:pt x="1601" y="1111"/>
                  </a:lnTo>
                  <a:lnTo>
                    <a:pt x="1658" y="1023"/>
                  </a:lnTo>
                  <a:lnTo>
                    <a:pt x="1715" y="934"/>
                  </a:lnTo>
                  <a:lnTo>
                    <a:pt x="1772" y="846"/>
                  </a:lnTo>
                  <a:lnTo>
                    <a:pt x="1831" y="760"/>
                  </a:lnTo>
                  <a:lnTo>
                    <a:pt x="1890" y="674"/>
                  </a:lnTo>
                  <a:lnTo>
                    <a:pt x="1948" y="590"/>
                  </a:lnTo>
                  <a:lnTo>
                    <a:pt x="2008" y="507"/>
                  </a:lnTo>
                  <a:lnTo>
                    <a:pt x="2069" y="426"/>
                  </a:lnTo>
                  <a:lnTo>
                    <a:pt x="2020" y="460"/>
                  </a:lnTo>
                  <a:lnTo>
                    <a:pt x="1970" y="494"/>
                  </a:lnTo>
                  <a:lnTo>
                    <a:pt x="1922" y="530"/>
                  </a:lnTo>
                  <a:lnTo>
                    <a:pt x="1872" y="565"/>
                  </a:lnTo>
                  <a:lnTo>
                    <a:pt x="1824" y="602"/>
                  </a:lnTo>
                  <a:lnTo>
                    <a:pt x="1775" y="639"/>
                  </a:lnTo>
                  <a:lnTo>
                    <a:pt x="1727" y="676"/>
                  </a:lnTo>
                  <a:lnTo>
                    <a:pt x="1679" y="714"/>
                  </a:lnTo>
                  <a:lnTo>
                    <a:pt x="1630" y="754"/>
                  </a:lnTo>
                  <a:lnTo>
                    <a:pt x="1583" y="793"/>
                  </a:lnTo>
                  <a:lnTo>
                    <a:pt x="1534" y="833"/>
                  </a:lnTo>
                  <a:lnTo>
                    <a:pt x="1488" y="873"/>
                  </a:lnTo>
                  <a:lnTo>
                    <a:pt x="1441" y="914"/>
                  </a:lnTo>
                  <a:lnTo>
                    <a:pt x="1394" y="956"/>
                  </a:lnTo>
                  <a:lnTo>
                    <a:pt x="1348" y="997"/>
                  </a:lnTo>
                  <a:lnTo>
                    <a:pt x="1302" y="1039"/>
                  </a:lnTo>
                  <a:lnTo>
                    <a:pt x="1256" y="1082"/>
                  </a:lnTo>
                  <a:lnTo>
                    <a:pt x="1211" y="1125"/>
                  </a:lnTo>
                  <a:lnTo>
                    <a:pt x="1166" y="1169"/>
                  </a:lnTo>
                  <a:lnTo>
                    <a:pt x="1122" y="1212"/>
                  </a:lnTo>
                  <a:lnTo>
                    <a:pt x="1078" y="1257"/>
                  </a:lnTo>
                  <a:lnTo>
                    <a:pt x="1035" y="1301"/>
                  </a:lnTo>
                  <a:lnTo>
                    <a:pt x="992" y="1346"/>
                  </a:lnTo>
                  <a:lnTo>
                    <a:pt x="950" y="1391"/>
                  </a:lnTo>
                  <a:lnTo>
                    <a:pt x="908" y="1436"/>
                  </a:lnTo>
                  <a:lnTo>
                    <a:pt x="867" y="1482"/>
                  </a:lnTo>
                  <a:lnTo>
                    <a:pt x="827" y="1528"/>
                  </a:lnTo>
                  <a:lnTo>
                    <a:pt x="787" y="1574"/>
                  </a:lnTo>
                  <a:lnTo>
                    <a:pt x="748" y="1621"/>
                  </a:lnTo>
                  <a:lnTo>
                    <a:pt x="709" y="1667"/>
                  </a:lnTo>
                  <a:lnTo>
                    <a:pt x="671" y="1713"/>
                  </a:lnTo>
                  <a:lnTo>
                    <a:pt x="634" y="1760"/>
                  </a:lnTo>
                  <a:lnTo>
                    <a:pt x="598" y="1807"/>
                  </a:lnTo>
                  <a:lnTo>
                    <a:pt x="562" y="1854"/>
                  </a:lnTo>
                  <a:lnTo>
                    <a:pt x="528" y="1900"/>
                  </a:lnTo>
                  <a:lnTo>
                    <a:pt x="494" y="1946"/>
                  </a:lnTo>
                  <a:lnTo>
                    <a:pt x="461" y="1994"/>
                  </a:lnTo>
                  <a:lnTo>
                    <a:pt x="430" y="2040"/>
                  </a:lnTo>
                  <a:lnTo>
                    <a:pt x="399" y="2087"/>
                  </a:lnTo>
                  <a:lnTo>
                    <a:pt x="369" y="213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4" name="Freeform 79"/>
            <p:cNvSpPr>
              <a:spLocks noChangeArrowheads="1"/>
            </p:cNvSpPr>
            <p:nvPr userDrawn="1"/>
          </p:nvSpPr>
          <p:spPr bwMode="auto">
            <a:xfrm>
              <a:off x="1760537" y="1145345"/>
              <a:ext cx="1065212" cy="1321186"/>
            </a:xfrm>
            <a:custGeom>
              <a:avLst/>
              <a:gdLst>
                <a:gd name="T0" fmla="*/ 42 w 2374"/>
                <a:gd name="T1" fmla="*/ 2295 h 2380"/>
                <a:gd name="T2" fmla="*/ 135 w 2374"/>
                <a:gd name="T3" fmla="*/ 2127 h 2380"/>
                <a:gd name="T4" fmla="*/ 240 w 2374"/>
                <a:gd name="T5" fmla="*/ 1957 h 2380"/>
                <a:gd name="T6" fmla="*/ 357 w 2374"/>
                <a:gd name="T7" fmla="*/ 1787 h 2380"/>
                <a:gd name="T8" fmla="*/ 484 w 2374"/>
                <a:gd name="T9" fmla="*/ 1619 h 2380"/>
                <a:gd name="T10" fmla="*/ 620 w 2374"/>
                <a:gd name="T11" fmla="*/ 1451 h 2380"/>
                <a:gd name="T12" fmla="*/ 766 w 2374"/>
                <a:gd name="T13" fmla="*/ 1287 h 2380"/>
                <a:gd name="T14" fmla="*/ 918 w 2374"/>
                <a:gd name="T15" fmla="*/ 1125 h 2380"/>
                <a:gd name="T16" fmla="*/ 1077 w 2374"/>
                <a:gd name="T17" fmla="*/ 968 h 2380"/>
                <a:gd name="T18" fmla="*/ 1241 w 2374"/>
                <a:gd name="T19" fmla="*/ 815 h 2380"/>
                <a:gd name="T20" fmla="*/ 1409 w 2374"/>
                <a:gd name="T21" fmla="*/ 669 h 2380"/>
                <a:gd name="T22" fmla="*/ 1582 w 2374"/>
                <a:gd name="T23" fmla="*/ 528 h 2380"/>
                <a:gd name="T24" fmla="*/ 1756 w 2374"/>
                <a:gd name="T25" fmla="*/ 395 h 2380"/>
                <a:gd name="T26" fmla="*/ 1934 w 2374"/>
                <a:gd name="T27" fmla="*/ 271 h 2380"/>
                <a:gd name="T28" fmla="*/ 2110 w 2374"/>
                <a:gd name="T29" fmla="*/ 154 h 2380"/>
                <a:gd name="T30" fmla="*/ 2286 w 2374"/>
                <a:gd name="T31" fmla="*/ 48 h 2380"/>
                <a:gd name="T32" fmla="*/ 2330 w 2374"/>
                <a:gd name="T33" fmla="*/ 48 h 2380"/>
                <a:gd name="T34" fmla="*/ 2244 w 2374"/>
                <a:gd name="T35" fmla="*/ 148 h 2380"/>
                <a:gd name="T36" fmla="*/ 2158 w 2374"/>
                <a:gd name="T37" fmla="*/ 253 h 2380"/>
                <a:gd name="T38" fmla="*/ 2074 w 2374"/>
                <a:gd name="T39" fmla="*/ 361 h 2380"/>
                <a:gd name="T40" fmla="*/ 1990 w 2374"/>
                <a:gd name="T41" fmla="*/ 474 h 2380"/>
                <a:gd name="T42" fmla="*/ 1908 w 2374"/>
                <a:gd name="T43" fmla="*/ 588 h 2380"/>
                <a:gd name="T44" fmla="*/ 1786 w 2374"/>
                <a:gd name="T45" fmla="*/ 766 h 2380"/>
                <a:gd name="T46" fmla="*/ 1628 w 2374"/>
                <a:gd name="T47" fmla="*/ 1009 h 2380"/>
                <a:gd name="T48" fmla="*/ 1472 w 2374"/>
                <a:gd name="T49" fmla="*/ 1256 h 2380"/>
                <a:gd name="T50" fmla="*/ 1322 w 2374"/>
                <a:gd name="T51" fmla="*/ 1504 h 2380"/>
                <a:gd name="T52" fmla="*/ 1174 w 2374"/>
                <a:gd name="T53" fmla="*/ 1749 h 2380"/>
                <a:gd name="T54" fmla="*/ 1078 w 2374"/>
                <a:gd name="T55" fmla="*/ 1886 h 2380"/>
                <a:gd name="T56" fmla="*/ 1023 w 2374"/>
                <a:gd name="T57" fmla="*/ 1918 h 2380"/>
                <a:gd name="T58" fmla="*/ 928 w 2374"/>
                <a:gd name="T59" fmla="*/ 1969 h 2380"/>
                <a:gd name="T60" fmla="*/ 785 w 2374"/>
                <a:gd name="T61" fmla="*/ 2038 h 2380"/>
                <a:gd name="T62" fmla="*/ 631 w 2374"/>
                <a:gd name="T63" fmla="*/ 2107 h 2380"/>
                <a:gd name="T64" fmla="*/ 472 w 2374"/>
                <a:gd name="T65" fmla="*/ 2175 h 2380"/>
                <a:gd name="T66" fmla="*/ 317 w 2374"/>
                <a:gd name="T67" fmla="*/ 2240 h 2380"/>
                <a:gd name="T68" fmla="*/ 175 w 2374"/>
                <a:gd name="T69" fmla="*/ 2299 h 2380"/>
                <a:gd name="T70" fmla="*/ 52 w 2374"/>
                <a:gd name="T71" fmla="*/ 2355 h 2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74" h="2380">
                  <a:moveTo>
                    <a:pt x="0" y="2380"/>
                  </a:moveTo>
                  <a:lnTo>
                    <a:pt x="42" y="2295"/>
                  </a:lnTo>
                  <a:lnTo>
                    <a:pt x="87" y="2212"/>
                  </a:lnTo>
                  <a:lnTo>
                    <a:pt x="135" y="2127"/>
                  </a:lnTo>
                  <a:lnTo>
                    <a:pt x="186" y="2042"/>
                  </a:lnTo>
                  <a:lnTo>
                    <a:pt x="240" y="1957"/>
                  </a:lnTo>
                  <a:lnTo>
                    <a:pt x="297" y="1873"/>
                  </a:lnTo>
                  <a:lnTo>
                    <a:pt x="357" y="1787"/>
                  </a:lnTo>
                  <a:lnTo>
                    <a:pt x="419" y="1703"/>
                  </a:lnTo>
                  <a:lnTo>
                    <a:pt x="484" y="1619"/>
                  </a:lnTo>
                  <a:lnTo>
                    <a:pt x="551" y="1535"/>
                  </a:lnTo>
                  <a:lnTo>
                    <a:pt x="620" y="1451"/>
                  </a:lnTo>
                  <a:lnTo>
                    <a:pt x="692" y="1369"/>
                  </a:lnTo>
                  <a:lnTo>
                    <a:pt x="766" y="1287"/>
                  </a:lnTo>
                  <a:lnTo>
                    <a:pt x="841" y="1206"/>
                  </a:lnTo>
                  <a:lnTo>
                    <a:pt x="918" y="1125"/>
                  </a:lnTo>
                  <a:lnTo>
                    <a:pt x="996" y="1046"/>
                  </a:lnTo>
                  <a:lnTo>
                    <a:pt x="1077" y="968"/>
                  </a:lnTo>
                  <a:lnTo>
                    <a:pt x="1158" y="891"/>
                  </a:lnTo>
                  <a:lnTo>
                    <a:pt x="1241" y="815"/>
                  </a:lnTo>
                  <a:lnTo>
                    <a:pt x="1325" y="741"/>
                  </a:lnTo>
                  <a:lnTo>
                    <a:pt x="1409" y="669"/>
                  </a:lnTo>
                  <a:lnTo>
                    <a:pt x="1496" y="598"/>
                  </a:lnTo>
                  <a:lnTo>
                    <a:pt x="1582" y="528"/>
                  </a:lnTo>
                  <a:lnTo>
                    <a:pt x="1669" y="460"/>
                  </a:lnTo>
                  <a:lnTo>
                    <a:pt x="1756" y="395"/>
                  </a:lnTo>
                  <a:lnTo>
                    <a:pt x="1845" y="332"/>
                  </a:lnTo>
                  <a:lnTo>
                    <a:pt x="1934" y="271"/>
                  </a:lnTo>
                  <a:lnTo>
                    <a:pt x="2021" y="211"/>
                  </a:lnTo>
                  <a:lnTo>
                    <a:pt x="2110" y="154"/>
                  </a:lnTo>
                  <a:lnTo>
                    <a:pt x="2198" y="101"/>
                  </a:lnTo>
                  <a:lnTo>
                    <a:pt x="2286" y="48"/>
                  </a:lnTo>
                  <a:lnTo>
                    <a:pt x="2374" y="0"/>
                  </a:lnTo>
                  <a:lnTo>
                    <a:pt x="2330" y="48"/>
                  </a:lnTo>
                  <a:lnTo>
                    <a:pt x="2287" y="98"/>
                  </a:lnTo>
                  <a:lnTo>
                    <a:pt x="2244" y="148"/>
                  </a:lnTo>
                  <a:lnTo>
                    <a:pt x="2201" y="200"/>
                  </a:lnTo>
                  <a:lnTo>
                    <a:pt x="2158" y="253"/>
                  </a:lnTo>
                  <a:lnTo>
                    <a:pt x="2116" y="307"/>
                  </a:lnTo>
                  <a:lnTo>
                    <a:pt x="2074" y="361"/>
                  </a:lnTo>
                  <a:lnTo>
                    <a:pt x="2032" y="417"/>
                  </a:lnTo>
                  <a:lnTo>
                    <a:pt x="1990" y="474"/>
                  </a:lnTo>
                  <a:lnTo>
                    <a:pt x="1949" y="531"/>
                  </a:lnTo>
                  <a:lnTo>
                    <a:pt x="1908" y="588"/>
                  </a:lnTo>
                  <a:lnTo>
                    <a:pt x="1868" y="647"/>
                  </a:lnTo>
                  <a:lnTo>
                    <a:pt x="1786" y="766"/>
                  </a:lnTo>
                  <a:lnTo>
                    <a:pt x="1707" y="886"/>
                  </a:lnTo>
                  <a:lnTo>
                    <a:pt x="1628" y="1009"/>
                  </a:lnTo>
                  <a:lnTo>
                    <a:pt x="1549" y="1133"/>
                  </a:lnTo>
                  <a:lnTo>
                    <a:pt x="1472" y="1256"/>
                  </a:lnTo>
                  <a:lnTo>
                    <a:pt x="1397" y="1380"/>
                  </a:lnTo>
                  <a:lnTo>
                    <a:pt x="1322" y="1504"/>
                  </a:lnTo>
                  <a:lnTo>
                    <a:pt x="1248" y="1627"/>
                  </a:lnTo>
                  <a:lnTo>
                    <a:pt x="1174" y="1749"/>
                  </a:lnTo>
                  <a:lnTo>
                    <a:pt x="1102" y="1870"/>
                  </a:lnTo>
                  <a:lnTo>
                    <a:pt x="1078" y="1886"/>
                  </a:lnTo>
                  <a:lnTo>
                    <a:pt x="1051" y="1902"/>
                  </a:lnTo>
                  <a:lnTo>
                    <a:pt x="1023" y="1918"/>
                  </a:lnTo>
                  <a:lnTo>
                    <a:pt x="993" y="1936"/>
                  </a:lnTo>
                  <a:lnTo>
                    <a:pt x="928" y="1969"/>
                  </a:lnTo>
                  <a:lnTo>
                    <a:pt x="859" y="2003"/>
                  </a:lnTo>
                  <a:lnTo>
                    <a:pt x="785" y="2038"/>
                  </a:lnTo>
                  <a:lnTo>
                    <a:pt x="709" y="2072"/>
                  </a:lnTo>
                  <a:lnTo>
                    <a:pt x="631" y="2107"/>
                  </a:lnTo>
                  <a:lnTo>
                    <a:pt x="551" y="2141"/>
                  </a:lnTo>
                  <a:lnTo>
                    <a:pt x="472" y="2175"/>
                  </a:lnTo>
                  <a:lnTo>
                    <a:pt x="394" y="2207"/>
                  </a:lnTo>
                  <a:lnTo>
                    <a:pt x="317" y="2240"/>
                  </a:lnTo>
                  <a:lnTo>
                    <a:pt x="244" y="2271"/>
                  </a:lnTo>
                  <a:lnTo>
                    <a:pt x="175" y="2299"/>
                  </a:lnTo>
                  <a:lnTo>
                    <a:pt x="110" y="2328"/>
                  </a:lnTo>
                  <a:lnTo>
                    <a:pt x="52" y="2355"/>
                  </a:lnTo>
                  <a:lnTo>
                    <a:pt x="0" y="23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5" name="Freeform 80"/>
            <p:cNvSpPr>
              <a:spLocks noChangeArrowheads="1"/>
            </p:cNvSpPr>
            <p:nvPr userDrawn="1"/>
          </p:nvSpPr>
          <p:spPr bwMode="auto">
            <a:xfrm>
              <a:off x="1377949" y="1356591"/>
              <a:ext cx="898525" cy="1792014"/>
            </a:xfrm>
            <a:custGeom>
              <a:avLst/>
              <a:gdLst>
                <a:gd name="T0" fmla="*/ 26 w 1993"/>
                <a:gd name="T1" fmla="*/ 3020 h 3232"/>
                <a:gd name="T2" fmla="*/ 108 w 1993"/>
                <a:gd name="T3" fmla="*/ 2743 h 3232"/>
                <a:gd name="T4" fmla="*/ 213 w 1993"/>
                <a:gd name="T5" fmla="*/ 2456 h 3232"/>
                <a:gd name="T6" fmla="*/ 347 w 1993"/>
                <a:gd name="T7" fmla="*/ 2144 h 3232"/>
                <a:gd name="T8" fmla="*/ 538 w 1993"/>
                <a:gd name="T9" fmla="*/ 1762 h 3232"/>
                <a:gd name="T10" fmla="*/ 757 w 1993"/>
                <a:gd name="T11" fmla="*/ 1383 h 3232"/>
                <a:gd name="T12" fmla="*/ 997 w 1993"/>
                <a:gd name="T13" fmla="*/ 1015 h 3232"/>
                <a:gd name="T14" fmla="*/ 1253 w 1993"/>
                <a:gd name="T15" fmla="*/ 669 h 3232"/>
                <a:gd name="T16" fmla="*/ 1521 w 1993"/>
                <a:gd name="T17" fmla="*/ 352 h 3232"/>
                <a:gd name="T18" fmla="*/ 1795 w 1993"/>
                <a:gd name="T19" fmla="*/ 72 h 3232"/>
                <a:gd name="T20" fmla="*/ 1879 w 1993"/>
                <a:gd name="T21" fmla="*/ 5 h 3232"/>
                <a:gd name="T22" fmla="*/ 1919 w 1993"/>
                <a:gd name="T23" fmla="*/ 1 h 3232"/>
                <a:gd name="T24" fmla="*/ 1958 w 1993"/>
                <a:gd name="T25" fmla="*/ 18 h 3232"/>
                <a:gd name="T26" fmla="*/ 1982 w 1993"/>
                <a:gd name="T27" fmla="*/ 46 h 3232"/>
                <a:gd name="T28" fmla="*/ 1993 w 1993"/>
                <a:gd name="T29" fmla="*/ 78 h 3232"/>
                <a:gd name="T30" fmla="*/ 1988 w 1993"/>
                <a:gd name="T31" fmla="*/ 112 h 3232"/>
                <a:gd name="T32" fmla="*/ 1917 w 1993"/>
                <a:gd name="T33" fmla="*/ 250 h 3232"/>
                <a:gd name="T34" fmla="*/ 1767 w 1993"/>
                <a:gd name="T35" fmla="*/ 559 h 3232"/>
                <a:gd name="T36" fmla="*/ 1622 w 1993"/>
                <a:gd name="T37" fmla="*/ 881 h 3232"/>
                <a:gd name="T38" fmla="*/ 1482 w 1993"/>
                <a:gd name="T39" fmla="*/ 1210 h 3232"/>
                <a:gd name="T40" fmla="*/ 1349 w 1993"/>
                <a:gd name="T41" fmla="*/ 1541 h 3232"/>
                <a:gd name="T42" fmla="*/ 1222 w 1993"/>
                <a:gd name="T43" fmla="*/ 1867 h 3232"/>
                <a:gd name="T44" fmla="*/ 1103 w 1993"/>
                <a:gd name="T45" fmla="*/ 2183 h 3232"/>
                <a:gd name="T46" fmla="*/ 1073 w 1993"/>
                <a:gd name="T47" fmla="*/ 2408 h 3232"/>
                <a:gd name="T48" fmla="*/ 998 w 1993"/>
                <a:gd name="T49" fmla="*/ 2590 h 3232"/>
                <a:gd name="T50" fmla="*/ 887 w 1993"/>
                <a:gd name="T51" fmla="*/ 2736 h 3232"/>
                <a:gd name="T52" fmla="*/ 753 w 1993"/>
                <a:gd name="T53" fmla="*/ 2853 h 3232"/>
                <a:gd name="T54" fmla="*/ 606 w 1993"/>
                <a:gd name="T55" fmla="*/ 2948 h 3232"/>
                <a:gd name="T56" fmla="*/ 399 w 1993"/>
                <a:gd name="T57" fmla="*/ 3057 h 3232"/>
                <a:gd name="T58" fmla="*/ 219 w 1993"/>
                <a:gd name="T59" fmla="*/ 3151 h 3232"/>
                <a:gd name="T60" fmla="*/ 145 w 1993"/>
                <a:gd name="T61" fmla="*/ 3207 h 3232"/>
                <a:gd name="T62" fmla="*/ 109 w 1993"/>
                <a:gd name="T63" fmla="*/ 3229 h 3232"/>
                <a:gd name="T64" fmla="*/ 69 w 1993"/>
                <a:gd name="T65" fmla="*/ 3231 h 3232"/>
                <a:gd name="T66" fmla="*/ 30 w 1993"/>
                <a:gd name="T67" fmla="*/ 3213 h 3232"/>
                <a:gd name="T68" fmla="*/ 3 w 1993"/>
                <a:gd name="T69" fmla="*/ 3169 h 3232"/>
                <a:gd name="T70" fmla="*/ 2 w 1993"/>
                <a:gd name="T71" fmla="*/ 3127 h 3232"/>
                <a:gd name="T72" fmla="*/ 253 w 1993"/>
                <a:gd name="T73" fmla="*/ 2848 h 3232"/>
                <a:gd name="T74" fmla="*/ 246 w 1993"/>
                <a:gd name="T75" fmla="*/ 2941 h 3232"/>
                <a:gd name="T76" fmla="*/ 426 w 1993"/>
                <a:gd name="T77" fmla="*/ 2851 h 3232"/>
                <a:gd name="T78" fmla="*/ 607 w 1993"/>
                <a:gd name="T79" fmla="*/ 2744 h 3232"/>
                <a:gd name="T80" fmla="*/ 728 w 1993"/>
                <a:gd name="T81" fmla="*/ 2648 h 3232"/>
                <a:gd name="T82" fmla="*/ 827 w 1993"/>
                <a:gd name="T83" fmla="*/ 2531 h 3232"/>
                <a:gd name="T84" fmla="*/ 898 w 1993"/>
                <a:gd name="T85" fmla="*/ 2386 h 3232"/>
                <a:gd name="T86" fmla="*/ 931 w 1993"/>
                <a:gd name="T87" fmla="*/ 2208 h 3232"/>
                <a:gd name="T88" fmla="*/ 935 w 1993"/>
                <a:gd name="T89" fmla="*/ 2146 h 3232"/>
                <a:gd name="T90" fmla="*/ 1036 w 1993"/>
                <a:gd name="T91" fmla="*/ 1878 h 3232"/>
                <a:gd name="T92" fmla="*/ 1163 w 1993"/>
                <a:gd name="T93" fmla="*/ 1546 h 3232"/>
                <a:gd name="T94" fmla="*/ 1296 w 1993"/>
                <a:gd name="T95" fmla="*/ 1211 h 3232"/>
                <a:gd name="T96" fmla="*/ 1440 w 1993"/>
                <a:gd name="T97" fmla="*/ 869 h 3232"/>
                <a:gd name="T98" fmla="*/ 1594 w 1993"/>
                <a:gd name="T99" fmla="*/ 526 h 3232"/>
                <a:gd name="T100" fmla="*/ 1391 w 1993"/>
                <a:gd name="T101" fmla="*/ 770 h 3232"/>
                <a:gd name="T102" fmla="*/ 1194 w 1993"/>
                <a:gd name="T103" fmla="*/ 1032 h 3232"/>
                <a:gd name="T104" fmla="*/ 1007 w 1993"/>
                <a:gd name="T105" fmla="*/ 1307 h 3232"/>
                <a:gd name="T106" fmla="*/ 831 w 1993"/>
                <a:gd name="T107" fmla="*/ 1592 h 3232"/>
                <a:gd name="T108" fmla="*/ 668 w 1993"/>
                <a:gd name="T109" fmla="*/ 1882 h 3232"/>
                <a:gd name="T110" fmla="*/ 522 w 1993"/>
                <a:gd name="T111" fmla="*/ 2174 h 3232"/>
                <a:gd name="T112" fmla="*/ 394 w 1993"/>
                <a:gd name="T113" fmla="*/ 2463 h 3232"/>
                <a:gd name="T114" fmla="*/ 288 w 1993"/>
                <a:gd name="T115" fmla="*/ 2741 h 3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93" h="3232">
                  <a:moveTo>
                    <a:pt x="2" y="3127"/>
                  </a:moveTo>
                  <a:lnTo>
                    <a:pt x="2" y="3127"/>
                  </a:lnTo>
                  <a:lnTo>
                    <a:pt x="13" y="3074"/>
                  </a:lnTo>
                  <a:lnTo>
                    <a:pt x="26" y="3020"/>
                  </a:lnTo>
                  <a:lnTo>
                    <a:pt x="41" y="2967"/>
                  </a:lnTo>
                  <a:lnTo>
                    <a:pt x="56" y="2911"/>
                  </a:lnTo>
                  <a:lnTo>
                    <a:pt x="72" y="2857"/>
                  </a:lnTo>
                  <a:lnTo>
                    <a:pt x="89" y="2800"/>
                  </a:lnTo>
                  <a:lnTo>
                    <a:pt x="108" y="2743"/>
                  </a:lnTo>
                  <a:lnTo>
                    <a:pt x="127" y="2685"/>
                  </a:lnTo>
                  <a:lnTo>
                    <a:pt x="147" y="2629"/>
                  </a:lnTo>
                  <a:lnTo>
                    <a:pt x="168" y="2571"/>
                  </a:lnTo>
                  <a:lnTo>
                    <a:pt x="190" y="2513"/>
                  </a:lnTo>
                  <a:lnTo>
                    <a:pt x="213" y="2456"/>
                  </a:lnTo>
                  <a:lnTo>
                    <a:pt x="236" y="2397"/>
                  </a:lnTo>
                  <a:lnTo>
                    <a:pt x="261" y="2338"/>
                  </a:lnTo>
                  <a:lnTo>
                    <a:pt x="286" y="2279"/>
                  </a:lnTo>
                  <a:lnTo>
                    <a:pt x="313" y="2221"/>
                  </a:lnTo>
                  <a:lnTo>
                    <a:pt x="347" y="2144"/>
                  </a:lnTo>
                  <a:lnTo>
                    <a:pt x="383" y="2068"/>
                  </a:lnTo>
                  <a:lnTo>
                    <a:pt x="420" y="1992"/>
                  </a:lnTo>
                  <a:lnTo>
                    <a:pt x="458" y="1915"/>
                  </a:lnTo>
                  <a:lnTo>
                    <a:pt x="498" y="1839"/>
                  </a:lnTo>
                  <a:lnTo>
                    <a:pt x="538" y="1762"/>
                  </a:lnTo>
                  <a:lnTo>
                    <a:pt x="580" y="1685"/>
                  </a:lnTo>
                  <a:lnTo>
                    <a:pt x="623" y="1609"/>
                  </a:lnTo>
                  <a:lnTo>
                    <a:pt x="667" y="1534"/>
                  </a:lnTo>
                  <a:lnTo>
                    <a:pt x="711" y="1459"/>
                  </a:lnTo>
                  <a:lnTo>
                    <a:pt x="757" y="1383"/>
                  </a:lnTo>
                  <a:lnTo>
                    <a:pt x="803" y="1308"/>
                  </a:lnTo>
                  <a:lnTo>
                    <a:pt x="850" y="1234"/>
                  </a:lnTo>
                  <a:lnTo>
                    <a:pt x="899" y="1161"/>
                  </a:lnTo>
                  <a:lnTo>
                    <a:pt x="947" y="1088"/>
                  </a:lnTo>
                  <a:lnTo>
                    <a:pt x="997" y="1015"/>
                  </a:lnTo>
                  <a:lnTo>
                    <a:pt x="1047" y="944"/>
                  </a:lnTo>
                  <a:lnTo>
                    <a:pt x="1098" y="874"/>
                  </a:lnTo>
                  <a:lnTo>
                    <a:pt x="1149" y="804"/>
                  </a:lnTo>
                  <a:lnTo>
                    <a:pt x="1201" y="736"/>
                  </a:lnTo>
                  <a:lnTo>
                    <a:pt x="1253" y="669"/>
                  </a:lnTo>
                  <a:lnTo>
                    <a:pt x="1307" y="603"/>
                  </a:lnTo>
                  <a:lnTo>
                    <a:pt x="1359" y="538"/>
                  </a:lnTo>
                  <a:lnTo>
                    <a:pt x="1413" y="474"/>
                  </a:lnTo>
                  <a:lnTo>
                    <a:pt x="1467" y="412"/>
                  </a:lnTo>
                  <a:lnTo>
                    <a:pt x="1521" y="352"/>
                  </a:lnTo>
                  <a:lnTo>
                    <a:pt x="1575" y="293"/>
                  </a:lnTo>
                  <a:lnTo>
                    <a:pt x="1630" y="235"/>
                  </a:lnTo>
                  <a:lnTo>
                    <a:pt x="1686" y="179"/>
                  </a:lnTo>
                  <a:lnTo>
                    <a:pt x="1740" y="125"/>
                  </a:lnTo>
                  <a:lnTo>
                    <a:pt x="1795" y="72"/>
                  </a:lnTo>
                  <a:lnTo>
                    <a:pt x="1850" y="22"/>
                  </a:lnTo>
                  <a:lnTo>
                    <a:pt x="1857" y="17"/>
                  </a:lnTo>
                  <a:lnTo>
                    <a:pt x="1864" y="11"/>
                  </a:lnTo>
                  <a:lnTo>
                    <a:pt x="1872" y="8"/>
                  </a:lnTo>
                  <a:lnTo>
                    <a:pt x="1879" y="5"/>
                  </a:lnTo>
                  <a:lnTo>
                    <a:pt x="1888" y="3"/>
                  </a:lnTo>
                  <a:lnTo>
                    <a:pt x="1896" y="1"/>
                  </a:lnTo>
                  <a:lnTo>
                    <a:pt x="1904" y="0"/>
                  </a:lnTo>
                  <a:lnTo>
                    <a:pt x="1912" y="0"/>
                  </a:lnTo>
                  <a:lnTo>
                    <a:pt x="1919" y="1"/>
                  </a:lnTo>
                  <a:lnTo>
                    <a:pt x="1928" y="3"/>
                  </a:lnTo>
                  <a:lnTo>
                    <a:pt x="1936" y="5"/>
                  </a:lnTo>
                  <a:lnTo>
                    <a:pt x="1943" y="8"/>
                  </a:lnTo>
                  <a:lnTo>
                    <a:pt x="1951" y="12"/>
                  </a:lnTo>
                  <a:lnTo>
                    <a:pt x="1958" y="18"/>
                  </a:lnTo>
                  <a:lnTo>
                    <a:pt x="1965" y="23"/>
                  </a:lnTo>
                  <a:lnTo>
                    <a:pt x="1971" y="29"/>
                  </a:lnTo>
                  <a:lnTo>
                    <a:pt x="1975" y="34"/>
                  </a:lnTo>
                  <a:lnTo>
                    <a:pt x="1979" y="40"/>
                  </a:lnTo>
                  <a:lnTo>
                    <a:pt x="1982" y="46"/>
                  </a:lnTo>
                  <a:lnTo>
                    <a:pt x="1985" y="53"/>
                  </a:lnTo>
                  <a:lnTo>
                    <a:pt x="1988" y="59"/>
                  </a:lnTo>
                  <a:lnTo>
                    <a:pt x="1989" y="65"/>
                  </a:lnTo>
                  <a:lnTo>
                    <a:pt x="1992" y="72"/>
                  </a:lnTo>
                  <a:lnTo>
                    <a:pt x="1993" y="78"/>
                  </a:lnTo>
                  <a:lnTo>
                    <a:pt x="1993" y="86"/>
                  </a:lnTo>
                  <a:lnTo>
                    <a:pt x="1993" y="93"/>
                  </a:lnTo>
                  <a:lnTo>
                    <a:pt x="1992" y="99"/>
                  </a:lnTo>
                  <a:lnTo>
                    <a:pt x="1991" y="105"/>
                  </a:lnTo>
                  <a:lnTo>
                    <a:pt x="1988" y="112"/>
                  </a:lnTo>
                  <a:lnTo>
                    <a:pt x="1986" y="119"/>
                  </a:lnTo>
                  <a:lnTo>
                    <a:pt x="1983" y="125"/>
                  </a:lnTo>
                  <a:lnTo>
                    <a:pt x="1980" y="131"/>
                  </a:lnTo>
                  <a:lnTo>
                    <a:pt x="1948" y="190"/>
                  </a:lnTo>
                  <a:lnTo>
                    <a:pt x="1917" y="250"/>
                  </a:lnTo>
                  <a:lnTo>
                    <a:pt x="1888" y="310"/>
                  </a:lnTo>
                  <a:lnTo>
                    <a:pt x="1857" y="372"/>
                  </a:lnTo>
                  <a:lnTo>
                    <a:pt x="1827" y="434"/>
                  </a:lnTo>
                  <a:lnTo>
                    <a:pt x="1797" y="496"/>
                  </a:lnTo>
                  <a:lnTo>
                    <a:pt x="1767" y="559"/>
                  </a:lnTo>
                  <a:lnTo>
                    <a:pt x="1737" y="623"/>
                  </a:lnTo>
                  <a:lnTo>
                    <a:pt x="1708" y="687"/>
                  </a:lnTo>
                  <a:lnTo>
                    <a:pt x="1678" y="752"/>
                  </a:lnTo>
                  <a:lnTo>
                    <a:pt x="1650" y="815"/>
                  </a:lnTo>
                  <a:lnTo>
                    <a:pt x="1622" y="881"/>
                  </a:lnTo>
                  <a:lnTo>
                    <a:pt x="1593" y="946"/>
                  </a:lnTo>
                  <a:lnTo>
                    <a:pt x="1565" y="1012"/>
                  </a:lnTo>
                  <a:lnTo>
                    <a:pt x="1537" y="1078"/>
                  </a:lnTo>
                  <a:lnTo>
                    <a:pt x="1510" y="1144"/>
                  </a:lnTo>
                  <a:lnTo>
                    <a:pt x="1482" y="1210"/>
                  </a:lnTo>
                  <a:lnTo>
                    <a:pt x="1455" y="1276"/>
                  </a:lnTo>
                  <a:lnTo>
                    <a:pt x="1428" y="1343"/>
                  </a:lnTo>
                  <a:lnTo>
                    <a:pt x="1401" y="1409"/>
                  </a:lnTo>
                  <a:lnTo>
                    <a:pt x="1375" y="1475"/>
                  </a:lnTo>
                  <a:lnTo>
                    <a:pt x="1349" y="1541"/>
                  </a:lnTo>
                  <a:lnTo>
                    <a:pt x="1323" y="1606"/>
                  </a:lnTo>
                  <a:lnTo>
                    <a:pt x="1297" y="1672"/>
                  </a:lnTo>
                  <a:lnTo>
                    <a:pt x="1272" y="1737"/>
                  </a:lnTo>
                  <a:lnTo>
                    <a:pt x="1247" y="1802"/>
                  </a:lnTo>
                  <a:lnTo>
                    <a:pt x="1222" y="1867"/>
                  </a:lnTo>
                  <a:lnTo>
                    <a:pt x="1197" y="1931"/>
                  </a:lnTo>
                  <a:lnTo>
                    <a:pt x="1174" y="1995"/>
                  </a:lnTo>
                  <a:lnTo>
                    <a:pt x="1150" y="2058"/>
                  </a:lnTo>
                  <a:lnTo>
                    <a:pt x="1126" y="2122"/>
                  </a:lnTo>
                  <a:lnTo>
                    <a:pt x="1103" y="2183"/>
                  </a:lnTo>
                  <a:lnTo>
                    <a:pt x="1101" y="2232"/>
                  </a:lnTo>
                  <a:lnTo>
                    <a:pt x="1096" y="2279"/>
                  </a:lnTo>
                  <a:lnTo>
                    <a:pt x="1090" y="2324"/>
                  </a:lnTo>
                  <a:lnTo>
                    <a:pt x="1083" y="2367"/>
                  </a:lnTo>
                  <a:lnTo>
                    <a:pt x="1073" y="2408"/>
                  </a:lnTo>
                  <a:lnTo>
                    <a:pt x="1061" y="2447"/>
                  </a:lnTo>
                  <a:lnTo>
                    <a:pt x="1047" y="2485"/>
                  </a:lnTo>
                  <a:lnTo>
                    <a:pt x="1033" y="2522"/>
                  </a:lnTo>
                  <a:lnTo>
                    <a:pt x="1015" y="2557"/>
                  </a:lnTo>
                  <a:lnTo>
                    <a:pt x="998" y="2590"/>
                  </a:lnTo>
                  <a:lnTo>
                    <a:pt x="978" y="2622"/>
                  </a:lnTo>
                  <a:lnTo>
                    <a:pt x="957" y="2652"/>
                  </a:lnTo>
                  <a:lnTo>
                    <a:pt x="935" y="2681"/>
                  </a:lnTo>
                  <a:lnTo>
                    <a:pt x="912" y="2709"/>
                  </a:lnTo>
                  <a:lnTo>
                    <a:pt x="887" y="2736"/>
                  </a:lnTo>
                  <a:lnTo>
                    <a:pt x="863" y="2762"/>
                  </a:lnTo>
                  <a:lnTo>
                    <a:pt x="836" y="2786"/>
                  </a:lnTo>
                  <a:lnTo>
                    <a:pt x="809" y="2809"/>
                  </a:lnTo>
                  <a:lnTo>
                    <a:pt x="781" y="2832"/>
                  </a:lnTo>
                  <a:lnTo>
                    <a:pt x="753" y="2853"/>
                  </a:lnTo>
                  <a:lnTo>
                    <a:pt x="725" y="2874"/>
                  </a:lnTo>
                  <a:lnTo>
                    <a:pt x="696" y="2894"/>
                  </a:lnTo>
                  <a:lnTo>
                    <a:pt x="666" y="2912"/>
                  </a:lnTo>
                  <a:lnTo>
                    <a:pt x="636" y="2931"/>
                  </a:lnTo>
                  <a:lnTo>
                    <a:pt x="606" y="2948"/>
                  </a:lnTo>
                  <a:lnTo>
                    <a:pt x="576" y="2965"/>
                  </a:lnTo>
                  <a:lnTo>
                    <a:pt x="546" y="2981"/>
                  </a:lnTo>
                  <a:lnTo>
                    <a:pt x="517" y="2997"/>
                  </a:lnTo>
                  <a:lnTo>
                    <a:pt x="457" y="3028"/>
                  </a:lnTo>
                  <a:lnTo>
                    <a:pt x="399" y="3057"/>
                  </a:lnTo>
                  <a:lnTo>
                    <a:pt x="359" y="3076"/>
                  </a:lnTo>
                  <a:lnTo>
                    <a:pt x="321" y="3095"/>
                  </a:lnTo>
                  <a:lnTo>
                    <a:pt x="285" y="3114"/>
                  </a:lnTo>
                  <a:lnTo>
                    <a:pt x="251" y="3133"/>
                  </a:lnTo>
                  <a:lnTo>
                    <a:pt x="219" y="3151"/>
                  </a:lnTo>
                  <a:lnTo>
                    <a:pt x="191" y="3170"/>
                  </a:lnTo>
                  <a:lnTo>
                    <a:pt x="178" y="3179"/>
                  </a:lnTo>
                  <a:lnTo>
                    <a:pt x="166" y="3188"/>
                  </a:lnTo>
                  <a:lnTo>
                    <a:pt x="155" y="3198"/>
                  </a:lnTo>
                  <a:lnTo>
                    <a:pt x="145" y="3207"/>
                  </a:lnTo>
                  <a:lnTo>
                    <a:pt x="139" y="3213"/>
                  </a:lnTo>
                  <a:lnTo>
                    <a:pt x="131" y="3218"/>
                  </a:lnTo>
                  <a:lnTo>
                    <a:pt x="124" y="3222"/>
                  </a:lnTo>
                  <a:lnTo>
                    <a:pt x="117" y="3226"/>
                  </a:lnTo>
                  <a:lnTo>
                    <a:pt x="109" y="3229"/>
                  </a:lnTo>
                  <a:lnTo>
                    <a:pt x="100" y="3231"/>
                  </a:lnTo>
                  <a:lnTo>
                    <a:pt x="92" y="3232"/>
                  </a:lnTo>
                  <a:lnTo>
                    <a:pt x="85" y="3232"/>
                  </a:lnTo>
                  <a:lnTo>
                    <a:pt x="77" y="3232"/>
                  </a:lnTo>
                  <a:lnTo>
                    <a:pt x="69" y="3231"/>
                  </a:lnTo>
                  <a:lnTo>
                    <a:pt x="60" y="3229"/>
                  </a:lnTo>
                  <a:lnTo>
                    <a:pt x="52" y="3226"/>
                  </a:lnTo>
                  <a:lnTo>
                    <a:pt x="45" y="3222"/>
                  </a:lnTo>
                  <a:lnTo>
                    <a:pt x="38" y="3218"/>
                  </a:lnTo>
                  <a:lnTo>
                    <a:pt x="30" y="3213"/>
                  </a:lnTo>
                  <a:lnTo>
                    <a:pt x="24" y="3207"/>
                  </a:lnTo>
                  <a:lnTo>
                    <a:pt x="17" y="3199"/>
                  </a:lnTo>
                  <a:lnTo>
                    <a:pt x="11" y="3189"/>
                  </a:lnTo>
                  <a:lnTo>
                    <a:pt x="6" y="3179"/>
                  </a:lnTo>
                  <a:lnTo>
                    <a:pt x="3" y="3169"/>
                  </a:lnTo>
                  <a:lnTo>
                    <a:pt x="0" y="3159"/>
                  </a:lnTo>
                  <a:lnTo>
                    <a:pt x="0" y="3147"/>
                  </a:lnTo>
                  <a:lnTo>
                    <a:pt x="0" y="3137"/>
                  </a:lnTo>
                  <a:lnTo>
                    <a:pt x="2" y="3127"/>
                  </a:lnTo>
                  <a:close/>
                  <a:moveTo>
                    <a:pt x="288" y="2741"/>
                  </a:moveTo>
                  <a:lnTo>
                    <a:pt x="279" y="2769"/>
                  </a:lnTo>
                  <a:lnTo>
                    <a:pt x="270" y="2795"/>
                  </a:lnTo>
                  <a:lnTo>
                    <a:pt x="261" y="2821"/>
                  </a:lnTo>
                  <a:lnTo>
                    <a:pt x="253" y="2848"/>
                  </a:lnTo>
                  <a:lnTo>
                    <a:pt x="245" y="2875"/>
                  </a:lnTo>
                  <a:lnTo>
                    <a:pt x="236" y="2901"/>
                  </a:lnTo>
                  <a:lnTo>
                    <a:pt x="229" y="2928"/>
                  </a:lnTo>
                  <a:lnTo>
                    <a:pt x="222" y="2953"/>
                  </a:lnTo>
                  <a:lnTo>
                    <a:pt x="246" y="2941"/>
                  </a:lnTo>
                  <a:lnTo>
                    <a:pt x="271" y="2928"/>
                  </a:lnTo>
                  <a:lnTo>
                    <a:pt x="297" y="2915"/>
                  </a:lnTo>
                  <a:lnTo>
                    <a:pt x="323" y="2902"/>
                  </a:lnTo>
                  <a:lnTo>
                    <a:pt x="374" y="2877"/>
                  </a:lnTo>
                  <a:lnTo>
                    <a:pt x="426" y="2851"/>
                  </a:lnTo>
                  <a:lnTo>
                    <a:pt x="478" y="2824"/>
                  </a:lnTo>
                  <a:lnTo>
                    <a:pt x="531" y="2794"/>
                  </a:lnTo>
                  <a:lnTo>
                    <a:pt x="557" y="2777"/>
                  </a:lnTo>
                  <a:lnTo>
                    <a:pt x="583" y="2762"/>
                  </a:lnTo>
                  <a:lnTo>
                    <a:pt x="607" y="2744"/>
                  </a:lnTo>
                  <a:lnTo>
                    <a:pt x="633" y="2727"/>
                  </a:lnTo>
                  <a:lnTo>
                    <a:pt x="658" y="2708"/>
                  </a:lnTo>
                  <a:lnTo>
                    <a:pt x="681" y="2690"/>
                  </a:lnTo>
                  <a:lnTo>
                    <a:pt x="705" y="2670"/>
                  </a:lnTo>
                  <a:lnTo>
                    <a:pt x="728" y="2648"/>
                  </a:lnTo>
                  <a:lnTo>
                    <a:pt x="749" y="2628"/>
                  </a:lnTo>
                  <a:lnTo>
                    <a:pt x="770" y="2605"/>
                  </a:lnTo>
                  <a:lnTo>
                    <a:pt x="791" y="2581"/>
                  </a:lnTo>
                  <a:lnTo>
                    <a:pt x="809" y="2557"/>
                  </a:lnTo>
                  <a:lnTo>
                    <a:pt x="827" y="2531"/>
                  </a:lnTo>
                  <a:lnTo>
                    <a:pt x="844" y="2504"/>
                  </a:lnTo>
                  <a:lnTo>
                    <a:pt x="860" y="2477"/>
                  </a:lnTo>
                  <a:lnTo>
                    <a:pt x="874" y="2447"/>
                  </a:lnTo>
                  <a:lnTo>
                    <a:pt x="886" y="2417"/>
                  </a:lnTo>
                  <a:lnTo>
                    <a:pt x="898" y="2386"/>
                  </a:lnTo>
                  <a:lnTo>
                    <a:pt x="908" y="2353"/>
                  </a:lnTo>
                  <a:lnTo>
                    <a:pt x="916" y="2319"/>
                  </a:lnTo>
                  <a:lnTo>
                    <a:pt x="922" y="2283"/>
                  </a:lnTo>
                  <a:lnTo>
                    <a:pt x="928" y="2247"/>
                  </a:lnTo>
                  <a:lnTo>
                    <a:pt x="931" y="2208"/>
                  </a:lnTo>
                  <a:lnTo>
                    <a:pt x="932" y="2169"/>
                  </a:lnTo>
                  <a:lnTo>
                    <a:pt x="933" y="2161"/>
                  </a:lnTo>
                  <a:lnTo>
                    <a:pt x="934" y="2153"/>
                  </a:lnTo>
                  <a:lnTo>
                    <a:pt x="935" y="2146"/>
                  </a:lnTo>
                  <a:lnTo>
                    <a:pt x="937" y="2139"/>
                  </a:lnTo>
                  <a:lnTo>
                    <a:pt x="962" y="2074"/>
                  </a:lnTo>
                  <a:lnTo>
                    <a:pt x="985" y="2009"/>
                  </a:lnTo>
                  <a:lnTo>
                    <a:pt x="1010" y="1944"/>
                  </a:lnTo>
                  <a:lnTo>
                    <a:pt x="1036" y="1878"/>
                  </a:lnTo>
                  <a:lnTo>
                    <a:pt x="1060" y="1812"/>
                  </a:lnTo>
                  <a:lnTo>
                    <a:pt x="1086" y="1746"/>
                  </a:lnTo>
                  <a:lnTo>
                    <a:pt x="1111" y="1679"/>
                  </a:lnTo>
                  <a:lnTo>
                    <a:pt x="1138" y="1612"/>
                  </a:lnTo>
                  <a:lnTo>
                    <a:pt x="1163" y="1546"/>
                  </a:lnTo>
                  <a:lnTo>
                    <a:pt x="1189" y="1479"/>
                  </a:lnTo>
                  <a:lnTo>
                    <a:pt x="1216" y="1412"/>
                  </a:lnTo>
                  <a:lnTo>
                    <a:pt x="1243" y="1345"/>
                  </a:lnTo>
                  <a:lnTo>
                    <a:pt x="1270" y="1278"/>
                  </a:lnTo>
                  <a:lnTo>
                    <a:pt x="1296" y="1211"/>
                  </a:lnTo>
                  <a:lnTo>
                    <a:pt x="1324" y="1145"/>
                  </a:lnTo>
                  <a:lnTo>
                    <a:pt x="1352" y="1078"/>
                  </a:lnTo>
                  <a:lnTo>
                    <a:pt x="1381" y="1008"/>
                  </a:lnTo>
                  <a:lnTo>
                    <a:pt x="1411" y="939"/>
                  </a:lnTo>
                  <a:lnTo>
                    <a:pt x="1440" y="869"/>
                  </a:lnTo>
                  <a:lnTo>
                    <a:pt x="1470" y="800"/>
                  </a:lnTo>
                  <a:lnTo>
                    <a:pt x="1501" y="731"/>
                  </a:lnTo>
                  <a:lnTo>
                    <a:pt x="1531" y="663"/>
                  </a:lnTo>
                  <a:lnTo>
                    <a:pt x="1563" y="594"/>
                  </a:lnTo>
                  <a:lnTo>
                    <a:pt x="1594" y="526"/>
                  </a:lnTo>
                  <a:lnTo>
                    <a:pt x="1553" y="573"/>
                  </a:lnTo>
                  <a:lnTo>
                    <a:pt x="1512" y="622"/>
                  </a:lnTo>
                  <a:lnTo>
                    <a:pt x="1471" y="670"/>
                  </a:lnTo>
                  <a:lnTo>
                    <a:pt x="1431" y="720"/>
                  </a:lnTo>
                  <a:lnTo>
                    <a:pt x="1391" y="770"/>
                  </a:lnTo>
                  <a:lnTo>
                    <a:pt x="1351" y="822"/>
                  </a:lnTo>
                  <a:lnTo>
                    <a:pt x="1311" y="873"/>
                  </a:lnTo>
                  <a:lnTo>
                    <a:pt x="1272" y="925"/>
                  </a:lnTo>
                  <a:lnTo>
                    <a:pt x="1232" y="978"/>
                  </a:lnTo>
                  <a:lnTo>
                    <a:pt x="1194" y="1032"/>
                  </a:lnTo>
                  <a:lnTo>
                    <a:pt x="1156" y="1086"/>
                  </a:lnTo>
                  <a:lnTo>
                    <a:pt x="1118" y="1140"/>
                  </a:lnTo>
                  <a:lnTo>
                    <a:pt x="1080" y="1196"/>
                  </a:lnTo>
                  <a:lnTo>
                    <a:pt x="1043" y="1250"/>
                  </a:lnTo>
                  <a:lnTo>
                    <a:pt x="1007" y="1307"/>
                  </a:lnTo>
                  <a:lnTo>
                    <a:pt x="971" y="1363"/>
                  </a:lnTo>
                  <a:lnTo>
                    <a:pt x="935" y="1420"/>
                  </a:lnTo>
                  <a:lnTo>
                    <a:pt x="900" y="1477"/>
                  </a:lnTo>
                  <a:lnTo>
                    <a:pt x="865" y="1534"/>
                  </a:lnTo>
                  <a:lnTo>
                    <a:pt x="831" y="1592"/>
                  </a:lnTo>
                  <a:lnTo>
                    <a:pt x="797" y="1649"/>
                  </a:lnTo>
                  <a:lnTo>
                    <a:pt x="764" y="1707"/>
                  </a:lnTo>
                  <a:lnTo>
                    <a:pt x="731" y="1766"/>
                  </a:lnTo>
                  <a:lnTo>
                    <a:pt x="699" y="1824"/>
                  </a:lnTo>
                  <a:lnTo>
                    <a:pt x="668" y="1882"/>
                  </a:lnTo>
                  <a:lnTo>
                    <a:pt x="637" y="1941"/>
                  </a:lnTo>
                  <a:lnTo>
                    <a:pt x="607" y="1999"/>
                  </a:lnTo>
                  <a:lnTo>
                    <a:pt x="578" y="2058"/>
                  </a:lnTo>
                  <a:lnTo>
                    <a:pt x="550" y="2115"/>
                  </a:lnTo>
                  <a:lnTo>
                    <a:pt x="522" y="2174"/>
                  </a:lnTo>
                  <a:lnTo>
                    <a:pt x="494" y="2232"/>
                  </a:lnTo>
                  <a:lnTo>
                    <a:pt x="468" y="2291"/>
                  </a:lnTo>
                  <a:lnTo>
                    <a:pt x="442" y="2347"/>
                  </a:lnTo>
                  <a:lnTo>
                    <a:pt x="418" y="2405"/>
                  </a:lnTo>
                  <a:lnTo>
                    <a:pt x="394" y="2463"/>
                  </a:lnTo>
                  <a:lnTo>
                    <a:pt x="371" y="2519"/>
                  </a:lnTo>
                  <a:lnTo>
                    <a:pt x="349" y="2575"/>
                  </a:lnTo>
                  <a:lnTo>
                    <a:pt x="328" y="2631"/>
                  </a:lnTo>
                  <a:lnTo>
                    <a:pt x="307" y="2686"/>
                  </a:lnTo>
                  <a:lnTo>
                    <a:pt x="288" y="274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6" name="Freeform 81"/>
            <p:cNvSpPr>
              <a:spLocks noChangeArrowheads="1"/>
            </p:cNvSpPr>
            <p:nvPr userDrawn="1"/>
          </p:nvSpPr>
          <p:spPr bwMode="auto">
            <a:xfrm>
              <a:off x="1414462" y="1401346"/>
              <a:ext cx="820737" cy="1702504"/>
            </a:xfrm>
            <a:custGeom>
              <a:avLst/>
              <a:gdLst>
                <a:gd name="T0" fmla="*/ 22 w 1822"/>
                <a:gd name="T1" fmla="*/ 2967 h 3060"/>
                <a:gd name="T2" fmla="*/ 74 w 1822"/>
                <a:gd name="T3" fmla="*/ 2777 h 3060"/>
                <a:gd name="T4" fmla="*/ 140 w 1822"/>
                <a:gd name="T5" fmla="*/ 2578 h 3060"/>
                <a:gd name="T6" fmla="*/ 217 w 1822"/>
                <a:gd name="T7" fmla="*/ 2375 h 3060"/>
                <a:gd name="T8" fmla="*/ 306 w 1822"/>
                <a:gd name="T9" fmla="*/ 2167 h 3060"/>
                <a:gd name="T10" fmla="*/ 405 w 1822"/>
                <a:gd name="T11" fmla="*/ 1958 h 3060"/>
                <a:gd name="T12" fmla="*/ 512 w 1822"/>
                <a:gd name="T13" fmla="*/ 1748 h 3060"/>
                <a:gd name="T14" fmla="*/ 627 w 1822"/>
                <a:gd name="T15" fmla="*/ 1539 h 3060"/>
                <a:gd name="T16" fmla="*/ 751 w 1822"/>
                <a:gd name="T17" fmla="*/ 1331 h 3060"/>
                <a:gd name="T18" fmla="*/ 881 w 1822"/>
                <a:gd name="T19" fmla="*/ 1128 h 3060"/>
                <a:gd name="T20" fmla="*/ 1016 w 1822"/>
                <a:gd name="T21" fmla="*/ 929 h 3060"/>
                <a:gd name="T22" fmla="*/ 1156 w 1822"/>
                <a:gd name="T23" fmla="*/ 739 h 3060"/>
                <a:gd name="T24" fmla="*/ 1300 w 1822"/>
                <a:gd name="T25" fmla="*/ 555 h 3060"/>
                <a:gd name="T26" fmla="*/ 1447 w 1822"/>
                <a:gd name="T27" fmla="*/ 381 h 3060"/>
                <a:gd name="T28" fmla="*/ 1597 w 1822"/>
                <a:gd name="T29" fmla="*/ 219 h 3060"/>
                <a:gd name="T30" fmla="*/ 1747 w 1822"/>
                <a:gd name="T31" fmla="*/ 70 h 3060"/>
                <a:gd name="T32" fmla="*/ 1790 w 1822"/>
                <a:gd name="T33" fmla="*/ 60 h 3060"/>
                <a:gd name="T34" fmla="*/ 1728 w 1822"/>
                <a:gd name="T35" fmla="*/ 182 h 3060"/>
                <a:gd name="T36" fmla="*/ 1636 w 1822"/>
                <a:gd name="T37" fmla="*/ 371 h 3060"/>
                <a:gd name="T38" fmla="*/ 1517 w 1822"/>
                <a:gd name="T39" fmla="*/ 628 h 3060"/>
                <a:gd name="T40" fmla="*/ 1402 w 1822"/>
                <a:gd name="T41" fmla="*/ 892 h 3060"/>
                <a:gd name="T42" fmla="*/ 1291 w 1822"/>
                <a:gd name="T43" fmla="*/ 1159 h 3060"/>
                <a:gd name="T44" fmla="*/ 1182 w 1822"/>
                <a:gd name="T45" fmla="*/ 1426 h 3060"/>
                <a:gd name="T46" fmla="*/ 1079 w 1822"/>
                <a:gd name="T47" fmla="*/ 1692 h 3060"/>
                <a:gd name="T48" fmla="*/ 981 w 1822"/>
                <a:gd name="T49" fmla="*/ 1954 h 3060"/>
                <a:gd name="T50" fmla="*/ 930 w 1822"/>
                <a:gd name="T51" fmla="*/ 2145 h 3060"/>
                <a:gd name="T52" fmla="*/ 914 w 1822"/>
                <a:gd name="T53" fmla="*/ 2259 h 3060"/>
                <a:gd name="T54" fmla="*/ 884 w 1822"/>
                <a:gd name="T55" fmla="*/ 2361 h 3060"/>
                <a:gd name="T56" fmla="*/ 842 w 1822"/>
                <a:gd name="T57" fmla="*/ 2451 h 3060"/>
                <a:gd name="T58" fmla="*/ 788 w 1822"/>
                <a:gd name="T59" fmla="*/ 2531 h 3060"/>
                <a:gd name="T60" fmla="*/ 726 w 1822"/>
                <a:gd name="T61" fmla="*/ 2603 h 3060"/>
                <a:gd name="T62" fmla="*/ 657 w 1822"/>
                <a:gd name="T63" fmla="*/ 2665 h 3060"/>
                <a:gd name="T64" fmla="*/ 584 w 1822"/>
                <a:gd name="T65" fmla="*/ 2721 h 3060"/>
                <a:gd name="T66" fmla="*/ 506 w 1822"/>
                <a:gd name="T67" fmla="*/ 2772 h 3060"/>
                <a:gd name="T68" fmla="*/ 427 w 1822"/>
                <a:gd name="T69" fmla="*/ 2816 h 3060"/>
                <a:gd name="T70" fmla="*/ 310 w 1822"/>
                <a:gd name="T71" fmla="*/ 2877 h 3060"/>
                <a:gd name="T72" fmla="*/ 199 w 1822"/>
                <a:gd name="T73" fmla="*/ 2932 h 3060"/>
                <a:gd name="T74" fmla="*/ 132 w 1822"/>
                <a:gd name="T75" fmla="*/ 2967 h 3060"/>
                <a:gd name="T76" fmla="*/ 71 w 1822"/>
                <a:gd name="T77" fmla="*/ 3004 h 3060"/>
                <a:gd name="T78" fmla="*/ 21 w 1822"/>
                <a:gd name="T79" fmla="*/ 3041 h 3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22" h="3060">
                  <a:moveTo>
                    <a:pt x="0" y="3060"/>
                  </a:moveTo>
                  <a:lnTo>
                    <a:pt x="22" y="2967"/>
                  </a:lnTo>
                  <a:lnTo>
                    <a:pt x="46" y="2873"/>
                  </a:lnTo>
                  <a:lnTo>
                    <a:pt x="74" y="2777"/>
                  </a:lnTo>
                  <a:lnTo>
                    <a:pt x="106" y="2678"/>
                  </a:lnTo>
                  <a:lnTo>
                    <a:pt x="140" y="2578"/>
                  </a:lnTo>
                  <a:lnTo>
                    <a:pt x="177" y="2477"/>
                  </a:lnTo>
                  <a:lnTo>
                    <a:pt x="217" y="2375"/>
                  </a:lnTo>
                  <a:lnTo>
                    <a:pt x="261" y="2272"/>
                  </a:lnTo>
                  <a:lnTo>
                    <a:pt x="306" y="2167"/>
                  </a:lnTo>
                  <a:lnTo>
                    <a:pt x="354" y="2063"/>
                  </a:lnTo>
                  <a:lnTo>
                    <a:pt x="405" y="1958"/>
                  </a:lnTo>
                  <a:lnTo>
                    <a:pt x="457" y="1853"/>
                  </a:lnTo>
                  <a:lnTo>
                    <a:pt x="512" y="1748"/>
                  </a:lnTo>
                  <a:lnTo>
                    <a:pt x="569" y="1643"/>
                  </a:lnTo>
                  <a:lnTo>
                    <a:pt x="627" y="1539"/>
                  </a:lnTo>
                  <a:lnTo>
                    <a:pt x="688" y="1435"/>
                  </a:lnTo>
                  <a:lnTo>
                    <a:pt x="751" y="1331"/>
                  </a:lnTo>
                  <a:lnTo>
                    <a:pt x="815" y="1229"/>
                  </a:lnTo>
                  <a:lnTo>
                    <a:pt x="881" y="1128"/>
                  </a:lnTo>
                  <a:lnTo>
                    <a:pt x="948" y="1028"/>
                  </a:lnTo>
                  <a:lnTo>
                    <a:pt x="1016" y="929"/>
                  </a:lnTo>
                  <a:lnTo>
                    <a:pt x="1086" y="834"/>
                  </a:lnTo>
                  <a:lnTo>
                    <a:pt x="1156" y="739"/>
                  </a:lnTo>
                  <a:lnTo>
                    <a:pt x="1228" y="645"/>
                  </a:lnTo>
                  <a:lnTo>
                    <a:pt x="1300" y="555"/>
                  </a:lnTo>
                  <a:lnTo>
                    <a:pt x="1373" y="467"/>
                  </a:lnTo>
                  <a:lnTo>
                    <a:pt x="1447" y="381"/>
                  </a:lnTo>
                  <a:lnTo>
                    <a:pt x="1521" y="299"/>
                  </a:lnTo>
                  <a:lnTo>
                    <a:pt x="1597" y="219"/>
                  </a:lnTo>
                  <a:lnTo>
                    <a:pt x="1672" y="143"/>
                  </a:lnTo>
                  <a:lnTo>
                    <a:pt x="1747" y="70"/>
                  </a:lnTo>
                  <a:lnTo>
                    <a:pt x="1822" y="0"/>
                  </a:lnTo>
                  <a:lnTo>
                    <a:pt x="1790" y="60"/>
                  </a:lnTo>
                  <a:lnTo>
                    <a:pt x="1759" y="121"/>
                  </a:lnTo>
                  <a:lnTo>
                    <a:pt x="1728" y="182"/>
                  </a:lnTo>
                  <a:lnTo>
                    <a:pt x="1697" y="245"/>
                  </a:lnTo>
                  <a:lnTo>
                    <a:pt x="1636" y="371"/>
                  </a:lnTo>
                  <a:lnTo>
                    <a:pt x="1576" y="499"/>
                  </a:lnTo>
                  <a:lnTo>
                    <a:pt x="1517" y="628"/>
                  </a:lnTo>
                  <a:lnTo>
                    <a:pt x="1458" y="759"/>
                  </a:lnTo>
                  <a:lnTo>
                    <a:pt x="1402" y="892"/>
                  </a:lnTo>
                  <a:lnTo>
                    <a:pt x="1345" y="1025"/>
                  </a:lnTo>
                  <a:lnTo>
                    <a:pt x="1291" y="1159"/>
                  </a:lnTo>
                  <a:lnTo>
                    <a:pt x="1236" y="1293"/>
                  </a:lnTo>
                  <a:lnTo>
                    <a:pt x="1182" y="1426"/>
                  </a:lnTo>
                  <a:lnTo>
                    <a:pt x="1131" y="1560"/>
                  </a:lnTo>
                  <a:lnTo>
                    <a:pt x="1079" y="1692"/>
                  </a:lnTo>
                  <a:lnTo>
                    <a:pt x="1029" y="1824"/>
                  </a:lnTo>
                  <a:lnTo>
                    <a:pt x="981" y="1954"/>
                  </a:lnTo>
                  <a:lnTo>
                    <a:pt x="932" y="2083"/>
                  </a:lnTo>
                  <a:lnTo>
                    <a:pt x="930" y="2145"/>
                  </a:lnTo>
                  <a:lnTo>
                    <a:pt x="924" y="2204"/>
                  </a:lnTo>
                  <a:lnTo>
                    <a:pt x="914" y="2259"/>
                  </a:lnTo>
                  <a:lnTo>
                    <a:pt x="900" y="2311"/>
                  </a:lnTo>
                  <a:lnTo>
                    <a:pt x="884" y="2361"/>
                  </a:lnTo>
                  <a:lnTo>
                    <a:pt x="864" y="2408"/>
                  </a:lnTo>
                  <a:lnTo>
                    <a:pt x="842" y="2451"/>
                  </a:lnTo>
                  <a:lnTo>
                    <a:pt x="816" y="2492"/>
                  </a:lnTo>
                  <a:lnTo>
                    <a:pt x="788" y="2531"/>
                  </a:lnTo>
                  <a:lnTo>
                    <a:pt x="758" y="2568"/>
                  </a:lnTo>
                  <a:lnTo>
                    <a:pt x="726" y="2603"/>
                  </a:lnTo>
                  <a:lnTo>
                    <a:pt x="693" y="2635"/>
                  </a:lnTo>
                  <a:lnTo>
                    <a:pt x="657" y="2665"/>
                  </a:lnTo>
                  <a:lnTo>
                    <a:pt x="621" y="2694"/>
                  </a:lnTo>
                  <a:lnTo>
                    <a:pt x="584" y="2721"/>
                  </a:lnTo>
                  <a:lnTo>
                    <a:pt x="545" y="2747"/>
                  </a:lnTo>
                  <a:lnTo>
                    <a:pt x="506" y="2772"/>
                  </a:lnTo>
                  <a:lnTo>
                    <a:pt x="467" y="2794"/>
                  </a:lnTo>
                  <a:lnTo>
                    <a:pt x="427" y="2816"/>
                  </a:lnTo>
                  <a:lnTo>
                    <a:pt x="387" y="2838"/>
                  </a:lnTo>
                  <a:lnTo>
                    <a:pt x="310" y="2877"/>
                  </a:lnTo>
                  <a:lnTo>
                    <a:pt x="235" y="2914"/>
                  </a:lnTo>
                  <a:lnTo>
                    <a:pt x="199" y="2932"/>
                  </a:lnTo>
                  <a:lnTo>
                    <a:pt x="165" y="2950"/>
                  </a:lnTo>
                  <a:lnTo>
                    <a:pt x="132" y="2967"/>
                  </a:lnTo>
                  <a:lnTo>
                    <a:pt x="101" y="2985"/>
                  </a:lnTo>
                  <a:lnTo>
                    <a:pt x="71" y="3004"/>
                  </a:lnTo>
                  <a:lnTo>
                    <a:pt x="45" y="3022"/>
                  </a:lnTo>
                  <a:lnTo>
                    <a:pt x="21" y="3041"/>
                  </a:lnTo>
                  <a:lnTo>
                    <a:pt x="0" y="30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7" name="Freeform 82"/>
            <p:cNvSpPr>
              <a:spLocks noChangeArrowheads="1"/>
            </p:cNvSpPr>
            <p:nvPr userDrawn="1"/>
          </p:nvSpPr>
          <p:spPr bwMode="auto">
            <a:xfrm>
              <a:off x="1003299" y="2439676"/>
              <a:ext cx="395288" cy="2005051"/>
            </a:xfrm>
            <a:custGeom>
              <a:avLst/>
              <a:gdLst>
                <a:gd name="T0" fmla="*/ 18 w 885"/>
                <a:gd name="T1" fmla="*/ 3368 h 3614"/>
                <a:gd name="T2" fmla="*/ 2 w 885"/>
                <a:gd name="T3" fmla="*/ 3074 h 3614"/>
                <a:gd name="T4" fmla="*/ 1 w 885"/>
                <a:gd name="T5" fmla="*/ 2764 h 3614"/>
                <a:gd name="T6" fmla="*/ 21 w 885"/>
                <a:gd name="T7" fmla="*/ 2410 h 3614"/>
                <a:gd name="T8" fmla="*/ 68 w 885"/>
                <a:gd name="T9" fmla="*/ 1990 h 3614"/>
                <a:gd name="T10" fmla="*/ 143 w 885"/>
                <a:gd name="T11" fmla="*/ 1569 h 3614"/>
                <a:gd name="T12" fmla="*/ 246 w 885"/>
                <a:gd name="T13" fmla="*/ 1153 h 3614"/>
                <a:gd name="T14" fmla="*/ 377 w 885"/>
                <a:gd name="T15" fmla="*/ 754 h 3614"/>
                <a:gd name="T16" fmla="*/ 538 w 885"/>
                <a:gd name="T17" fmla="*/ 380 h 3614"/>
                <a:gd name="T18" fmla="*/ 727 w 885"/>
                <a:gd name="T19" fmla="*/ 39 h 3614"/>
                <a:gd name="T20" fmla="*/ 757 w 885"/>
                <a:gd name="T21" fmla="*/ 11 h 3614"/>
                <a:gd name="T22" fmla="*/ 796 w 885"/>
                <a:gd name="T23" fmla="*/ 0 h 3614"/>
                <a:gd name="T24" fmla="*/ 836 w 885"/>
                <a:gd name="T25" fmla="*/ 9 h 3614"/>
                <a:gd name="T26" fmla="*/ 865 w 885"/>
                <a:gd name="T27" fmla="*/ 32 h 3614"/>
                <a:gd name="T28" fmla="*/ 884 w 885"/>
                <a:gd name="T29" fmla="*/ 87 h 3614"/>
                <a:gd name="T30" fmla="*/ 871 w 885"/>
                <a:gd name="T31" fmla="*/ 151 h 3614"/>
                <a:gd name="T32" fmla="*/ 834 w 885"/>
                <a:gd name="T33" fmla="*/ 375 h 3614"/>
                <a:gd name="T34" fmla="*/ 815 w 885"/>
                <a:gd name="T35" fmla="*/ 604 h 3614"/>
                <a:gd name="T36" fmla="*/ 809 w 885"/>
                <a:gd name="T37" fmla="*/ 837 h 3614"/>
                <a:gd name="T38" fmla="*/ 826 w 885"/>
                <a:gd name="T39" fmla="*/ 1312 h 3614"/>
                <a:gd name="T40" fmla="*/ 853 w 885"/>
                <a:gd name="T41" fmla="*/ 1698 h 3614"/>
                <a:gd name="T42" fmla="*/ 869 w 885"/>
                <a:gd name="T43" fmla="*/ 1944 h 3614"/>
                <a:gd name="T44" fmla="*/ 881 w 885"/>
                <a:gd name="T45" fmla="*/ 2187 h 3614"/>
                <a:gd name="T46" fmla="*/ 884 w 885"/>
                <a:gd name="T47" fmla="*/ 2387 h 3614"/>
                <a:gd name="T48" fmla="*/ 869 w 885"/>
                <a:gd name="T49" fmla="*/ 2429 h 3614"/>
                <a:gd name="T50" fmla="*/ 777 w 885"/>
                <a:gd name="T51" fmla="*/ 2568 h 3614"/>
                <a:gd name="T52" fmla="*/ 718 w 885"/>
                <a:gd name="T53" fmla="*/ 2661 h 3614"/>
                <a:gd name="T54" fmla="*/ 616 w 885"/>
                <a:gd name="T55" fmla="*/ 2821 h 3614"/>
                <a:gd name="T56" fmla="*/ 442 w 885"/>
                <a:gd name="T57" fmla="*/ 3108 h 3614"/>
                <a:gd name="T58" fmla="*/ 287 w 885"/>
                <a:gd name="T59" fmla="*/ 3381 h 3614"/>
                <a:gd name="T60" fmla="*/ 196 w 885"/>
                <a:gd name="T61" fmla="*/ 3569 h 3614"/>
                <a:gd name="T62" fmla="*/ 167 w 885"/>
                <a:gd name="T63" fmla="*/ 3600 h 3614"/>
                <a:gd name="T64" fmla="*/ 129 w 885"/>
                <a:gd name="T65" fmla="*/ 3614 h 3614"/>
                <a:gd name="T66" fmla="*/ 88 w 885"/>
                <a:gd name="T67" fmla="*/ 3608 h 3614"/>
                <a:gd name="T68" fmla="*/ 46 w 885"/>
                <a:gd name="T69" fmla="*/ 3570 h 3614"/>
                <a:gd name="T70" fmla="*/ 172 w 885"/>
                <a:gd name="T71" fmla="*/ 3069 h 3614"/>
                <a:gd name="T72" fmla="*/ 176 w 885"/>
                <a:gd name="T73" fmla="*/ 3165 h 3614"/>
                <a:gd name="T74" fmla="*/ 264 w 885"/>
                <a:gd name="T75" fmla="*/ 3074 h 3614"/>
                <a:gd name="T76" fmla="*/ 495 w 885"/>
                <a:gd name="T77" fmla="*/ 2692 h 3614"/>
                <a:gd name="T78" fmla="*/ 578 w 885"/>
                <a:gd name="T79" fmla="*/ 2563 h 3614"/>
                <a:gd name="T80" fmla="*/ 644 w 885"/>
                <a:gd name="T81" fmla="*/ 2460 h 3614"/>
                <a:gd name="T82" fmla="*/ 710 w 885"/>
                <a:gd name="T83" fmla="*/ 2171 h 3614"/>
                <a:gd name="T84" fmla="*/ 697 w 885"/>
                <a:gd name="T85" fmla="*/ 1939 h 3614"/>
                <a:gd name="T86" fmla="*/ 682 w 885"/>
                <a:gd name="T87" fmla="*/ 1706 h 3614"/>
                <a:gd name="T88" fmla="*/ 661 w 885"/>
                <a:gd name="T89" fmla="*/ 1411 h 3614"/>
                <a:gd name="T90" fmla="*/ 643 w 885"/>
                <a:gd name="T91" fmla="*/ 1077 h 3614"/>
                <a:gd name="T92" fmla="*/ 639 w 885"/>
                <a:gd name="T93" fmla="*/ 746 h 3614"/>
                <a:gd name="T94" fmla="*/ 596 w 885"/>
                <a:gd name="T95" fmla="*/ 664 h 3614"/>
                <a:gd name="T96" fmla="*/ 483 w 885"/>
                <a:gd name="T97" fmla="*/ 965 h 3614"/>
                <a:gd name="T98" fmla="*/ 387 w 885"/>
                <a:gd name="T99" fmla="*/ 1280 h 3614"/>
                <a:gd name="T100" fmla="*/ 310 w 885"/>
                <a:gd name="T101" fmla="*/ 1604 h 3614"/>
                <a:gd name="T102" fmla="*/ 249 w 885"/>
                <a:gd name="T103" fmla="*/ 1931 h 3614"/>
                <a:gd name="T104" fmla="*/ 206 w 885"/>
                <a:gd name="T105" fmla="*/ 2260 h 3614"/>
                <a:gd name="T106" fmla="*/ 180 w 885"/>
                <a:gd name="T107" fmla="*/ 2584 h 3614"/>
                <a:gd name="T108" fmla="*/ 170 w 885"/>
                <a:gd name="T109" fmla="*/ 2891 h 3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85" h="3614">
                  <a:moveTo>
                    <a:pt x="36" y="3538"/>
                  </a:moveTo>
                  <a:lnTo>
                    <a:pt x="35" y="3535"/>
                  </a:lnTo>
                  <a:lnTo>
                    <a:pt x="29" y="3481"/>
                  </a:lnTo>
                  <a:lnTo>
                    <a:pt x="23" y="3425"/>
                  </a:lnTo>
                  <a:lnTo>
                    <a:pt x="18" y="3368"/>
                  </a:lnTo>
                  <a:lnTo>
                    <a:pt x="13" y="3312"/>
                  </a:lnTo>
                  <a:lnTo>
                    <a:pt x="9" y="3253"/>
                  </a:lnTo>
                  <a:lnTo>
                    <a:pt x="6" y="3194"/>
                  </a:lnTo>
                  <a:lnTo>
                    <a:pt x="3" y="3134"/>
                  </a:lnTo>
                  <a:lnTo>
                    <a:pt x="2" y="3074"/>
                  </a:lnTo>
                  <a:lnTo>
                    <a:pt x="0" y="3013"/>
                  </a:lnTo>
                  <a:lnTo>
                    <a:pt x="0" y="2951"/>
                  </a:lnTo>
                  <a:lnTo>
                    <a:pt x="0" y="2889"/>
                  </a:lnTo>
                  <a:lnTo>
                    <a:pt x="0" y="2827"/>
                  </a:lnTo>
                  <a:lnTo>
                    <a:pt x="1" y="2764"/>
                  </a:lnTo>
                  <a:lnTo>
                    <a:pt x="3" y="2701"/>
                  </a:lnTo>
                  <a:lnTo>
                    <a:pt x="6" y="2639"/>
                  </a:lnTo>
                  <a:lnTo>
                    <a:pt x="9" y="2575"/>
                  </a:lnTo>
                  <a:lnTo>
                    <a:pt x="14" y="2492"/>
                  </a:lnTo>
                  <a:lnTo>
                    <a:pt x="21" y="2410"/>
                  </a:lnTo>
                  <a:lnTo>
                    <a:pt x="28" y="2326"/>
                  </a:lnTo>
                  <a:lnTo>
                    <a:pt x="36" y="2243"/>
                  </a:lnTo>
                  <a:lnTo>
                    <a:pt x="45" y="2158"/>
                  </a:lnTo>
                  <a:lnTo>
                    <a:pt x="56" y="2075"/>
                  </a:lnTo>
                  <a:lnTo>
                    <a:pt x="68" y="1990"/>
                  </a:lnTo>
                  <a:lnTo>
                    <a:pt x="80" y="1906"/>
                  </a:lnTo>
                  <a:lnTo>
                    <a:pt x="95" y="1821"/>
                  </a:lnTo>
                  <a:lnTo>
                    <a:pt x="109" y="1737"/>
                  </a:lnTo>
                  <a:lnTo>
                    <a:pt x="126" y="1652"/>
                  </a:lnTo>
                  <a:lnTo>
                    <a:pt x="143" y="1569"/>
                  </a:lnTo>
                  <a:lnTo>
                    <a:pt x="161" y="1484"/>
                  </a:lnTo>
                  <a:lnTo>
                    <a:pt x="180" y="1400"/>
                  </a:lnTo>
                  <a:lnTo>
                    <a:pt x="201" y="1318"/>
                  </a:lnTo>
                  <a:lnTo>
                    <a:pt x="224" y="1236"/>
                  </a:lnTo>
                  <a:lnTo>
                    <a:pt x="246" y="1153"/>
                  </a:lnTo>
                  <a:lnTo>
                    <a:pt x="270" y="1072"/>
                  </a:lnTo>
                  <a:lnTo>
                    <a:pt x="295" y="991"/>
                  </a:lnTo>
                  <a:lnTo>
                    <a:pt x="321" y="912"/>
                  </a:lnTo>
                  <a:lnTo>
                    <a:pt x="348" y="832"/>
                  </a:lnTo>
                  <a:lnTo>
                    <a:pt x="377" y="754"/>
                  </a:lnTo>
                  <a:lnTo>
                    <a:pt x="407" y="678"/>
                  </a:lnTo>
                  <a:lnTo>
                    <a:pt x="438" y="602"/>
                  </a:lnTo>
                  <a:lnTo>
                    <a:pt x="470" y="526"/>
                  </a:lnTo>
                  <a:lnTo>
                    <a:pt x="503" y="453"/>
                  </a:lnTo>
                  <a:lnTo>
                    <a:pt x="538" y="380"/>
                  </a:lnTo>
                  <a:lnTo>
                    <a:pt x="573" y="309"/>
                  </a:lnTo>
                  <a:lnTo>
                    <a:pt x="610" y="240"/>
                  </a:lnTo>
                  <a:lnTo>
                    <a:pt x="648" y="171"/>
                  </a:lnTo>
                  <a:lnTo>
                    <a:pt x="686" y="105"/>
                  </a:lnTo>
                  <a:lnTo>
                    <a:pt x="727" y="39"/>
                  </a:lnTo>
                  <a:lnTo>
                    <a:pt x="731" y="33"/>
                  </a:lnTo>
                  <a:lnTo>
                    <a:pt x="738" y="25"/>
                  </a:lnTo>
                  <a:lnTo>
                    <a:pt x="744" y="20"/>
                  </a:lnTo>
                  <a:lnTo>
                    <a:pt x="750" y="15"/>
                  </a:lnTo>
                  <a:lnTo>
                    <a:pt x="757" y="11"/>
                  </a:lnTo>
                  <a:lnTo>
                    <a:pt x="764" y="7"/>
                  </a:lnTo>
                  <a:lnTo>
                    <a:pt x="773" y="4"/>
                  </a:lnTo>
                  <a:lnTo>
                    <a:pt x="780" y="2"/>
                  </a:lnTo>
                  <a:lnTo>
                    <a:pt x="788" y="1"/>
                  </a:lnTo>
                  <a:lnTo>
                    <a:pt x="796" y="0"/>
                  </a:lnTo>
                  <a:lnTo>
                    <a:pt x="804" y="0"/>
                  </a:lnTo>
                  <a:lnTo>
                    <a:pt x="813" y="1"/>
                  </a:lnTo>
                  <a:lnTo>
                    <a:pt x="821" y="3"/>
                  </a:lnTo>
                  <a:lnTo>
                    <a:pt x="829" y="6"/>
                  </a:lnTo>
                  <a:lnTo>
                    <a:pt x="836" y="9"/>
                  </a:lnTo>
                  <a:lnTo>
                    <a:pt x="845" y="13"/>
                  </a:lnTo>
                  <a:lnTo>
                    <a:pt x="850" y="17"/>
                  </a:lnTo>
                  <a:lnTo>
                    <a:pt x="856" y="21"/>
                  </a:lnTo>
                  <a:lnTo>
                    <a:pt x="860" y="26"/>
                  </a:lnTo>
                  <a:lnTo>
                    <a:pt x="865" y="32"/>
                  </a:lnTo>
                  <a:lnTo>
                    <a:pt x="872" y="43"/>
                  </a:lnTo>
                  <a:lnTo>
                    <a:pt x="879" y="54"/>
                  </a:lnTo>
                  <a:lnTo>
                    <a:pt x="882" y="68"/>
                  </a:lnTo>
                  <a:lnTo>
                    <a:pt x="884" y="80"/>
                  </a:lnTo>
                  <a:lnTo>
                    <a:pt x="884" y="87"/>
                  </a:lnTo>
                  <a:lnTo>
                    <a:pt x="884" y="93"/>
                  </a:lnTo>
                  <a:lnTo>
                    <a:pt x="883" y="100"/>
                  </a:lnTo>
                  <a:lnTo>
                    <a:pt x="882" y="107"/>
                  </a:lnTo>
                  <a:lnTo>
                    <a:pt x="871" y="151"/>
                  </a:lnTo>
                  <a:lnTo>
                    <a:pt x="862" y="195"/>
                  </a:lnTo>
                  <a:lnTo>
                    <a:pt x="854" y="240"/>
                  </a:lnTo>
                  <a:lnTo>
                    <a:pt x="847" y="284"/>
                  </a:lnTo>
                  <a:lnTo>
                    <a:pt x="841" y="329"/>
                  </a:lnTo>
                  <a:lnTo>
                    <a:pt x="834" y="375"/>
                  </a:lnTo>
                  <a:lnTo>
                    <a:pt x="829" y="420"/>
                  </a:lnTo>
                  <a:lnTo>
                    <a:pt x="824" y="466"/>
                  </a:lnTo>
                  <a:lnTo>
                    <a:pt x="820" y="512"/>
                  </a:lnTo>
                  <a:lnTo>
                    <a:pt x="817" y="557"/>
                  </a:lnTo>
                  <a:lnTo>
                    <a:pt x="815" y="604"/>
                  </a:lnTo>
                  <a:lnTo>
                    <a:pt x="812" y="650"/>
                  </a:lnTo>
                  <a:lnTo>
                    <a:pt x="811" y="696"/>
                  </a:lnTo>
                  <a:lnTo>
                    <a:pt x="810" y="743"/>
                  </a:lnTo>
                  <a:lnTo>
                    <a:pt x="809" y="790"/>
                  </a:lnTo>
                  <a:lnTo>
                    <a:pt x="809" y="837"/>
                  </a:lnTo>
                  <a:lnTo>
                    <a:pt x="810" y="931"/>
                  </a:lnTo>
                  <a:lnTo>
                    <a:pt x="812" y="1026"/>
                  </a:lnTo>
                  <a:lnTo>
                    <a:pt x="816" y="1121"/>
                  </a:lnTo>
                  <a:lnTo>
                    <a:pt x="821" y="1216"/>
                  </a:lnTo>
                  <a:lnTo>
                    <a:pt x="826" y="1312"/>
                  </a:lnTo>
                  <a:lnTo>
                    <a:pt x="832" y="1408"/>
                  </a:lnTo>
                  <a:lnTo>
                    <a:pt x="839" y="1504"/>
                  </a:lnTo>
                  <a:lnTo>
                    <a:pt x="847" y="1599"/>
                  </a:lnTo>
                  <a:lnTo>
                    <a:pt x="850" y="1649"/>
                  </a:lnTo>
                  <a:lnTo>
                    <a:pt x="853" y="1698"/>
                  </a:lnTo>
                  <a:lnTo>
                    <a:pt x="857" y="1747"/>
                  </a:lnTo>
                  <a:lnTo>
                    <a:pt x="860" y="1796"/>
                  </a:lnTo>
                  <a:lnTo>
                    <a:pt x="863" y="1846"/>
                  </a:lnTo>
                  <a:lnTo>
                    <a:pt x="866" y="1894"/>
                  </a:lnTo>
                  <a:lnTo>
                    <a:pt x="869" y="1944"/>
                  </a:lnTo>
                  <a:lnTo>
                    <a:pt x="872" y="1992"/>
                  </a:lnTo>
                  <a:lnTo>
                    <a:pt x="875" y="2041"/>
                  </a:lnTo>
                  <a:lnTo>
                    <a:pt x="877" y="2090"/>
                  </a:lnTo>
                  <a:lnTo>
                    <a:pt x="879" y="2139"/>
                  </a:lnTo>
                  <a:lnTo>
                    <a:pt x="881" y="2187"/>
                  </a:lnTo>
                  <a:lnTo>
                    <a:pt x="883" y="2235"/>
                  </a:lnTo>
                  <a:lnTo>
                    <a:pt x="884" y="2284"/>
                  </a:lnTo>
                  <a:lnTo>
                    <a:pt x="884" y="2332"/>
                  </a:lnTo>
                  <a:lnTo>
                    <a:pt x="885" y="2381"/>
                  </a:lnTo>
                  <a:lnTo>
                    <a:pt x="884" y="2387"/>
                  </a:lnTo>
                  <a:lnTo>
                    <a:pt x="883" y="2394"/>
                  </a:lnTo>
                  <a:lnTo>
                    <a:pt x="882" y="2400"/>
                  </a:lnTo>
                  <a:lnTo>
                    <a:pt x="881" y="2407"/>
                  </a:lnTo>
                  <a:lnTo>
                    <a:pt x="876" y="2419"/>
                  </a:lnTo>
                  <a:lnTo>
                    <a:pt x="869" y="2429"/>
                  </a:lnTo>
                  <a:lnTo>
                    <a:pt x="845" y="2466"/>
                  </a:lnTo>
                  <a:lnTo>
                    <a:pt x="823" y="2499"/>
                  </a:lnTo>
                  <a:lnTo>
                    <a:pt x="803" y="2528"/>
                  </a:lnTo>
                  <a:lnTo>
                    <a:pt x="787" y="2554"/>
                  </a:lnTo>
                  <a:lnTo>
                    <a:pt x="777" y="2568"/>
                  </a:lnTo>
                  <a:lnTo>
                    <a:pt x="766" y="2585"/>
                  </a:lnTo>
                  <a:lnTo>
                    <a:pt x="756" y="2601"/>
                  </a:lnTo>
                  <a:lnTo>
                    <a:pt x="744" y="2620"/>
                  </a:lnTo>
                  <a:lnTo>
                    <a:pt x="731" y="2640"/>
                  </a:lnTo>
                  <a:lnTo>
                    <a:pt x="718" y="2661"/>
                  </a:lnTo>
                  <a:lnTo>
                    <a:pt x="704" y="2684"/>
                  </a:lnTo>
                  <a:lnTo>
                    <a:pt x="688" y="2708"/>
                  </a:lnTo>
                  <a:lnTo>
                    <a:pt x="685" y="2713"/>
                  </a:lnTo>
                  <a:lnTo>
                    <a:pt x="651" y="2766"/>
                  </a:lnTo>
                  <a:lnTo>
                    <a:pt x="616" y="2821"/>
                  </a:lnTo>
                  <a:lnTo>
                    <a:pt x="581" y="2878"/>
                  </a:lnTo>
                  <a:lnTo>
                    <a:pt x="546" y="2934"/>
                  </a:lnTo>
                  <a:lnTo>
                    <a:pt x="511" y="2992"/>
                  </a:lnTo>
                  <a:lnTo>
                    <a:pt x="476" y="3050"/>
                  </a:lnTo>
                  <a:lnTo>
                    <a:pt x="442" y="3108"/>
                  </a:lnTo>
                  <a:lnTo>
                    <a:pt x="408" y="3164"/>
                  </a:lnTo>
                  <a:lnTo>
                    <a:pt x="376" y="3221"/>
                  </a:lnTo>
                  <a:lnTo>
                    <a:pt x="344" y="3276"/>
                  </a:lnTo>
                  <a:lnTo>
                    <a:pt x="315" y="3329"/>
                  </a:lnTo>
                  <a:lnTo>
                    <a:pt x="287" y="3381"/>
                  </a:lnTo>
                  <a:lnTo>
                    <a:pt x="262" y="3430"/>
                  </a:lnTo>
                  <a:lnTo>
                    <a:pt x="238" y="3478"/>
                  </a:lnTo>
                  <a:lnTo>
                    <a:pt x="217" y="3521"/>
                  </a:lnTo>
                  <a:lnTo>
                    <a:pt x="199" y="3562"/>
                  </a:lnTo>
                  <a:lnTo>
                    <a:pt x="196" y="3569"/>
                  </a:lnTo>
                  <a:lnTo>
                    <a:pt x="191" y="3577"/>
                  </a:lnTo>
                  <a:lnTo>
                    <a:pt x="185" y="3584"/>
                  </a:lnTo>
                  <a:lnTo>
                    <a:pt x="180" y="3590"/>
                  </a:lnTo>
                  <a:lnTo>
                    <a:pt x="174" y="3595"/>
                  </a:lnTo>
                  <a:lnTo>
                    <a:pt x="167" y="3600"/>
                  </a:lnTo>
                  <a:lnTo>
                    <a:pt x="160" y="3604"/>
                  </a:lnTo>
                  <a:lnTo>
                    <a:pt x="152" y="3608"/>
                  </a:lnTo>
                  <a:lnTo>
                    <a:pt x="144" y="3611"/>
                  </a:lnTo>
                  <a:lnTo>
                    <a:pt x="137" y="3613"/>
                  </a:lnTo>
                  <a:lnTo>
                    <a:pt x="129" y="3614"/>
                  </a:lnTo>
                  <a:lnTo>
                    <a:pt x="121" y="3614"/>
                  </a:lnTo>
                  <a:lnTo>
                    <a:pt x="112" y="3614"/>
                  </a:lnTo>
                  <a:lnTo>
                    <a:pt x="103" y="3613"/>
                  </a:lnTo>
                  <a:lnTo>
                    <a:pt x="95" y="3611"/>
                  </a:lnTo>
                  <a:lnTo>
                    <a:pt x="88" y="3608"/>
                  </a:lnTo>
                  <a:lnTo>
                    <a:pt x="76" y="3602"/>
                  </a:lnTo>
                  <a:lnTo>
                    <a:pt x="67" y="3595"/>
                  </a:lnTo>
                  <a:lnTo>
                    <a:pt x="59" y="3588"/>
                  </a:lnTo>
                  <a:lnTo>
                    <a:pt x="52" y="3580"/>
                  </a:lnTo>
                  <a:lnTo>
                    <a:pt x="46" y="3570"/>
                  </a:lnTo>
                  <a:lnTo>
                    <a:pt x="41" y="3560"/>
                  </a:lnTo>
                  <a:lnTo>
                    <a:pt x="38" y="3550"/>
                  </a:lnTo>
                  <a:lnTo>
                    <a:pt x="36" y="3538"/>
                  </a:lnTo>
                  <a:close/>
                  <a:moveTo>
                    <a:pt x="172" y="3069"/>
                  </a:moveTo>
                  <a:lnTo>
                    <a:pt x="173" y="3089"/>
                  </a:lnTo>
                  <a:lnTo>
                    <a:pt x="173" y="3108"/>
                  </a:lnTo>
                  <a:lnTo>
                    <a:pt x="174" y="3127"/>
                  </a:lnTo>
                  <a:lnTo>
                    <a:pt x="175" y="3147"/>
                  </a:lnTo>
                  <a:lnTo>
                    <a:pt x="176" y="3165"/>
                  </a:lnTo>
                  <a:lnTo>
                    <a:pt x="177" y="3185"/>
                  </a:lnTo>
                  <a:lnTo>
                    <a:pt x="178" y="3203"/>
                  </a:lnTo>
                  <a:lnTo>
                    <a:pt x="179" y="3223"/>
                  </a:lnTo>
                  <a:lnTo>
                    <a:pt x="220" y="3150"/>
                  </a:lnTo>
                  <a:lnTo>
                    <a:pt x="264" y="3074"/>
                  </a:lnTo>
                  <a:lnTo>
                    <a:pt x="309" y="2997"/>
                  </a:lnTo>
                  <a:lnTo>
                    <a:pt x="355" y="2920"/>
                  </a:lnTo>
                  <a:lnTo>
                    <a:pt x="402" y="2843"/>
                  </a:lnTo>
                  <a:lnTo>
                    <a:pt x="449" y="2766"/>
                  </a:lnTo>
                  <a:lnTo>
                    <a:pt x="495" y="2692"/>
                  </a:lnTo>
                  <a:lnTo>
                    <a:pt x="541" y="2621"/>
                  </a:lnTo>
                  <a:lnTo>
                    <a:pt x="544" y="2616"/>
                  </a:lnTo>
                  <a:lnTo>
                    <a:pt x="554" y="2599"/>
                  </a:lnTo>
                  <a:lnTo>
                    <a:pt x="566" y="2582"/>
                  </a:lnTo>
                  <a:lnTo>
                    <a:pt x="578" y="2563"/>
                  </a:lnTo>
                  <a:lnTo>
                    <a:pt x="590" y="2544"/>
                  </a:lnTo>
                  <a:lnTo>
                    <a:pt x="604" y="2523"/>
                  </a:lnTo>
                  <a:lnTo>
                    <a:pt x="617" y="2502"/>
                  </a:lnTo>
                  <a:lnTo>
                    <a:pt x="630" y="2482"/>
                  </a:lnTo>
                  <a:lnTo>
                    <a:pt x="644" y="2460"/>
                  </a:lnTo>
                  <a:lnTo>
                    <a:pt x="713" y="2355"/>
                  </a:lnTo>
                  <a:lnTo>
                    <a:pt x="713" y="2309"/>
                  </a:lnTo>
                  <a:lnTo>
                    <a:pt x="712" y="2262"/>
                  </a:lnTo>
                  <a:lnTo>
                    <a:pt x="711" y="2217"/>
                  </a:lnTo>
                  <a:lnTo>
                    <a:pt x="710" y="2171"/>
                  </a:lnTo>
                  <a:lnTo>
                    <a:pt x="708" y="2124"/>
                  </a:lnTo>
                  <a:lnTo>
                    <a:pt x="706" y="2078"/>
                  </a:lnTo>
                  <a:lnTo>
                    <a:pt x="703" y="2031"/>
                  </a:lnTo>
                  <a:lnTo>
                    <a:pt x="700" y="1985"/>
                  </a:lnTo>
                  <a:lnTo>
                    <a:pt x="697" y="1939"/>
                  </a:lnTo>
                  <a:lnTo>
                    <a:pt x="695" y="1892"/>
                  </a:lnTo>
                  <a:lnTo>
                    <a:pt x="692" y="1845"/>
                  </a:lnTo>
                  <a:lnTo>
                    <a:pt x="689" y="1798"/>
                  </a:lnTo>
                  <a:lnTo>
                    <a:pt x="685" y="1752"/>
                  </a:lnTo>
                  <a:lnTo>
                    <a:pt x="682" y="1706"/>
                  </a:lnTo>
                  <a:lnTo>
                    <a:pt x="679" y="1658"/>
                  </a:lnTo>
                  <a:lnTo>
                    <a:pt x="676" y="1612"/>
                  </a:lnTo>
                  <a:lnTo>
                    <a:pt x="671" y="1545"/>
                  </a:lnTo>
                  <a:lnTo>
                    <a:pt x="666" y="1478"/>
                  </a:lnTo>
                  <a:lnTo>
                    <a:pt x="661" y="1411"/>
                  </a:lnTo>
                  <a:lnTo>
                    <a:pt x="657" y="1344"/>
                  </a:lnTo>
                  <a:lnTo>
                    <a:pt x="653" y="1277"/>
                  </a:lnTo>
                  <a:lnTo>
                    <a:pt x="649" y="1211"/>
                  </a:lnTo>
                  <a:lnTo>
                    <a:pt x="646" y="1144"/>
                  </a:lnTo>
                  <a:lnTo>
                    <a:pt x="643" y="1077"/>
                  </a:lnTo>
                  <a:lnTo>
                    <a:pt x="641" y="1011"/>
                  </a:lnTo>
                  <a:lnTo>
                    <a:pt x="639" y="944"/>
                  </a:lnTo>
                  <a:lnTo>
                    <a:pt x="638" y="878"/>
                  </a:lnTo>
                  <a:lnTo>
                    <a:pt x="638" y="812"/>
                  </a:lnTo>
                  <a:lnTo>
                    <a:pt x="639" y="746"/>
                  </a:lnTo>
                  <a:lnTo>
                    <a:pt x="640" y="680"/>
                  </a:lnTo>
                  <a:lnTo>
                    <a:pt x="643" y="615"/>
                  </a:lnTo>
                  <a:lnTo>
                    <a:pt x="647" y="549"/>
                  </a:lnTo>
                  <a:lnTo>
                    <a:pt x="621" y="607"/>
                  </a:lnTo>
                  <a:lnTo>
                    <a:pt x="596" y="664"/>
                  </a:lnTo>
                  <a:lnTo>
                    <a:pt x="572" y="723"/>
                  </a:lnTo>
                  <a:lnTo>
                    <a:pt x="549" y="783"/>
                  </a:lnTo>
                  <a:lnTo>
                    <a:pt x="526" y="843"/>
                  </a:lnTo>
                  <a:lnTo>
                    <a:pt x="504" y="904"/>
                  </a:lnTo>
                  <a:lnTo>
                    <a:pt x="483" y="965"/>
                  </a:lnTo>
                  <a:lnTo>
                    <a:pt x="463" y="1027"/>
                  </a:lnTo>
                  <a:lnTo>
                    <a:pt x="443" y="1090"/>
                  </a:lnTo>
                  <a:lnTo>
                    <a:pt x="423" y="1153"/>
                  </a:lnTo>
                  <a:lnTo>
                    <a:pt x="405" y="1216"/>
                  </a:lnTo>
                  <a:lnTo>
                    <a:pt x="387" y="1280"/>
                  </a:lnTo>
                  <a:lnTo>
                    <a:pt x="371" y="1344"/>
                  </a:lnTo>
                  <a:lnTo>
                    <a:pt x="354" y="1409"/>
                  </a:lnTo>
                  <a:lnTo>
                    <a:pt x="339" y="1473"/>
                  </a:lnTo>
                  <a:lnTo>
                    <a:pt x="323" y="1538"/>
                  </a:lnTo>
                  <a:lnTo>
                    <a:pt x="310" y="1604"/>
                  </a:lnTo>
                  <a:lnTo>
                    <a:pt x="297" y="1669"/>
                  </a:lnTo>
                  <a:lnTo>
                    <a:pt x="283" y="1734"/>
                  </a:lnTo>
                  <a:lnTo>
                    <a:pt x="271" y="1799"/>
                  </a:lnTo>
                  <a:lnTo>
                    <a:pt x="260" y="1865"/>
                  </a:lnTo>
                  <a:lnTo>
                    <a:pt x="249" y="1931"/>
                  </a:lnTo>
                  <a:lnTo>
                    <a:pt x="239" y="1997"/>
                  </a:lnTo>
                  <a:lnTo>
                    <a:pt x="230" y="2063"/>
                  </a:lnTo>
                  <a:lnTo>
                    <a:pt x="221" y="2129"/>
                  </a:lnTo>
                  <a:lnTo>
                    <a:pt x="213" y="2194"/>
                  </a:lnTo>
                  <a:lnTo>
                    <a:pt x="206" y="2260"/>
                  </a:lnTo>
                  <a:lnTo>
                    <a:pt x="200" y="2325"/>
                  </a:lnTo>
                  <a:lnTo>
                    <a:pt x="194" y="2391"/>
                  </a:lnTo>
                  <a:lnTo>
                    <a:pt x="189" y="2455"/>
                  </a:lnTo>
                  <a:lnTo>
                    <a:pt x="183" y="2520"/>
                  </a:lnTo>
                  <a:lnTo>
                    <a:pt x="180" y="2584"/>
                  </a:lnTo>
                  <a:lnTo>
                    <a:pt x="176" y="2647"/>
                  </a:lnTo>
                  <a:lnTo>
                    <a:pt x="174" y="2709"/>
                  </a:lnTo>
                  <a:lnTo>
                    <a:pt x="172" y="2770"/>
                  </a:lnTo>
                  <a:lnTo>
                    <a:pt x="171" y="2831"/>
                  </a:lnTo>
                  <a:lnTo>
                    <a:pt x="170" y="2891"/>
                  </a:lnTo>
                  <a:lnTo>
                    <a:pt x="170" y="2951"/>
                  </a:lnTo>
                  <a:lnTo>
                    <a:pt x="171" y="3011"/>
                  </a:lnTo>
                  <a:lnTo>
                    <a:pt x="172" y="30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8" name="Freeform 83"/>
            <p:cNvSpPr>
              <a:spLocks noChangeArrowheads="1"/>
            </p:cNvSpPr>
            <p:nvPr userDrawn="1"/>
          </p:nvSpPr>
          <p:spPr bwMode="auto">
            <a:xfrm>
              <a:off x="1039812" y="2493383"/>
              <a:ext cx="315912" cy="1908379"/>
            </a:xfrm>
            <a:custGeom>
              <a:avLst/>
              <a:gdLst>
                <a:gd name="T0" fmla="*/ 24 w 713"/>
                <a:gd name="T1" fmla="*/ 3346 h 3443"/>
                <a:gd name="T2" fmla="*/ 9 w 713"/>
                <a:gd name="T3" fmla="*/ 3145 h 3443"/>
                <a:gd name="T4" fmla="*/ 1 w 713"/>
                <a:gd name="T5" fmla="*/ 2935 h 3443"/>
                <a:gd name="T6" fmla="*/ 1 w 713"/>
                <a:gd name="T7" fmla="*/ 2717 h 3443"/>
                <a:gd name="T8" fmla="*/ 10 w 713"/>
                <a:gd name="T9" fmla="*/ 2495 h 3443"/>
                <a:gd name="T10" fmla="*/ 26 w 713"/>
                <a:gd name="T11" fmla="*/ 2267 h 3443"/>
                <a:gd name="T12" fmla="*/ 51 w 713"/>
                <a:gd name="T13" fmla="*/ 2037 h 3443"/>
                <a:gd name="T14" fmla="*/ 84 w 713"/>
                <a:gd name="T15" fmla="*/ 1805 h 3443"/>
                <a:gd name="T16" fmla="*/ 126 w 713"/>
                <a:gd name="T17" fmla="*/ 1574 h 3443"/>
                <a:gd name="T18" fmla="*/ 177 w 713"/>
                <a:gd name="T19" fmla="*/ 1345 h 3443"/>
                <a:gd name="T20" fmla="*/ 234 w 713"/>
                <a:gd name="T21" fmla="*/ 1120 h 3443"/>
                <a:gd name="T22" fmla="*/ 302 w 713"/>
                <a:gd name="T23" fmla="*/ 898 h 3443"/>
                <a:gd name="T24" fmla="*/ 379 w 713"/>
                <a:gd name="T25" fmla="*/ 683 h 3443"/>
                <a:gd name="T26" fmla="*/ 463 w 713"/>
                <a:gd name="T27" fmla="*/ 475 h 3443"/>
                <a:gd name="T28" fmla="*/ 557 w 713"/>
                <a:gd name="T29" fmla="*/ 277 h 3443"/>
                <a:gd name="T30" fmla="*/ 659 w 713"/>
                <a:gd name="T31" fmla="*/ 90 h 3443"/>
                <a:gd name="T32" fmla="*/ 699 w 713"/>
                <a:gd name="T33" fmla="*/ 68 h 3443"/>
                <a:gd name="T34" fmla="*/ 674 w 713"/>
                <a:gd name="T35" fmla="*/ 205 h 3443"/>
                <a:gd name="T36" fmla="*/ 657 w 713"/>
                <a:gd name="T37" fmla="*/ 344 h 3443"/>
                <a:gd name="T38" fmla="*/ 645 w 713"/>
                <a:gd name="T39" fmla="*/ 486 h 3443"/>
                <a:gd name="T40" fmla="*/ 639 w 713"/>
                <a:gd name="T41" fmla="*/ 628 h 3443"/>
                <a:gd name="T42" fmla="*/ 638 w 713"/>
                <a:gd name="T43" fmla="*/ 770 h 3443"/>
                <a:gd name="T44" fmla="*/ 640 w 713"/>
                <a:gd name="T45" fmla="*/ 914 h 3443"/>
                <a:gd name="T46" fmla="*/ 646 w 713"/>
                <a:gd name="T47" fmla="*/ 1060 h 3443"/>
                <a:gd name="T48" fmla="*/ 659 w 713"/>
                <a:gd name="T49" fmla="*/ 1277 h 3443"/>
                <a:gd name="T50" fmla="*/ 679 w 713"/>
                <a:gd name="T51" fmla="*/ 1570 h 3443"/>
                <a:gd name="T52" fmla="*/ 699 w 713"/>
                <a:gd name="T53" fmla="*/ 1862 h 3443"/>
                <a:gd name="T54" fmla="*/ 709 w 713"/>
                <a:gd name="T55" fmla="*/ 2079 h 3443"/>
                <a:gd name="T56" fmla="*/ 713 w 713"/>
                <a:gd name="T57" fmla="*/ 2224 h 3443"/>
                <a:gd name="T58" fmla="*/ 679 w 713"/>
                <a:gd name="T59" fmla="*/ 2347 h 3443"/>
                <a:gd name="T60" fmla="*/ 599 w 713"/>
                <a:gd name="T61" fmla="*/ 2471 h 3443"/>
                <a:gd name="T62" fmla="*/ 506 w 713"/>
                <a:gd name="T63" fmla="*/ 2615 h 3443"/>
                <a:gd name="T64" fmla="*/ 408 w 713"/>
                <a:gd name="T65" fmla="*/ 2772 h 3443"/>
                <a:gd name="T66" fmla="*/ 310 w 713"/>
                <a:gd name="T67" fmla="*/ 2935 h 3443"/>
                <a:gd name="T68" fmla="*/ 215 w 713"/>
                <a:gd name="T69" fmla="*/ 3097 h 3443"/>
                <a:gd name="T70" fmla="*/ 130 w 713"/>
                <a:gd name="T71" fmla="*/ 3248 h 3443"/>
                <a:gd name="T72" fmla="*/ 78 w 713"/>
                <a:gd name="T73" fmla="*/ 3352 h 3443"/>
                <a:gd name="T74" fmla="*/ 48 w 713"/>
                <a:gd name="T75" fmla="*/ 3414 h 3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3" h="3443">
                  <a:moveTo>
                    <a:pt x="36" y="3443"/>
                  </a:moveTo>
                  <a:lnTo>
                    <a:pt x="24" y="3346"/>
                  </a:lnTo>
                  <a:lnTo>
                    <a:pt x="16" y="3247"/>
                  </a:lnTo>
                  <a:lnTo>
                    <a:pt x="9" y="3145"/>
                  </a:lnTo>
                  <a:lnTo>
                    <a:pt x="4" y="3041"/>
                  </a:lnTo>
                  <a:lnTo>
                    <a:pt x="1" y="2935"/>
                  </a:lnTo>
                  <a:lnTo>
                    <a:pt x="0" y="2827"/>
                  </a:lnTo>
                  <a:lnTo>
                    <a:pt x="1" y="2717"/>
                  </a:lnTo>
                  <a:lnTo>
                    <a:pt x="5" y="2606"/>
                  </a:lnTo>
                  <a:lnTo>
                    <a:pt x="10" y="2495"/>
                  </a:lnTo>
                  <a:lnTo>
                    <a:pt x="17" y="2381"/>
                  </a:lnTo>
                  <a:lnTo>
                    <a:pt x="26" y="2267"/>
                  </a:lnTo>
                  <a:lnTo>
                    <a:pt x="38" y="2153"/>
                  </a:lnTo>
                  <a:lnTo>
                    <a:pt x="51" y="2037"/>
                  </a:lnTo>
                  <a:lnTo>
                    <a:pt x="66" y="1922"/>
                  </a:lnTo>
                  <a:lnTo>
                    <a:pt x="84" y="1805"/>
                  </a:lnTo>
                  <a:lnTo>
                    <a:pt x="105" y="1690"/>
                  </a:lnTo>
                  <a:lnTo>
                    <a:pt x="126" y="1574"/>
                  </a:lnTo>
                  <a:lnTo>
                    <a:pt x="150" y="1460"/>
                  </a:lnTo>
                  <a:lnTo>
                    <a:pt x="177" y="1345"/>
                  </a:lnTo>
                  <a:lnTo>
                    <a:pt x="204" y="1232"/>
                  </a:lnTo>
                  <a:lnTo>
                    <a:pt x="234" y="1120"/>
                  </a:lnTo>
                  <a:lnTo>
                    <a:pt x="267" y="1007"/>
                  </a:lnTo>
                  <a:lnTo>
                    <a:pt x="302" y="898"/>
                  </a:lnTo>
                  <a:lnTo>
                    <a:pt x="339" y="790"/>
                  </a:lnTo>
                  <a:lnTo>
                    <a:pt x="379" y="683"/>
                  </a:lnTo>
                  <a:lnTo>
                    <a:pt x="420" y="577"/>
                  </a:lnTo>
                  <a:lnTo>
                    <a:pt x="463" y="475"/>
                  </a:lnTo>
                  <a:lnTo>
                    <a:pt x="508" y="375"/>
                  </a:lnTo>
                  <a:lnTo>
                    <a:pt x="557" y="277"/>
                  </a:lnTo>
                  <a:lnTo>
                    <a:pt x="607" y="182"/>
                  </a:lnTo>
                  <a:lnTo>
                    <a:pt x="659" y="90"/>
                  </a:lnTo>
                  <a:lnTo>
                    <a:pt x="713" y="0"/>
                  </a:lnTo>
                  <a:lnTo>
                    <a:pt x="699" y="68"/>
                  </a:lnTo>
                  <a:lnTo>
                    <a:pt x="685" y="137"/>
                  </a:lnTo>
                  <a:lnTo>
                    <a:pt x="674" y="205"/>
                  </a:lnTo>
                  <a:lnTo>
                    <a:pt x="665" y="275"/>
                  </a:lnTo>
                  <a:lnTo>
                    <a:pt x="657" y="344"/>
                  </a:lnTo>
                  <a:lnTo>
                    <a:pt x="650" y="415"/>
                  </a:lnTo>
                  <a:lnTo>
                    <a:pt x="645" y="486"/>
                  </a:lnTo>
                  <a:lnTo>
                    <a:pt x="642" y="556"/>
                  </a:lnTo>
                  <a:lnTo>
                    <a:pt x="639" y="628"/>
                  </a:lnTo>
                  <a:lnTo>
                    <a:pt x="638" y="699"/>
                  </a:lnTo>
                  <a:lnTo>
                    <a:pt x="638" y="770"/>
                  </a:lnTo>
                  <a:lnTo>
                    <a:pt x="639" y="842"/>
                  </a:lnTo>
                  <a:lnTo>
                    <a:pt x="640" y="914"/>
                  </a:lnTo>
                  <a:lnTo>
                    <a:pt x="643" y="987"/>
                  </a:lnTo>
                  <a:lnTo>
                    <a:pt x="646" y="1060"/>
                  </a:lnTo>
                  <a:lnTo>
                    <a:pt x="649" y="1132"/>
                  </a:lnTo>
                  <a:lnTo>
                    <a:pt x="659" y="1277"/>
                  </a:lnTo>
                  <a:lnTo>
                    <a:pt x="669" y="1424"/>
                  </a:lnTo>
                  <a:lnTo>
                    <a:pt x="679" y="1570"/>
                  </a:lnTo>
                  <a:lnTo>
                    <a:pt x="690" y="1715"/>
                  </a:lnTo>
                  <a:lnTo>
                    <a:pt x="699" y="1862"/>
                  </a:lnTo>
                  <a:lnTo>
                    <a:pt x="707" y="2007"/>
                  </a:lnTo>
                  <a:lnTo>
                    <a:pt x="709" y="2079"/>
                  </a:lnTo>
                  <a:lnTo>
                    <a:pt x="711" y="2152"/>
                  </a:lnTo>
                  <a:lnTo>
                    <a:pt x="713" y="2224"/>
                  </a:lnTo>
                  <a:lnTo>
                    <a:pt x="713" y="2296"/>
                  </a:lnTo>
                  <a:lnTo>
                    <a:pt x="679" y="2347"/>
                  </a:lnTo>
                  <a:lnTo>
                    <a:pt x="641" y="2406"/>
                  </a:lnTo>
                  <a:lnTo>
                    <a:pt x="599" y="2471"/>
                  </a:lnTo>
                  <a:lnTo>
                    <a:pt x="554" y="2541"/>
                  </a:lnTo>
                  <a:lnTo>
                    <a:pt x="506" y="2615"/>
                  </a:lnTo>
                  <a:lnTo>
                    <a:pt x="458" y="2693"/>
                  </a:lnTo>
                  <a:lnTo>
                    <a:pt x="408" y="2772"/>
                  </a:lnTo>
                  <a:lnTo>
                    <a:pt x="359" y="2854"/>
                  </a:lnTo>
                  <a:lnTo>
                    <a:pt x="310" y="2935"/>
                  </a:lnTo>
                  <a:lnTo>
                    <a:pt x="261" y="3016"/>
                  </a:lnTo>
                  <a:lnTo>
                    <a:pt x="215" y="3097"/>
                  </a:lnTo>
                  <a:lnTo>
                    <a:pt x="172" y="3174"/>
                  </a:lnTo>
                  <a:lnTo>
                    <a:pt x="130" y="3248"/>
                  </a:lnTo>
                  <a:lnTo>
                    <a:pt x="94" y="3319"/>
                  </a:lnTo>
                  <a:lnTo>
                    <a:pt x="78" y="3352"/>
                  </a:lnTo>
                  <a:lnTo>
                    <a:pt x="62" y="3384"/>
                  </a:lnTo>
                  <a:lnTo>
                    <a:pt x="48" y="3414"/>
                  </a:lnTo>
                  <a:lnTo>
                    <a:pt x="36" y="34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199" name="Freeform 84"/>
            <p:cNvSpPr>
              <a:spLocks noChangeArrowheads="1"/>
            </p:cNvSpPr>
            <p:nvPr userDrawn="1"/>
          </p:nvSpPr>
          <p:spPr bwMode="auto">
            <a:xfrm>
              <a:off x="738187" y="5520653"/>
              <a:ext cx="395287" cy="859308"/>
            </a:xfrm>
            <a:custGeom>
              <a:avLst/>
              <a:gdLst>
                <a:gd name="T0" fmla="*/ 136 w 881"/>
                <a:gd name="T1" fmla="*/ 1509 h 1546"/>
                <a:gd name="T2" fmla="*/ 96 w 881"/>
                <a:gd name="T3" fmla="*/ 1435 h 1546"/>
                <a:gd name="T4" fmla="*/ 57 w 881"/>
                <a:gd name="T5" fmla="*/ 1360 h 1546"/>
                <a:gd name="T6" fmla="*/ 19 w 881"/>
                <a:gd name="T7" fmla="*/ 1285 h 1546"/>
                <a:gd name="T8" fmla="*/ 0 w 881"/>
                <a:gd name="T9" fmla="*/ 849 h 1546"/>
                <a:gd name="T10" fmla="*/ 81 w 881"/>
                <a:gd name="T11" fmla="*/ 1025 h 1546"/>
                <a:gd name="T12" fmla="*/ 167 w 881"/>
                <a:gd name="T13" fmla="*/ 1200 h 1546"/>
                <a:gd name="T14" fmla="*/ 256 w 881"/>
                <a:gd name="T15" fmla="*/ 1374 h 1546"/>
                <a:gd name="T16" fmla="*/ 351 w 881"/>
                <a:gd name="T17" fmla="*/ 1546 h 1546"/>
                <a:gd name="T18" fmla="*/ 0 w 881"/>
                <a:gd name="T19" fmla="*/ 0 h 1546"/>
                <a:gd name="T20" fmla="*/ 84 w 881"/>
                <a:gd name="T21" fmla="*/ 152 h 1546"/>
                <a:gd name="T22" fmla="*/ 172 w 881"/>
                <a:gd name="T23" fmla="*/ 303 h 1546"/>
                <a:gd name="T24" fmla="*/ 263 w 881"/>
                <a:gd name="T25" fmla="*/ 454 h 1546"/>
                <a:gd name="T26" fmla="*/ 355 w 881"/>
                <a:gd name="T27" fmla="*/ 606 h 1546"/>
                <a:gd name="T28" fmla="*/ 451 w 881"/>
                <a:gd name="T29" fmla="*/ 759 h 1546"/>
                <a:gd name="T30" fmla="*/ 551 w 881"/>
                <a:gd name="T31" fmla="*/ 915 h 1546"/>
                <a:gd name="T32" fmla="*/ 653 w 881"/>
                <a:gd name="T33" fmla="*/ 1074 h 1546"/>
                <a:gd name="T34" fmla="*/ 759 w 881"/>
                <a:gd name="T35" fmla="*/ 1237 h 1546"/>
                <a:gd name="T36" fmla="*/ 824 w 881"/>
                <a:gd name="T37" fmla="*/ 1338 h 1546"/>
                <a:gd name="T38" fmla="*/ 830 w 881"/>
                <a:gd name="T39" fmla="*/ 1354 h 1546"/>
                <a:gd name="T40" fmla="*/ 837 w 881"/>
                <a:gd name="T41" fmla="*/ 1384 h 1546"/>
                <a:gd name="T42" fmla="*/ 848 w 881"/>
                <a:gd name="T43" fmla="*/ 1426 h 1546"/>
                <a:gd name="T44" fmla="*/ 860 w 881"/>
                <a:gd name="T45" fmla="*/ 1473 h 1546"/>
                <a:gd name="T46" fmla="*/ 873 w 881"/>
                <a:gd name="T47" fmla="*/ 1521 h 1546"/>
                <a:gd name="T48" fmla="*/ 703 w 881"/>
                <a:gd name="T49" fmla="*/ 1546 h 1546"/>
                <a:gd name="T50" fmla="*/ 684 w 881"/>
                <a:gd name="T51" fmla="*/ 1476 h 1546"/>
                <a:gd name="T52" fmla="*/ 668 w 881"/>
                <a:gd name="T53" fmla="*/ 1410 h 1546"/>
                <a:gd name="T54" fmla="*/ 574 w 881"/>
                <a:gd name="T55" fmla="*/ 1266 h 1546"/>
                <a:gd name="T56" fmla="*/ 491 w 881"/>
                <a:gd name="T57" fmla="*/ 1138 h 1546"/>
                <a:gd name="T58" fmla="*/ 410 w 881"/>
                <a:gd name="T59" fmla="*/ 1012 h 1546"/>
                <a:gd name="T60" fmla="*/ 332 w 881"/>
                <a:gd name="T61" fmla="*/ 888 h 1546"/>
                <a:gd name="T62" fmla="*/ 254 w 881"/>
                <a:gd name="T63" fmla="*/ 767 h 1546"/>
                <a:gd name="T64" fmla="*/ 179 w 881"/>
                <a:gd name="T65" fmla="*/ 646 h 1546"/>
                <a:gd name="T66" fmla="*/ 106 w 881"/>
                <a:gd name="T67" fmla="*/ 526 h 1546"/>
                <a:gd name="T68" fmla="*/ 35 w 881"/>
                <a:gd name="T69" fmla="*/ 407 h 1546"/>
                <a:gd name="T70" fmla="*/ 0 w 881"/>
                <a:gd name="T71" fmla="*/ 0 h 1546"/>
                <a:gd name="T72" fmla="*/ 832 w 881"/>
                <a:gd name="T73" fmla="*/ 1364 h 1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1" h="1546">
                  <a:moveTo>
                    <a:pt x="156" y="1546"/>
                  </a:moveTo>
                  <a:lnTo>
                    <a:pt x="136" y="1509"/>
                  </a:lnTo>
                  <a:lnTo>
                    <a:pt x="115" y="1472"/>
                  </a:lnTo>
                  <a:lnTo>
                    <a:pt x="96" y="1435"/>
                  </a:lnTo>
                  <a:lnTo>
                    <a:pt x="76" y="1398"/>
                  </a:lnTo>
                  <a:lnTo>
                    <a:pt x="57" y="1360"/>
                  </a:lnTo>
                  <a:lnTo>
                    <a:pt x="38" y="1323"/>
                  </a:lnTo>
                  <a:lnTo>
                    <a:pt x="19" y="1285"/>
                  </a:lnTo>
                  <a:lnTo>
                    <a:pt x="0" y="1248"/>
                  </a:lnTo>
                  <a:lnTo>
                    <a:pt x="0" y="849"/>
                  </a:lnTo>
                  <a:lnTo>
                    <a:pt x="40" y="937"/>
                  </a:lnTo>
                  <a:lnTo>
                    <a:pt x="81" y="1025"/>
                  </a:lnTo>
                  <a:lnTo>
                    <a:pt x="123" y="1113"/>
                  </a:lnTo>
                  <a:lnTo>
                    <a:pt x="167" y="1200"/>
                  </a:lnTo>
                  <a:lnTo>
                    <a:pt x="211" y="1287"/>
                  </a:lnTo>
                  <a:lnTo>
                    <a:pt x="256" y="1374"/>
                  </a:lnTo>
                  <a:lnTo>
                    <a:pt x="303" y="1460"/>
                  </a:lnTo>
                  <a:lnTo>
                    <a:pt x="351" y="1546"/>
                  </a:lnTo>
                  <a:lnTo>
                    <a:pt x="156" y="1546"/>
                  </a:lnTo>
                  <a:close/>
                  <a:moveTo>
                    <a:pt x="0" y="0"/>
                  </a:moveTo>
                  <a:lnTo>
                    <a:pt x="42" y="76"/>
                  </a:lnTo>
                  <a:lnTo>
                    <a:pt x="84" y="152"/>
                  </a:lnTo>
                  <a:lnTo>
                    <a:pt x="128" y="228"/>
                  </a:lnTo>
                  <a:lnTo>
                    <a:pt x="172" y="303"/>
                  </a:lnTo>
                  <a:lnTo>
                    <a:pt x="216" y="379"/>
                  </a:lnTo>
                  <a:lnTo>
                    <a:pt x="263" y="454"/>
                  </a:lnTo>
                  <a:lnTo>
                    <a:pt x="308" y="530"/>
                  </a:lnTo>
                  <a:lnTo>
                    <a:pt x="355" y="606"/>
                  </a:lnTo>
                  <a:lnTo>
                    <a:pt x="403" y="682"/>
                  </a:lnTo>
                  <a:lnTo>
                    <a:pt x="451" y="759"/>
                  </a:lnTo>
                  <a:lnTo>
                    <a:pt x="501" y="837"/>
                  </a:lnTo>
                  <a:lnTo>
                    <a:pt x="551" y="915"/>
                  </a:lnTo>
                  <a:lnTo>
                    <a:pt x="602" y="993"/>
                  </a:lnTo>
                  <a:lnTo>
                    <a:pt x="653" y="1074"/>
                  </a:lnTo>
                  <a:lnTo>
                    <a:pt x="706" y="1155"/>
                  </a:lnTo>
                  <a:lnTo>
                    <a:pt x="759" y="1237"/>
                  </a:lnTo>
                  <a:lnTo>
                    <a:pt x="820" y="1330"/>
                  </a:lnTo>
                  <a:lnTo>
                    <a:pt x="824" y="1338"/>
                  </a:lnTo>
                  <a:lnTo>
                    <a:pt x="828" y="1346"/>
                  </a:lnTo>
                  <a:lnTo>
                    <a:pt x="830" y="1354"/>
                  </a:lnTo>
                  <a:lnTo>
                    <a:pt x="832" y="1364"/>
                  </a:lnTo>
                  <a:lnTo>
                    <a:pt x="837" y="1384"/>
                  </a:lnTo>
                  <a:lnTo>
                    <a:pt x="843" y="1405"/>
                  </a:lnTo>
                  <a:lnTo>
                    <a:pt x="848" y="1426"/>
                  </a:lnTo>
                  <a:lnTo>
                    <a:pt x="854" y="1449"/>
                  </a:lnTo>
                  <a:lnTo>
                    <a:pt x="860" y="1473"/>
                  </a:lnTo>
                  <a:lnTo>
                    <a:pt x="866" y="1497"/>
                  </a:lnTo>
                  <a:lnTo>
                    <a:pt x="873" y="1521"/>
                  </a:lnTo>
                  <a:lnTo>
                    <a:pt x="881" y="1546"/>
                  </a:lnTo>
                  <a:lnTo>
                    <a:pt x="703" y="1546"/>
                  </a:lnTo>
                  <a:lnTo>
                    <a:pt x="693" y="1510"/>
                  </a:lnTo>
                  <a:lnTo>
                    <a:pt x="684" y="1476"/>
                  </a:lnTo>
                  <a:lnTo>
                    <a:pt x="676" y="1442"/>
                  </a:lnTo>
                  <a:lnTo>
                    <a:pt x="668" y="1410"/>
                  </a:lnTo>
                  <a:lnTo>
                    <a:pt x="616" y="1331"/>
                  </a:lnTo>
                  <a:lnTo>
                    <a:pt x="574" y="1266"/>
                  </a:lnTo>
                  <a:lnTo>
                    <a:pt x="533" y="1201"/>
                  </a:lnTo>
                  <a:lnTo>
                    <a:pt x="491" y="1138"/>
                  </a:lnTo>
                  <a:lnTo>
                    <a:pt x="450" y="1074"/>
                  </a:lnTo>
                  <a:lnTo>
                    <a:pt x="410" y="1012"/>
                  </a:lnTo>
                  <a:lnTo>
                    <a:pt x="371" y="950"/>
                  </a:lnTo>
                  <a:lnTo>
                    <a:pt x="332" y="888"/>
                  </a:lnTo>
                  <a:lnTo>
                    <a:pt x="293" y="828"/>
                  </a:lnTo>
                  <a:lnTo>
                    <a:pt x="254" y="767"/>
                  </a:lnTo>
                  <a:lnTo>
                    <a:pt x="217" y="707"/>
                  </a:lnTo>
                  <a:lnTo>
                    <a:pt x="179" y="646"/>
                  </a:lnTo>
                  <a:lnTo>
                    <a:pt x="143" y="586"/>
                  </a:lnTo>
                  <a:lnTo>
                    <a:pt x="106" y="526"/>
                  </a:lnTo>
                  <a:lnTo>
                    <a:pt x="70" y="467"/>
                  </a:lnTo>
                  <a:lnTo>
                    <a:pt x="35" y="407"/>
                  </a:lnTo>
                  <a:lnTo>
                    <a:pt x="0" y="347"/>
                  </a:lnTo>
                  <a:lnTo>
                    <a:pt x="0" y="0"/>
                  </a:lnTo>
                  <a:close/>
                  <a:moveTo>
                    <a:pt x="831" y="1359"/>
                  </a:moveTo>
                  <a:lnTo>
                    <a:pt x="832" y="1364"/>
                  </a:lnTo>
                  <a:lnTo>
                    <a:pt x="831" y="13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0" name="Freeform 85"/>
            <p:cNvSpPr>
              <a:spLocks noChangeArrowheads="1"/>
            </p:cNvSpPr>
            <p:nvPr userDrawn="1"/>
          </p:nvSpPr>
          <p:spPr bwMode="auto">
            <a:xfrm>
              <a:off x="738187" y="5619114"/>
              <a:ext cx="358775" cy="760846"/>
            </a:xfrm>
            <a:custGeom>
              <a:avLst/>
              <a:gdLst>
                <a:gd name="T0" fmla="*/ 253 w 792"/>
                <a:gd name="T1" fmla="*/ 1370 h 1370"/>
                <a:gd name="T2" fmla="*/ 219 w 792"/>
                <a:gd name="T3" fmla="*/ 1309 h 1370"/>
                <a:gd name="T4" fmla="*/ 186 w 792"/>
                <a:gd name="T5" fmla="*/ 1248 h 1370"/>
                <a:gd name="T6" fmla="*/ 155 w 792"/>
                <a:gd name="T7" fmla="*/ 1187 h 1370"/>
                <a:gd name="T8" fmla="*/ 123 w 792"/>
                <a:gd name="T9" fmla="*/ 1125 h 1370"/>
                <a:gd name="T10" fmla="*/ 91 w 792"/>
                <a:gd name="T11" fmla="*/ 1063 h 1370"/>
                <a:gd name="T12" fmla="*/ 60 w 792"/>
                <a:gd name="T13" fmla="*/ 1001 h 1370"/>
                <a:gd name="T14" fmla="*/ 30 w 792"/>
                <a:gd name="T15" fmla="*/ 939 h 1370"/>
                <a:gd name="T16" fmla="*/ 0 w 792"/>
                <a:gd name="T17" fmla="*/ 877 h 1370"/>
                <a:gd name="T18" fmla="*/ 0 w 792"/>
                <a:gd name="T19" fmla="*/ 0 h 1370"/>
                <a:gd name="T20" fmla="*/ 41 w 792"/>
                <a:gd name="T21" fmla="*/ 73 h 1370"/>
                <a:gd name="T22" fmla="*/ 83 w 792"/>
                <a:gd name="T23" fmla="*/ 146 h 1370"/>
                <a:gd name="T24" fmla="*/ 127 w 792"/>
                <a:gd name="T25" fmla="*/ 219 h 1370"/>
                <a:gd name="T26" fmla="*/ 170 w 792"/>
                <a:gd name="T27" fmla="*/ 292 h 1370"/>
                <a:gd name="T28" fmla="*/ 214 w 792"/>
                <a:gd name="T29" fmla="*/ 364 h 1370"/>
                <a:gd name="T30" fmla="*/ 260 w 792"/>
                <a:gd name="T31" fmla="*/ 437 h 1370"/>
                <a:gd name="T32" fmla="*/ 305 w 792"/>
                <a:gd name="T33" fmla="*/ 510 h 1370"/>
                <a:gd name="T34" fmla="*/ 351 w 792"/>
                <a:gd name="T35" fmla="*/ 584 h 1370"/>
                <a:gd name="T36" fmla="*/ 399 w 792"/>
                <a:gd name="T37" fmla="*/ 659 h 1370"/>
                <a:gd name="T38" fmla="*/ 446 w 792"/>
                <a:gd name="T39" fmla="*/ 733 h 1370"/>
                <a:gd name="T40" fmla="*/ 494 w 792"/>
                <a:gd name="T41" fmla="*/ 808 h 1370"/>
                <a:gd name="T42" fmla="*/ 544 w 792"/>
                <a:gd name="T43" fmla="*/ 884 h 1370"/>
                <a:gd name="T44" fmla="*/ 593 w 792"/>
                <a:gd name="T45" fmla="*/ 962 h 1370"/>
                <a:gd name="T46" fmla="*/ 644 w 792"/>
                <a:gd name="T47" fmla="*/ 1040 h 1370"/>
                <a:gd name="T48" fmla="*/ 695 w 792"/>
                <a:gd name="T49" fmla="*/ 1120 h 1370"/>
                <a:gd name="T50" fmla="*/ 748 w 792"/>
                <a:gd name="T51" fmla="*/ 1200 h 1370"/>
                <a:gd name="T52" fmla="*/ 752 w 792"/>
                <a:gd name="T53" fmla="*/ 1219 h 1370"/>
                <a:gd name="T54" fmla="*/ 757 w 792"/>
                <a:gd name="T55" fmla="*/ 1239 h 1370"/>
                <a:gd name="T56" fmla="*/ 762 w 792"/>
                <a:gd name="T57" fmla="*/ 1260 h 1370"/>
                <a:gd name="T58" fmla="*/ 767 w 792"/>
                <a:gd name="T59" fmla="*/ 1280 h 1370"/>
                <a:gd name="T60" fmla="*/ 773 w 792"/>
                <a:gd name="T61" fmla="*/ 1302 h 1370"/>
                <a:gd name="T62" fmla="*/ 779 w 792"/>
                <a:gd name="T63" fmla="*/ 1325 h 1370"/>
                <a:gd name="T64" fmla="*/ 785 w 792"/>
                <a:gd name="T65" fmla="*/ 1347 h 1370"/>
                <a:gd name="T66" fmla="*/ 792 w 792"/>
                <a:gd name="T67" fmla="*/ 1370 h 1370"/>
                <a:gd name="T68" fmla="*/ 253 w 792"/>
                <a:gd name="T69" fmla="*/ 137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92" h="1370">
                  <a:moveTo>
                    <a:pt x="253" y="1370"/>
                  </a:moveTo>
                  <a:lnTo>
                    <a:pt x="219" y="1309"/>
                  </a:lnTo>
                  <a:lnTo>
                    <a:pt x="186" y="1248"/>
                  </a:lnTo>
                  <a:lnTo>
                    <a:pt x="155" y="1187"/>
                  </a:lnTo>
                  <a:lnTo>
                    <a:pt x="123" y="1125"/>
                  </a:lnTo>
                  <a:lnTo>
                    <a:pt x="91" y="1063"/>
                  </a:lnTo>
                  <a:lnTo>
                    <a:pt x="60" y="1001"/>
                  </a:lnTo>
                  <a:lnTo>
                    <a:pt x="30" y="939"/>
                  </a:lnTo>
                  <a:lnTo>
                    <a:pt x="0" y="877"/>
                  </a:lnTo>
                  <a:lnTo>
                    <a:pt x="0" y="0"/>
                  </a:lnTo>
                  <a:lnTo>
                    <a:pt x="41" y="73"/>
                  </a:lnTo>
                  <a:lnTo>
                    <a:pt x="83" y="146"/>
                  </a:lnTo>
                  <a:lnTo>
                    <a:pt x="127" y="219"/>
                  </a:lnTo>
                  <a:lnTo>
                    <a:pt x="170" y="292"/>
                  </a:lnTo>
                  <a:lnTo>
                    <a:pt x="214" y="364"/>
                  </a:lnTo>
                  <a:lnTo>
                    <a:pt x="260" y="437"/>
                  </a:lnTo>
                  <a:lnTo>
                    <a:pt x="305" y="510"/>
                  </a:lnTo>
                  <a:lnTo>
                    <a:pt x="351" y="584"/>
                  </a:lnTo>
                  <a:lnTo>
                    <a:pt x="399" y="659"/>
                  </a:lnTo>
                  <a:lnTo>
                    <a:pt x="446" y="733"/>
                  </a:lnTo>
                  <a:lnTo>
                    <a:pt x="494" y="808"/>
                  </a:lnTo>
                  <a:lnTo>
                    <a:pt x="544" y="884"/>
                  </a:lnTo>
                  <a:lnTo>
                    <a:pt x="593" y="962"/>
                  </a:lnTo>
                  <a:lnTo>
                    <a:pt x="644" y="1040"/>
                  </a:lnTo>
                  <a:lnTo>
                    <a:pt x="695" y="1120"/>
                  </a:lnTo>
                  <a:lnTo>
                    <a:pt x="748" y="1200"/>
                  </a:lnTo>
                  <a:lnTo>
                    <a:pt x="752" y="1219"/>
                  </a:lnTo>
                  <a:lnTo>
                    <a:pt x="757" y="1239"/>
                  </a:lnTo>
                  <a:lnTo>
                    <a:pt x="762" y="1260"/>
                  </a:lnTo>
                  <a:lnTo>
                    <a:pt x="767" y="1280"/>
                  </a:lnTo>
                  <a:lnTo>
                    <a:pt x="773" y="1302"/>
                  </a:lnTo>
                  <a:lnTo>
                    <a:pt x="779" y="1325"/>
                  </a:lnTo>
                  <a:lnTo>
                    <a:pt x="785" y="1347"/>
                  </a:lnTo>
                  <a:lnTo>
                    <a:pt x="792" y="1370"/>
                  </a:lnTo>
                  <a:lnTo>
                    <a:pt x="253" y="13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1" name="Freeform 86"/>
            <p:cNvSpPr>
              <a:spLocks noChangeArrowheads="1"/>
            </p:cNvSpPr>
            <p:nvPr userDrawn="1"/>
          </p:nvSpPr>
          <p:spPr bwMode="auto">
            <a:xfrm>
              <a:off x="738187" y="6123958"/>
              <a:ext cx="157162" cy="257792"/>
            </a:xfrm>
            <a:custGeom>
              <a:avLst/>
              <a:gdLst>
                <a:gd name="T0" fmla="*/ 0 w 345"/>
                <a:gd name="T1" fmla="*/ 0 h 463"/>
                <a:gd name="T2" fmla="*/ 35 w 345"/>
                <a:gd name="T3" fmla="*/ 52 h 463"/>
                <a:gd name="T4" fmla="*/ 71 w 345"/>
                <a:gd name="T5" fmla="*/ 101 h 463"/>
                <a:gd name="T6" fmla="*/ 106 w 345"/>
                <a:gd name="T7" fmla="*/ 151 h 463"/>
                <a:gd name="T8" fmla="*/ 143 w 345"/>
                <a:gd name="T9" fmla="*/ 200 h 463"/>
                <a:gd name="T10" fmla="*/ 179 w 345"/>
                <a:gd name="T11" fmla="*/ 249 h 463"/>
                <a:gd name="T12" fmla="*/ 216 w 345"/>
                <a:gd name="T13" fmla="*/ 298 h 463"/>
                <a:gd name="T14" fmla="*/ 253 w 345"/>
                <a:gd name="T15" fmla="*/ 347 h 463"/>
                <a:gd name="T16" fmla="*/ 290 w 345"/>
                <a:gd name="T17" fmla="*/ 394 h 463"/>
                <a:gd name="T18" fmla="*/ 345 w 345"/>
                <a:gd name="T19" fmla="*/ 463 h 463"/>
                <a:gd name="T20" fmla="*/ 128 w 345"/>
                <a:gd name="T21" fmla="*/ 463 h 463"/>
                <a:gd name="T22" fmla="*/ 111 w 345"/>
                <a:gd name="T23" fmla="*/ 442 h 463"/>
                <a:gd name="T24" fmla="*/ 95 w 345"/>
                <a:gd name="T25" fmla="*/ 421 h 463"/>
                <a:gd name="T26" fmla="*/ 79 w 345"/>
                <a:gd name="T27" fmla="*/ 400 h 463"/>
                <a:gd name="T28" fmla="*/ 63 w 345"/>
                <a:gd name="T29" fmla="*/ 380 h 463"/>
                <a:gd name="T30" fmla="*/ 47 w 345"/>
                <a:gd name="T31" fmla="*/ 358 h 463"/>
                <a:gd name="T32" fmla="*/ 31 w 345"/>
                <a:gd name="T33" fmla="*/ 337 h 463"/>
                <a:gd name="T34" fmla="*/ 15 w 345"/>
                <a:gd name="T35" fmla="*/ 316 h 463"/>
                <a:gd name="T36" fmla="*/ 0 w 345"/>
                <a:gd name="T37" fmla="*/ 295 h 463"/>
                <a:gd name="T38" fmla="*/ 0 w 345"/>
                <a:gd name="T39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" h="463">
                  <a:moveTo>
                    <a:pt x="0" y="0"/>
                  </a:moveTo>
                  <a:lnTo>
                    <a:pt x="35" y="52"/>
                  </a:lnTo>
                  <a:lnTo>
                    <a:pt x="71" y="101"/>
                  </a:lnTo>
                  <a:lnTo>
                    <a:pt x="106" y="151"/>
                  </a:lnTo>
                  <a:lnTo>
                    <a:pt x="143" y="200"/>
                  </a:lnTo>
                  <a:lnTo>
                    <a:pt x="179" y="249"/>
                  </a:lnTo>
                  <a:lnTo>
                    <a:pt x="216" y="298"/>
                  </a:lnTo>
                  <a:lnTo>
                    <a:pt x="253" y="347"/>
                  </a:lnTo>
                  <a:lnTo>
                    <a:pt x="290" y="394"/>
                  </a:lnTo>
                  <a:lnTo>
                    <a:pt x="345" y="463"/>
                  </a:lnTo>
                  <a:lnTo>
                    <a:pt x="128" y="463"/>
                  </a:lnTo>
                  <a:lnTo>
                    <a:pt x="111" y="442"/>
                  </a:lnTo>
                  <a:lnTo>
                    <a:pt x="95" y="421"/>
                  </a:lnTo>
                  <a:lnTo>
                    <a:pt x="79" y="400"/>
                  </a:lnTo>
                  <a:lnTo>
                    <a:pt x="63" y="380"/>
                  </a:lnTo>
                  <a:lnTo>
                    <a:pt x="47" y="358"/>
                  </a:lnTo>
                  <a:lnTo>
                    <a:pt x="31" y="337"/>
                  </a:lnTo>
                  <a:lnTo>
                    <a:pt x="15" y="316"/>
                  </a:lnTo>
                  <a:lnTo>
                    <a:pt x="0" y="2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2" name="Freeform 87"/>
            <p:cNvSpPr>
              <a:spLocks noChangeArrowheads="1"/>
            </p:cNvSpPr>
            <p:nvPr userDrawn="1"/>
          </p:nvSpPr>
          <p:spPr bwMode="auto">
            <a:xfrm>
              <a:off x="738187" y="6204518"/>
              <a:ext cx="107950" cy="177232"/>
            </a:xfrm>
            <a:custGeom>
              <a:avLst/>
              <a:gdLst>
                <a:gd name="T0" fmla="*/ 0 w 236"/>
                <a:gd name="T1" fmla="*/ 0 h 313"/>
                <a:gd name="T2" fmla="*/ 29 w 236"/>
                <a:gd name="T3" fmla="*/ 40 h 313"/>
                <a:gd name="T4" fmla="*/ 58 w 236"/>
                <a:gd name="T5" fmla="*/ 79 h 313"/>
                <a:gd name="T6" fmla="*/ 87 w 236"/>
                <a:gd name="T7" fmla="*/ 118 h 313"/>
                <a:gd name="T8" fmla="*/ 116 w 236"/>
                <a:gd name="T9" fmla="*/ 157 h 313"/>
                <a:gd name="T10" fmla="*/ 145 w 236"/>
                <a:gd name="T11" fmla="*/ 197 h 313"/>
                <a:gd name="T12" fmla="*/ 175 w 236"/>
                <a:gd name="T13" fmla="*/ 236 h 313"/>
                <a:gd name="T14" fmla="*/ 206 w 236"/>
                <a:gd name="T15" fmla="*/ 275 h 313"/>
                <a:gd name="T16" fmla="*/ 236 w 236"/>
                <a:gd name="T17" fmla="*/ 313 h 313"/>
                <a:gd name="T18" fmla="*/ 0 w 236"/>
                <a:gd name="T19" fmla="*/ 313 h 313"/>
                <a:gd name="T20" fmla="*/ 0 w 236"/>
                <a:gd name="T2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6" h="313">
                  <a:moveTo>
                    <a:pt x="0" y="0"/>
                  </a:moveTo>
                  <a:lnTo>
                    <a:pt x="29" y="40"/>
                  </a:lnTo>
                  <a:lnTo>
                    <a:pt x="58" y="79"/>
                  </a:lnTo>
                  <a:lnTo>
                    <a:pt x="87" y="118"/>
                  </a:lnTo>
                  <a:lnTo>
                    <a:pt x="116" y="157"/>
                  </a:lnTo>
                  <a:lnTo>
                    <a:pt x="145" y="197"/>
                  </a:lnTo>
                  <a:lnTo>
                    <a:pt x="175" y="236"/>
                  </a:lnTo>
                  <a:lnTo>
                    <a:pt x="206" y="275"/>
                  </a:lnTo>
                  <a:lnTo>
                    <a:pt x="236" y="313"/>
                  </a:lnTo>
                  <a:lnTo>
                    <a:pt x="0" y="3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3" name="Freeform 88"/>
            <p:cNvSpPr>
              <a:spLocks noChangeArrowheads="1"/>
            </p:cNvSpPr>
            <p:nvPr userDrawn="1"/>
          </p:nvSpPr>
          <p:spPr bwMode="auto">
            <a:xfrm>
              <a:off x="1269999" y="1941994"/>
              <a:ext cx="417513" cy="1747259"/>
            </a:xfrm>
            <a:custGeom>
              <a:avLst/>
              <a:gdLst>
                <a:gd name="T0" fmla="*/ 16 w 924"/>
                <a:gd name="T1" fmla="*/ 2905 h 3147"/>
                <a:gd name="T2" fmla="*/ 1 w 924"/>
                <a:gd name="T3" fmla="*/ 2631 h 3147"/>
                <a:gd name="T4" fmla="*/ 5 w 924"/>
                <a:gd name="T5" fmla="*/ 2357 h 3147"/>
                <a:gd name="T6" fmla="*/ 28 w 924"/>
                <a:gd name="T7" fmla="*/ 2056 h 3147"/>
                <a:gd name="T8" fmla="*/ 83 w 924"/>
                <a:gd name="T9" fmla="*/ 1711 h 3147"/>
                <a:gd name="T10" fmla="*/ 165 w 924"/>
                <a:gd name="T11" fmla="*/ 1368 h 3147"/>
                <a:gd name="T12" fmla="*/ 275 w 924"/>
                <a:gd name="T13" fmla="*/ 1029 h 3147"/>
                <a:gd name="T14" fmla="*/ 412 w 924"/>
                <a:gd name="T15" fmla="*/ 694 h 3147"/>
                <a:gd name="T16" fmla="*/ 576 w 924"/>
                <a:gd name="T17" fmla="*/ 364 h 3147"/>
                <a:gd name="T18" fmla="*/ 766 w 924"/>
                <a:gd name="T19" fmla="*/ 39 h 3147"/>
                <a:gd name="T20" fmla="*/ 797 w 924"/>
                <a:gd name="T21" fmla="*/ 10 h 3147"/>
                <a:gd name="T22" fmla="*/ 836 w 924"/>
                <a:gd name="T23" fmla="*/ 0 h 3147"/>
                <a:gd name="T24" fmla="*/ 877 w 924"/>
                <a:gd name="T25" fmla="*/ 9 h 3147"/>
                <a:gd name="T26" fmla="*/ 906 w 924"/>
                <a:gd name="T27" fmla="*/ 33 h 3147"/>
                <a:gd name="T28" fmla="*/ 921 w 924"/>
                <a:gd name="T29" fmla="*/ 64 h 3147"/>
                <a:gd name="T30" fmla="*/ 923 w 924"/>
                <a:gd name="T31" fmla="*/ 99 h 3147"/>
                <a:gd name="T32" fmla="*/ 906 w 924"/>
                <a:gd name="T33" fmla="*/ 169 h 3147"/>
                <a:gd name="T34" fmla="*/ 854 w 924"/>
                <a:gd name="T35" fmla="*/ 427 h 3147"/>
                <a:gd name="T36" fmla="*/ 798 w 924"/>
                <a:gd name="T37" fmla="*/ 858 h 3147"/>
                <a:gd name="T38" fmla="*/ 755 w 924"/>
                <a:gd name="T39" fmla="*/ 1418 h 3147"/>
                <a:gd name="T40" fmla="*/ 732 w 924"/>
                <a:gd name="T41" fmla="*/ 1935 h 3147"/>
                <a:gd name="T42" fmla="*/ 717 w 924"/>
                <a:gd name="T43" fmla="*/ 2229 h 3147"/>
                <a:gd name="T44" fmla="*/ 704 w 924"/>
                <a:gd name="T45" fmla="*/ 2374 h 3147"/>
                <a:gd name="T46" fmla="*/ 648 w 924"/>
                <a:gd name="T47" fmla="*/ 2472 h 3147"/>
                <a:gd name="T48" fmla="*/ 494 w 924"/>
                <a:gd name="T49" fmla="*/ 2673 h 3147"/>
                <a:gd name="T50" fmla="*/ 350 w 924"/>
                <a:gd name="T51" fmla="*/ 2845 h 3147"/>
                <a:gd name="T52" fmla="*/ 251 w 924"/>
                <a:gd name="T53" fmla="*/ 2988 h 3147"/>
                <a:gd name="T54" fmla="*/ 192 w 924"/>
                <a:gd name="T55" fmla="*/ 3103 h 3147"/>
                <a:gd name="T56" fmla="*/ 164 w 924"/>
                <a:gd name="T57" fmla="*/ 3133 h 3147"/>
                <a:gd name="T58" fmla="*/ 126 w 924"/>
                <a:gd name="T59" fmla="*/ 3146 h 3147"/>
                <a:gd name="T60" fmla="*/ 85 w 924"/>
                <a:gd name="T61" fmla="*/ 3140 h 3147"/>
                <a:gd name="T62" fmla="*/ 44 w 924"/>
                <a:gd name="T63" fmla="*/ 3103 h 3147"/>
                <a:gd name="T64" fmla="*/ 172 w 924"/>
                <a:gd name="T65" fmla="*/ 2627 h 3147"/>
                <a:gd name="T66" fmla="*/ 176 w 924"/>
                <a:gd name="T67" fmla="*/ 2727 h 3147"/>
                <a:gd name="T68" fmla="*/ 216 w 924"/>
                <a:gd name="T69" fmla="*/ 2739 h 3147"/>
                <a:gd name="T70" fmla="*/ 311 w 924"/>
                <a:gd name="T71" fmla="*/ 2623 h 3147"/>
                <a:gd name="T72" fmla="*/ 419 w 924"/>
                <a:gd name="T73" fmla="*/ 2496 h 3147"/>
                <a:gd name="T74" fmla="*/ 522 w 924"/>
                <a:gd name="T75" fmla="*/ 2353 h 3147"/>
                <a:gd name="T76" fmla="*/ 550 w 924"/>
                <a:gd name="T77" fmla="*/ 2146 h 3147"/>
                <a:gd name="T78" fmla="*/ 564 w 924"/>
                <a:gd name="T79" fmla="*/ 1868 h 3147"/>
                <a:gd name="T80" fmla="*/ 582 w 924"/>
                <a:gd name="T81" fmla="*/ 1456 h 3147"/>
                <a:gd name="T82" fmla="*/ 609 w 924"/>
                <a:gd name="T83" fmla="*/ 1048 h 3147"/>
                <a:gd name="T84" fmla="*/ 649 w 924"/>
                <a:gd name="T85" fmla="*/ 650 h 3147"/>
                <a:gd name="T86" fmla="*/ 565 w 924"/>
                <a:gd name="T87" fmla="*/ 771 h 3147"/>
                <a:gd name="T88" fmla="*/ 460 w 924"/>
                <a:gd name="T89" fmla="*/ 1023 h 3147"/>
                <a:gd name="T90" fmla="*/ 370 w 924"/>
                <a:gd name="T91" fmla="*/ 1278 h 3147"/>
                <a:gd name="T92" fmla="*/ 298 w 924"/>
                <a:gd name="T93" fmla="*/ 1535 h 3147"/>
                <a:gd name="T94" fmla="*/ 241 w 924"/>
                <a:gd name="T95" fmla="*/ 1793 h 3147"/>
                <a:gd name="T96" fmla="*/ 201 w 924"/>
                <a:gd name="T97" fmla="*/ 2053 h 3147"/>
                <a:gd name="T98" fmla="*/ 178 w 924"/>
                <a:gd name="T99" fmla="*/ 2315 h 3147"/>
                <a:gd name="T100" fmla="*/ 171 w 924"/>
                <a:gd name="T101" fmla="*/ 2576 h 3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4" h="3147">
                  <a:moveTo>
                    <a:pt x="33" y="3072"/>
                  </a:moveTo>
                  <a:lnTo>
                    <a:pt x="32" y="3068"/>
                  </a:lnTo>
                  <a:lnTo>
                    <a:pt x="26" y="3014"/>
                  </a:lnTo>
                  <a:lnTo>
                    <a:pt x="20" y="2959"/>
                  </a:lnTo>
                  <a:lnTo>
                    <a:pt x="16" y="2905"/>
                  </a:lnTo>
                  <a:lnTo>
                    <a:pt x="12" y="2850"/>
                  </a:lnTo>
                  <a:lnTo>
                    <a:pt x="8" y="2796"/>
                  </a:lnTo>
                  <a:lnTo>
                    <a:pt x="5" y="2741"/>
                  </a:lnTo>
                  <a:lnTo>
                    <a:pt x="2" y="2686"/>
                  </a:lnTo>
                  <a:lnTo>
                    <a:pt x="1" y="2631"/>
                  </a:lnTo>
                  <a:lnTo>
                    <a:pt x="0" y="2576"/>
                  </a:lnTo>
                  <a:lnTo>
                    <a:pt x="0" y="2521"/>
                  </a:lnTo>
                  <a:lnTo>
                    <a:pt x="1" y="2467"/>
                  </a:lnTo>
                  <a:lnTo>
                    <a:pt x="2" y="2412"/>
                  </a:lnTo>
                  <a:lnTo>
                    <a:pt x="5" y="2357"/>
                  </a:lnTo>
                  <a:lnTo>
                    <a:pt x="8" y="2303"/>
                  </a:lnTo>
                  <a:lnTo>
                    <a:pt x="11" y="2249"/>
                  </a:lnTo>
                  <a:lnTo>
                    <a:pt x="15" y="2196"/>
                  </a:lnTo>
                  <a:lnTo>
                    <a:pt x="21" y="2126"/>
                  </a:lnTo>
                  <a:lnTo>
                    <a:pt x="28" y="2056"/>
                  </a:lnTo>
                  <a:lnTo>
                    <a:pt x="37" y="1987"/>
                  </a:lnTo>
                  <a:lnTo>
                    <a:pt x="47" y="1918"/>
                  </a:lnTo>
                  <a:lnTo>
                    <a:pt x="58" y="1849"/>
                  </a:lnTo>
                  <a:lnTo>
                    <a:pt x="69" y="1780"/>
                  </a:lnTo>
                  <a:lnTo>
                    <a:pt x="83" y="1711"/>
                  </a:lnTo>
                  <a:lnTo>
                    <a:pt x="97" y="1642"/>
                  </a:lnTo>
                  <a:lnTo>
                    <a:pt x="113" y="1573"/>
                  </a:lnTo>
                  <a:lnTo>
                    <a:pt x="129" y="1505"/>
                  </a:lnTo>
                  <a:lnTo>
                    <a:pt x="147" y="1436"/>
                  </a:lnTo>
                  <a:lnTo>
                    <a:pt x="165" y="1368"/>
                  </a:lnTo>
                  <a:lnTo>
                    <a:pt x="185" y="1300"/>
                  </a:lnTo>
                  <a:lnTo>
                    <a:pt x="205" y="1232"/>
                  </a:lnTo>
                  <a:lnTo>
                    <a:pt x="228" y="1164"/>
                  </a:lnTo>
                  <a:lnTo>
                    <a:pt x="251" y="1096"/>
                  </a:lnTo>
                  <a:lnTo>
                    <a:pt x="275" y="1029"/>
                  </a:lnTo>
                  <a:lnTo>
                    <a:pt x="300" y="961"/>
                  </a:lnTo>
                  <a:lnTo>
                    <a:pt x="327" y="894"/>
                  </a:lnTo>
                  <a:lnTo>
                    <a:pt x="354" y="827"/>
                  </a:lnTo>
                  <a:lnTo>
                    <a:pt x="383" y="760"/>
                  </a:lnTo>
                  <a:lnTo>
                    <a:pt x="412" y="694"/>
                  </a:lnTo>
                  <a:lnTo>
                    <a:pt x="442" y="627"/>
                  </a:lnTo>
                  <a:lnTo>
                    <a:pt x="474" y="561"/>
                  </a:lnTo>
                  <a:lnTo>
                    <a:pt x="507" y="495"/>
                  </a:lnTo>
                  <a:lnTo>
                    <a:pt x="541" y="429"/>
                  </a:lnTo>
                  <a:lnTo>
                    <a:pt x="576" y="364"/>
                  </a:lnTo>
                  <a:lnTo>
                    <a:pt x="611" y="298"/>
                  </a:lnTo>
                  <a:lnTo>
                    <a:pt x="648" y="233"/>
                  </a:lnTo>
                  <a:lnTo>
                    <a:pt x="686" y="168"/>
                  </a:lnTo>
                  <a:lnTo>
                    <a:pt x="726" y="104"/>
                  </a:lnTo>
                  <a:lnTo>
                    <a:pt x="766" y="39"/>
                  </a:lnTo>
                  <a:lnTo>
                    <a:pt x="771" y="33"/>
                  </a:lnTo>
                  <a:lnTo>
                    <a:pt x="777" y="26"/>
                  </a:lnTo>
                  <a:lnTo>
                    <a:pt x="783" y="20"/>
                  </a:lnTo>
                  <a:lnTo>
                    <a:pt x="789" y="15"/>
                  </a:lnTo>
                  <a:lnTo>
                    <a:pt x="797" y="10"/>
                  </a:lnTo>
                  <a:lnTo>
                    <a:pt x="804" y="7"/>
                  </a:lnTo>
                  <a:lnTo>
                    <a:pt x="812" y="4"/>
                  </a:lnTo>
                  <a:lnTo>
                    <a:pt x="819" y="2"/>
                  </a:lnTo>
                  <a:lnTo>
                    <a:pt x="828" y="1"/>
                  </a:lnTo>
                  <a:lnTo>
                    <a:pt x="836" y="0"/>
                  </a:lnTo>
                  <a:lnTo>
                    <a:pt x="844" y="0"/>
                  </a:lnTo>
                  <a:lnTo>
                    <a:pt x="852" y="1"/>
                  </a:lnTo>
                  <a:lnTo>
                    <a:pt x="860" y="3"/>
                  </a:lnTo>
                  <a:lnTo>
                    <a:pt x="869" y="5"/>
                  </a:lnTo>
                  <a:lnTo>
                    <a:pt x="877" y="9"/>
                  </a:lnTo>
                  <a:lnTo>
                    <a:pt x="884" y="13"/>
                  </a:lnTo>
                  <a:lnTo>
                    <a:pt x="890" y="17"/>
                  </a:lnTo>
                  <a:lnTo>
                    <a:pt x="895" y="23"/>
                  </a:lnTo>
                  <a:lnTo>
                    <a:pt x="901" y="27"/>
                  </a:lnTo>
                  <a:lnTo>
                    <a:pt x="906" y="33"/>
                  </a:lnTo>
                  <a:lnTo>
                    <a:pt x="910" y="38"/>
                  </a:lnTo>
                  <a:lnTo>
                    <a:pt x="913" y="44"/>
                  </a:lnTo>
                  <a:lnTo>
                    <a:pt x="916" y="50"/>
                  </a:lnTo>
                  <a:lnTo>
                    <a:pt x="919" y="58"/>
                  </a:lnTo>
                  <a:lnTo>
                    <a:pt x="921" y="64"/>
                  </a:lnTo>
                  <a:lnTo>
                    <a:pt x="922" y="71"/>
                  </a:lnTo>
                  <a:lnTo>
                    <a:pt x="923" y="78"/>
                  </a:lnTo>
                  <a:lnTo>
                    <a:pt x="924" y="84"/>
                  </a:lnTo>
                  <a:lnTo>
                    <a:pt x="923" y="92"/>
                  </a:lnTo>
                  <a:lnTo>
                    <a:pt x="923" y="99"/>
                  </a:lnTo>
                  <a:lnTo>
                    <a:pt x="921" y="106"/>
                  </a:lnTo>
                  <a:lnTo>
                    <a:pt x="919" y="112"/>
                  </a:lnTo>
                  <a:lnTo>
                    <a:pt x="919" y="113"/>
                  </a:lnTo>
                  <a:lnTo>
                    <a:pt x="918" y="119"/>
                  </a:lnTo>
                  <a:lnTo>
                    <a:pt x="906" y="169"/>
                  </a:lnTo>
                  <a:lnTo>
                    <a:pt x="894" y="220"/>
                  </a:lnTo>
                  <a:lnTo>
                    <a:pt x="884" y="271"/>
                  </a:lnTo>
                  <a:lnTo>
                    <a:pt x="874" y="323"/>
                  </a:lnTo>
                  <a:lnTo>
                    <a:pt x="864" y="374"/>
                  </a:lnTo>
                  <a:lnTo>
                    <a:pt x="854" y="427"/>
                  </a:lnTo>
                  <a:lnTo>
                    <a:pt x="846" y="479"/>
                  </a:lnTo>
                  <a:lnTo>
                    <a:pt x="838" y="532"/>
                  </a:lnTo>
                  <a:lnTo>
                    <a:pt x="822" y="639"/>
                  </a:lnTo>
                  <a:lnTo>
                    <a:pt x="809" y="748"/>
                  </a:lnTo>
                  <a:lnTo>
                    <a:pt x="798" y="858"/>
                  </a:lnTo>
                  <a:lnTo>
                    <a:pt x="787" y="968"/>
                  </a:lnTo>
                  <a:lnTo>
                    <a:pt x="778" y="1079"/>
                  </a:lnTo>
                  <a:lnTo>
                    <a:pt x="770" y="1192"/>
                  </a:lnTo>
                  <a:lnTo>
                    <a:pt x="763" y="1305"/>
                  </a:lnTo>
                  <a:lnTo>
                    <a:pt x="755" y="1418"/>
                  </a:lnTo>
                  <a:lnTo>
                    <a:pt x="749" y="1533"/>
                  </a:lnTo>
                  <a:lnTo>
                    <a:pt x="744" y="1646"/>
                  </a:lnTo>
                  <a:lnTo>
                    <a:pt x="739" y="1761"/>
                  </a:lnTo>
                  <a:lnTo>
                    <a:pt x="734" y="1875"/>
                  </a:lnTo>
                  <a:lnTo>
                    <a:pt x="732" y="1935"/>
                  </a:lnTo>
                  <a:lnTo>
                    <a:pt x="729" y="1995"/>
                  </a:lnTo>
                  <a:lnTo>
                    <a:pt x="726" y="2053"/>
                  </a:lnTo>
                  <a:lnTo>
                    <a:pt x="723" y="2112"/>
                  </a:lnTo>
                  <a:lnTo>
                    <a:pt x="720" y="2171"/>
                  </a:lnTo>
                  <a:lnTo>
                    <a:pt x="717" y="2229"/>
                  </a:lnTo>
                  <a:lnTo>
                    <a:pt x="714" y="2286"/>
                  </a:lnTo>
                  <a:lnTo>
                    <a:pt x="712" y="2343"/>
                  </a:lnTo>
                  <a:lnTo>
                    <a:pt x="710" y="2354"/>
                  </a:lnTo>
                  <a:lnTo>
                    <a:pt x="708" y="2365"/>
                  </a:lnTo>
                  <a:lnTo>
                    <a:pt x="704" y="2374"/>
                  </a:lnTo>
                  <a:lnTo>
                    <a:pt x="700" y="2383"/>
                  </a:lnTo>
                  <a:lnTo>
                    <a:pt x="687" y="2406"/>
                  </a:lnTo>
                  <a:lnTo>
                    <a:pt x="675" y="2429"/>
                  </a:lnTo>
                  <a:lnTo>
                    <a:pt x="662" y="2450"/>
                  </a:lnTo>
                  <a:lnTo>
                    <a:pt x="648" y="2472"/>
                  </a:lnTo>
                  <a:lnTo>
                    <a:pt x="619" y="2514"/>
                  </a:lnTo>
                  <a:lnTo>
                    <a:pt x="590" y="2555"/>
                  </a:lnTo>
                  <a:lnTo>
                    <a:pt x="559" y="2595"/>
                  </a:lnTo>
                  <a:lnTo>
                    <a:pt x="527" y="2635"/>
                  </a:lnTo>
                  <a:lnTo>
                    <a:pt x="494" y="2673"/>
                  </a:lnTo>
                  <a:lnTo>
                    <a:pt x="461" y="2712"/>
                  </a:lnTo>
                  <a:lnTo>
                    <a:pt x="460" y="2712"/>
                  </a:lnTo>
                  <a:lnTo>
                    <a:pt x="423" y="2755"/>
                  </a:lnTo>
                  <a:lnTo>
                    <a:pt x="387" y="2800"/>
                  </a:lnTo>
                  <a:lnTo>
                    <a:pt x="350" y="2845"/>
                  </a:lnTo>
                  <a:lnTo>
                    <a:pt x="316" y="2890"/>
                  </a:lnTo>
                  <a:lnTo>
                    <a:pt x="298" y="2914"/>
                  </a:lnTo>
                  <a:lnTo>
                    <a:pt x="282" y="2939"/>
                  </a:lnTo>
                  <a:lnTo>
                    <a:pt x="266" y="2964"/>
                  </a:lnTo>
                  <a:lnTo>
                    <a:pt x="251" y="2988"/>
                  </a:lnTo>
                  <a:lnTo>
                    <a:pt x="235" y="3014"/>
                  </a:lnTo>
                  <a:lnTo>
                    <a:pt x="222" y="3040"/>
                  </a:lnTo>
                  <a:lnTo>
                    <a:pt x="208" y="3067"/>
                  </a:lnTo>
                  <a:lnTo>
                    <a:pt x="196" y="3094"/>
                  </a:lnTo>
                  <a:lnTo>
                    <a:pt x="192" y="3103"/>
                  </a:lnTo>
                  <a:lnTo>
                    <a:pt x="188" y="3110"/>
                  </a:lnTo>
                  <a:lnTo>
                    <a:pt x="183" y="3116"/>
                  </a:lnTo>
                  <a:lnTo>
                    <a:pt x="178" y="3122"/>
                  </a:lnTo>
                  <a:lnTo>
                    <a:pt x="170" y="3128"/>
                  </a:lnTo>
                  <a:lnTo>
                    <a:pt x="164" y="3133"/>
                  </a:lnTo>
                  <a:lnTo>
                    <a:pt x="157" y="3137"/>
                  </a:lnTo>
                  <a:lnTo>
                    <a:pt x="150" y="3141"/>
                  </a:lnTo>
                  <a:lnTo>
                    <a:pt x="142" y="3143"/>
                  </a:lnTo>
                  <a:lnTo>
                    <a:pt x="134" y="3145"/>
                  </a:lnTo>
                  <a:lnTo>
                    <a:pt x="126" y="3146"/>
                  </a:lnTo>
                  <a:lnTo>
                    <a:pt x="118" y="3147"/>
                  </a:lnTo>
                  <a:lnTo>
                    <a:pt x="110" y="3146"/>
                  </a:lnTo>
                  <a:lnTo>
                    <a:pt x="100" y="3145"/>
                  </a:lnTo>
                  <a:lnTo>
                    <a:pt x="92" y="3143"/>
                  </a:lnTo>
                  <a:lnTo>
                    <a:pt x="85" y="3140"/>
                  </a:lnTo>
                  <a:lnTo>
                    <a:pt x="74" y="3135"/>
                  </a:lnTo>
                  <a:lnTo>
                    <a:pt x="64" y="3128"/>
                  </a:lnTo>
                  <a:lnTo>
                    <a:pt x="56" y="3120"/>
                  </a:lnTo>
                  <a:lnTo>
                    <a:pt x="49" y="3112"/>
                  </a:lnTo>
                  <a:lnTo>
                    <a:pt x="44" y="3103"/>
                  </a:lnTo>
                  <a:lnTo>
                    <a:pt x="39" y="3092"/>
                  </a:lnTo>
                  <a:lnTo>
                    <a:pt x="35" y="3082"/>
                  </a:lnTo>
                  <a:lnTo>
                    <a:pt x="33" y="3072"/>
                  </a:lnTo>
                  <a:close/>
                  <a:moveTo>
                    <a:pt x="172" y="2627"/>
                  </a:moveTo>
                  <a:lnTo>
                    <a:pt x="172" y="2648"/>
                  </a:lnTo>
                  <a:lnTo>
                    <a:pt x="172" y="2668"/>
                  </a:lnTo>
                  <a:lnTo>
                    <a:pt x="173" y="2687"/>
                  </a:lnTo>
                  <a:lnTo>
                    <a:pt x="174" y="2708"/>
                  </a:lnTo>
                  <a:lnTo>
                    <a:pt x="176" y="2727"/>
                  </a:lnTo>
                  <a:lnTo>
                    <a:pt x="177" y="2748"/>
                  </a:lnTo>
                  <a:lnTo>
                    <a:pt x="178" y="2768"/>
                  </a:lnTo>
                  <a:lnTo>
                    <a:pt x="179" y="2788"/>
                  </a:lnTo>
                  <a:lnTo>
                    <a:pt x="197" y="2764"/>
                  </a:lnTo>
                  <a:lnTo>
                    <a:pt x="216" y="2739"/>
                  </a:lnTo>
                  <a:lnTo>
                    <a:pt x="234" y="2715"/>
                  </a:lnTo>
                  <a:lnTo>
                    <a:pt x="254" y="2691"/>
                  </a:lnTo>
                  <a:lnTo>
                    <a:pt x="273" y="2669"/>
                  </a:lnTo>
                  <a:lnTo>
                    <a:pt x="292" y="2646"/>
                  </a:lnTo>
                  <a:lnTo>
                    <a:pt x="311" y="2623"/>
                  </a:lnTo>
                  <a:lnTo>
                    <a:pt x="331" y="2601"/>
                  </a:lnTo>
                  <a:lnTo>
                    <a:pt x="331" y="2600"/>
                  </a:lnTo>
                  <a:lnTo>
                    <a:pt x="361" y="2565"/>
                  </a:lnTo>
                  <a:lnTo>
                    <a:pt x="391" y="2531"/>
                  </a:lnTo>
                  <a:lnTo>
                    <a:pt x="419" y="2496"/>
                  </a:lnTo>
                  <a:lnTo>
                    <a:pt x="446" y="2460"/>
                  </a:lnTo>
                  <a:lnTo>
                    <a:pt x="473" y="2425"/>
                  </a:lnTo>
                  <a:lnTo>
                    <a:pt x="498" y="2389"/>
                  </a:lnTo>
                  <a:lnTo>
                    <a:pt x="510" y="2372"/>
                  </a:lnTo>
                  <a:lnTo>
                    <a:pt x="522" y="2353"/>
                  </a:lnTo>
                  <a:lnTo>
                    <a:pt x="532" y="2335"/>
                  </a:lnTo>
                  <a:lnTo>
                    <a:pt x="542" y="2316"/>
                  </a:lnTo>
                  <a:lnTo>
                    <a:pt x="545" y="2259"/>
                  </a:lnTo>
                  <a:lnTo>
                    <a:pt x="548" y="2203"/>
                  </a:lnTo>
                  <a:lnTo>
                    <a:pt x="550" y="2146"/>
                  </a:lnTo>
                  <a:lnTo>
                    <a:pt x="554" y="2090"/>
                  </a:lnTo>
                  <a:lnTo>
                    <a:pt x="556" y="2035"/>
                  </a:lnTo>
                  <a:lnTo>
                    <a:pt x="559" y="1979"/>
                  </a:lnTo>
                  <a:lnTo>
                    <a:pt x="561" y="1923"/>
                  </a:lnTo>
                  <a:lnTo>
                    <a:pt x="564" y="1868"/>
                  </a:lnTo>
                  <a:lnTo>
                    <a:pt x="567" y="1785"/>
                  </a:lnTo>
                  <a:lnTo>
                    <a:pt x="571" y="1703"/>
                  </a:lnTo>
                  <a:lnTo>
                    <a:pt x="574" y="1620"/>
                  </a:lnTo>
                  <a:lnTo>
                    <a:pt x="578" y="1539"/>
                  </a:lnTo>
                  <a:lnTo>
                    <a:pt x="582" y="1456"/>
                  </a:lnTo>
                  <a:lnTo>
                    <a:pt x="586" y="1374"/>
                  </a:lnTo>
                  <a:lnTo>
                    <a:pt x="592" y="1293"/>
                  </a:lnTo>
                  <a:lnTo>
                    <a:pt x="597" y="1211"/>
                  </a:lnTo>
                  <a:lnTo>
                    <a:pt x="603" y="1130"/>
                  </a:lnTo>
                  <a:lnTo>
                    <a:pt x="609" y="1048"/>
                  </a:lnTo>
                  <a:lnTo>
                    <a:pt x="615" y="968"/>
                  </a:lnTo>
                  <a:lnTo>
                    <a:pt x="624" y="887"/>
                  </a:lnTo>
                  <a:lnTo>
                    <a:pt x="631" y="808"/>
                  </a:lnTo>
                  <a:lnTo>
                    <a:pt x="640" y="729"/>
                  </a:lnTo>
                  <a:lnTo>
                    <a:pt x="649" y="650"/>
                  </a:lnTo>
                  <a:lnTo>
                    <a:pt x="660" y="572"/>
                  </a:lnTo>
                  <a:lnTo>
                    <a:pt x="635" y="621"/>
                  </a:lnTo>
                  <a:lnTo>
                    <a:pt x="611" y="672"/>
                  </a:lnTo>
                  <a:lnTo>
                    <a:pt x="588" y="721"/>
                  </a:lnTo>
                  <a:lnTo>
                    <a:pt x="565" y="771"/>
                  </a:lnTo>
                  <a:lnTo>
                    <a:pt x="542" y="821"/>
                  </a:lnTo>
                  <a:lnTo>
                    <a:pt x="521" y="872"/>
                  </a:lnTo>
                  <a:lnTo>
                    <a:pt x="500" y="922"/>
                  </a:lnTo>
                  <a:lnTo>
                    <a:pt x="479" y="973"/>
                  </a:lnTo>
                  <a:lnTo>
                    <a:pt x="460" y="1023"/>
                  </a:lnTo>
                  <a:lnTo>
                    <a:pt x="440" y="1074"/>
                  </a:lnTo>
                  <a:lnTo>
                    <a:pt x="422" y="1125"/>
                  </a:lnTo>
                  <a:lnTo>
                    <a:pt x="404" y="1176"/>
                  </a:lnTo>
                  <a:lnTo>
                    <a:pt x="387" y="1227"/>
                  </a:lnTo>
                  <a:lnTo>
                    <a:pt x="370" y="1278"/>
                  </a:lnTo>
                  <a:lnTo>
                    <a:pt x="355" y="1329"/>
                  </a:lnTo>
                  <a:lnTo>
                    <a:pt x="339" y="1380"/>
                  </a:lnTo>
                  <a:lnTo>
                    <a:pt x="325" y="1432"/>
                  </a:lnTo>
                  <a:lnTo>
                    <a:pt x="311" y="1483"/>
                  </a:lnTo>
                  <a:lnTo>
                    <a:pt x="298" y="1535"/>
                  </a:lnTo>
                  <a:lnTo>
                    <a:pt x="285" y="1586"/>
                  </a:lnTo>
                  <a:lnTo>
                    <a:pt x="273" y="1638"/>
                  </a:lnTo>
                  <a:lnTo>
                    <a:pt x="262" y="1689"/>
                  </a:lnTo>
                  <a:lnTo>
                    <a:pt x="251" y="1741"/>
                  </a:lnTo>
                  <a:lnTo>
                    <a:pt x="241" y="1793"/>
                  </a:lnTo>
                  <a:lnTo>
                    <a:pt x="232" y="1845"/>
                  </a:lnTo>
                  <a:lnTo>
                    <a:pt x="223" y="1897"/>
                  </a:lnTo>
                  <a:lnTo>
                    <a:pt x="216" y="1949"/>
                  </a:lnTo>
                  <a:lnTo>
                    <a:pt x="207" y="2001"/>
                  </a:lnTo>
                  <a:lnTo>
                    <a:pt x="201" y="2053"/>
                  </a:lnTo>
                  <a:lnTo>
                    <a:pt x="195" y="2105"/>
                  </a:lnTo>
                  <a:lnTo>
                    <a:pt x="190" y="2157"/>
                  </a:lnTo>
                  <a:lnTo>
                    <a:pt x="186" y="2210"/>
                  </a:lnTo>
                  <a:lnTo>
                    <a:pt x="182" y="2263"/>
                  </a:lnTo>
                  <a:lnTo>
                    <a:pt x="178" y="2315"/>
                  </a:lnTo>
                  <a:lnTo>
                    <a:pt x="176" y="2368"/>
                  </a:lnTo>
                  <a:lnTo>
                    <a:pt x="173" y="2419"/>
                  </a:lnTo>
                  <a:lnTo>
                    <a:pt x="171" y="2472"/>
                  </a:lnTo>
                  <a:lnTo>
                    <a:pt x="171" y="2523"/>
                  </a:lnTo>
                  <a:lnTo>
                    <a:pt x="171" y="2576"/>
                  </a:lnTo>
                  <a:lnTo>
                    <a:pt x="172" y="2627"/>
                  </a:lnTo>
                  <a:close/>
                  <a:moveTo>
                    <a:pt x="331" y="2601"/>
                  </a:moveTo>
                  <a:lnTo>
                    <a:pt x="331" y="2600"/>
                  </a:lnTo>
                  <a:lnTo>
                    <a:pt x="331" y="260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4" name="Freeform 89"/>
            <p:cNvSpPr>
              <a:spLocks noChangeArrowheads="1"/>
            </p:cNvSpPr>
            <p:nvPr userDrawn="1"/>
          </p:nvSpPr>
          <p:spPr bwMode="auto">
            <a:xfrm>
              <a:off x="1306512" y="1997491"/>
              <a:ext cx="338137" cy="1650587"/>
            </a:xfrm>
            <a:custGeom>
              <a:avLst/>
              <a:gdLst>
                <a:gd name="T0" fmla="*/ 21 w 752"/>
                <a:gd name="T1" fmla="*/ 2881 h 2976"/>
                <a:gd name="T2" fmla="*/ 6 w 752"/>
                <a:gd name="T3" fmla="*/ 2689 h 2976"/>
                <a:gd name="T4" fmla="*/ 0 w 752"/>
                <a:gd name="T5" fmla="*/ 2498 h 2976"/>
                <a:gd name="T6" fmla="*/ 3 w 752"/>
                <a:gd name="T7" fmla="*/ 2307 h 2976"/>
                <a:gd name="T8" fmla="*/ 14 w 752"/>
                <a:gd name="T9" fmla="*/ 2118 h 2976"/>
                <a:gd name="T10" fmla="*/ 34 w 752"/>
                <a:gd name="T11" fmla="*/ 1927 h 2976"/>
                <a:gd name="T12" fmla="*/ 63 w 752"/>
                <a:gd name="T13" fmla="*/ 1738 h 2976"/>
                <a:gd name="T14" fmla="*/ 100 w 752"/>
                <a:gd name="T15" fmla="*/ 1551 h 2976"/>
                <a:gd name="T16" fmla="*/ 146 w 752"/>
                <a:gd name="T17" fmla="*/ 1363 h 2976"/>
                <a:gd name="T18" fmla="*/ 200 w 752"/>
                <a:gd name="T19" fmla="*/ 1177 h 2976"/>
                <a:gd name="T20" fmla="*/ 263 w 752"/>
                <a:gd name="T21" fmla="*/ 992 h 2976"/>
                <a:gd name="T22" fmla="*/ 333 w 752"/>
                <a:gd name="T23" fmla="*/ 808 h 2976"/>
                <a:gd name="T24" fmla="*/ 412 w 752"/>
                <a:gd name="T25" fmla="*/ 625 h 2976"/>
                <a:gd name="T26" fmla="*/ 499 w 752"/>
                <a:gd name="T27" fmla="*/ 445 h 2976"/>
                <a:gd name="T28" fmla="*/ 594 w 752"/>
                <a:gd name="T29" fmla="*/ 265 h 2976"/>
                <a:gd name="T30" fmla="*/ 697 w 752"/>
                <a:gd name="T31" fmla="*/ 88 h 2976"/>
                <a:gd name="T32" fmla="*/ 736 w 752"/>
                <a:gd name="T33" fmla="*/ 64 h 2976"/>
                <a:gd name="T34" fmla="*/ 709 w 752"/>
                <a:gd name="T35" fmla="*/ 195 h 2976"/>
                <a:gd name="T36" fmla="*/ 684 w 752"/>
                <a:gd name="T37" fmla="*/ 328 h 2976"/>
                <a:gd name="T38" fmla="*/ 663 w 752"/>
                <a:gd name="T39" fmla="*/ 463 h 2976"/>
                <a:gd name="T40" fmla="*/ 645 w 752"/>
                <a:gd name="T41" fmla="*/ 601 h 2976"/>
                <a:gd name="T42" fmla="*/ 629 w 752"/>
                <a:gd name="T43" fmla="*/ 741 h 2976"/>
                <a:gd name="T44" fmla="*/ 616 w 752"/>
                <a:gd name="T45" fmla="*/ 882 h 2976"/>
                <a:gd name="T46" fmla="*/ 603 w 752"/>
                <a:gd name="T47" fmla="*/ 1024 h 2976"/>
                <a:gd name="T48" fmla="*/ 589 w 752"/>
                <a:gd name="T49" fmla="*/ 1240 h 2976"/>
                <a:gd name="T50" fmla="*/ 574 w 752"/>
                <a:gd name="T51" fmla="*/ 1529 h 2976"/>
                <a:gd name="T52" fmla="*/ 561 w 752"/>
                <a:gd name="T53" fmla="*/ 1820 h 2976"/>
                <a:gd name="T54" fmla="*/ 548 w 752"/>
                <a:gd name="T55" fmla="*/ 2110 h 2976"/>
                <a:gd name="T56" fmla="*/ 528 w 752"/>
                <a:gd name="T57" fmla="*/ 2278 h 2976"/>
                <a:gd name="T58" fmla="*/ 502 w 752"/>
                <a:gd name="T59" fmla="*/ 2323 h 2976"/>
                <a:gd name="T60" fmla="*/ 473 w 752"/>
                <a:gd name="T61" fmla="*/ 2368 h 2976"/>
                <a:gd name="T62" fmla="*/ 441 w 752"/>
                <a:gd name="T63" fmla="*/ 2411 h 2976"/>
                <a:gd name="T64" fmla="*/ 391 w 752"/>
                <a:gd name="T65" fmla="*/ 2474 h 2976"/>
                <a:gd name="T66" fmla="*/ 321 w 752"/>
                <a:gd name="T67" fmla="*/ 2557 h 2976"/>
                <a:gd name="T68" fmla="*/ 250 w 752"/>
                <a:gd name="T69" fmla="*/ 2641 h 2976"/>
                <a:gd name="T70" fmla="*/ 180 w 752"/>
                <a:gd name="T71" fmla="*/ 2728 h 2976"/>
                <a:gd name="T72" fmla="*/ 131 w 752"/>
                <a:gd name="T73" fmla="*/ 2797 h 2976"/>
                <a:gd name="T74" fmla="*/ 100 w 752"/>
                <a:gd name="T75" fmla="*/ 2846 h 2976"/>
                <a:gd name="T76" fmla="*/ 71 w 752"/>
                <a:gd name="T77" fmla="*/ 2896 h 2976"/>
                <a:gd name="T78" fmla="*/ 44 w 752"/>
                <a:gd name="T79" fmla="*/ 2949 h 2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2" h="2976">
                  <a:moveTo>
                    <a:pt x="32" y="2976"/>
                  </a:moveTo>
                  <a:lnTo>
                    <a:pt x="21" y="2881"/>
                  </a:lnTo>
                  <a:lnTo>
                    <a:pt x="12" y="2785"/>
                  </a:lnTo>
                  <a:lnTo>
                    <a:pt x="6" y="2689"/>
                  </a:lnTo>
                  <a:lnTo>
                    <a:pt x="2" y="2594"/>
                  </a:lnTo>
                  <a:lnTo>
                    <a:pt x="0" y="2498"/>
                  </a:lnTo>
                  <a:lnTo>
                    <a:pt x="0" y="2403"/>
                  </a:lnTo>
                  <a:lnTo>
                    <a:pt x="3" y="2307"/>
                  </a:lnTo>
                  <a:lnTo>
                    <a:pt x="7" y="2213"/>
                  </a:lnTo>
                  <a:lnTo>
                    <a:pt x="14" y="2118"/>
                  </a:lnTo>
                  <a:lnTo>
                    <a:pt x="23" y="2022"/>
                  </a:lnTo>
                  <a:lnTo>
                    <a:pt x="34" y="1927"/>
                  </a:lnTo>
                  <a:lnTo>
                    <a:pt x="47" y="1833"/>
                  </a:lnTo>
                  <a:lnTo>
                    <a:pt x="63" y="1738"/>
                  </a:lnTo>
                  <a:lnTo>
                    <a:pt x="80" y="1645"/>
                  </a:lnTo>
                  <a:lnTo>
                    <a:pt x="100" y="1551"/>
                  </a:lnTo>
                  <a:lnTo>
                    <a:pt x="121" y="1456"/>
                  </a:lnTo>
                  <a:lnTo>
                    <a:pt x="146" y="1363"/>
                  </a:lnTo>
                  <a:lnTo>
                    <a:pt x="172" y="1269"/>
                  </a:lnTo>
                  <a:lnTo>
                    <a:pt x="200" y="1177"/>
                  </a:lnTo>
                  <a:lnTo>
                    <a:pt x="230" y="1084"/>
                  </a:lnTo>
                  <a:lnTo>
                    <a:pt x="263" y="992"/>
                  </a:lnTo>
                  <a:lnTo>
                    <a:pt x="297" y="899"/>
                  </a:lnTo>
                  <a:lnTo>
                    <a:pt x="333" y="808"/>
                  </a:lnTo>
                  <a:lnTo>
                    <a:pt x="372" y="717"/>
                  </a:lnTo>
                  <a:lnTo>
                    <a:pt x="412" y="625"/>
                  </a:lnTo>
                  <a:lnTo>
                    <a:pt x="454" y="535"/>
                  </a:lnTo>
                  <a:lnTo>
                    <a:pt x="499" y="445"/>
                  </a:lnTo>
                  <a:lnTo>
                    <a:pt x="546" y="355"/>
                  </a:lnTo>
                  <a:lnTo>
                    <a:pt x="594" y="265"/>
                  </a:lnTo>
                  <a:lnTo>
                    <a:pt x="645" y="177"/>
                  </a:lnTo>
                  <a:lnTo>
                    <a:pt x="697" y="88"/>
                  </a:lnTo>
                  <a:lnTo>
                    <a:pt x="752" y="0"/>
                  </a:lnTo>
                  <a:lnTo>
                    <a:pt x="736" y="64"/>
                  </a:lnTo>
                  <a:lnTo>
                    <a:pt x="722" y="129"/>
                  </a:lnTo>
                  <a:lnTo>
                    <a:pt x="709" y="195"/>
                  </a:lnTo>
                  <a:lnTo>
                    <a:pt x="696" y="261"/>
                  </a:lnTo>
                  <a:lnTo>
                    <a:pt x="684" y="328"/>
                  </a:lnTo>
                  <a:lnTo>
                    <a:pt x="674" y="395"/>
                  </a:lnTo>
                  <a:lnTo>
                    <a:pt x="663" y="463"/>
                  </a:lnTo>
                  <a:lnTo>
                    <a:pt x="654" y="532"/>
                  </a:lnTo>
                  <a:lnTo>
                    <a:pt x="645" y="601"/>
                  </a:lnTo>
                  <a:lnTo>
                    <a:pt x="636" y="670"/>
                  </a:lnTo>
                  <a:lnTo>
                    <a:pt x="629" y="741"/>
                  </a:lnTo>
                  <a:lnTo>
                    <a:pt x="622" y="811"/>
                  </a:lnTo>
                  <a:lnTo>
                    <a:pt x="616" y="882"/>
                  </a:lnTo>
                  <a:lnTo>
                    <a:pt x="610" y="952"/>
                  </a:lnTo>
                  <a:lnTo>
                    <a:pt x="603" y="1024"/>
                  </a:lnTo>
                  <a:lnTo>
                    <a:pt x="598" y="1095"/>
                  </a:lnTo>
                  <a:lnTo>
                    <a:pt x="589" y="1240"/>
                  </a:lnTo>
                  <a:lnTo>
                    <a:pt x="582" y="1384"/>
                  </a:lnTo>
                  <a:lnTo>
                    <a:pt x="574" y="1529"/>
                  </a:lnTo>
                  <a:lnTo>
                    <a:pt x="567" y="1675"/>
                  </a:lnTo>
                  <a:lnTo>
                    <a:pt x="561" y="1820"/>
                  </a:lnTo>
                  <a:lnTo>
                    <a:pt x="555" y="1965"/>
                  </a:lnTo>
                  <a:lnTo>
                    <a:pt x="548" y="2110"/>
                  </a:lnTo>
                  <a:lnTo>
                    <a:pt x="541" y="2254"/>
                  </a:lnTo>
                  <a:lnTo>
                    <a:pt x="528" y="2278"/>
                  </a:lnTo>
                  <a:lnTo>
                    <a:pt x="515" y="2300"/>
                  </a:lnTo>
                  <a:lnTo>
                    <a:pt x="502" y="2323"/>
                  </a:lnTo>
                  <a:lnTo>
                    <a:pt x="487" y="2346"/>
                  </a:lnTo>
                  <a:lnTo>
                    <a:pt x="473" y="2368"/>
                  </a:lnTo>
                  <a:lnTo>
                    <a:pt x="457" y="2390"/>
                  </a:lnTo>
                  <a:lnTo>
                    <a:pt x="441" y="2411"/>
                  </a:lnTo>
                  <a:lnTo>
                    <a:pt x="425" y="2432"/>
                  </a:lnTo>
                  <a:lnTo>
                    <a:pt x="391" y="2474"/>
                  </a:lnTo>
                  <a:lnTo>
                    <a:pt x="357" y="2516"/>
                  </a:lnTo>
                  <a:lnTo>
                    <a:pt x="321" y="2557"/>
                  </a:lnTo>
                  <a:lnTo>
                    <a:pt x="286" y="2599"/>
                  </a:lnTo>
                  <a:lnTo>
                    <a:pt x="250" y="2641"/>
                  </a:lnTo>
                  <a:lnTo>
                    <a:pt x="215" y="2684"/>
                  </a:lnTo>
                  <a:lnTo>
                    <a:pt x="180" y="2728"/>
                  </a:lnTo>
                  <a:lnTo>
                    <a:pt x="147" y="2773"/>
                  </a:lnTo>
                  <a:lnTo>
                    <a:pt x="131" y="2797"/>
                  </a:lnTo>
                  <a:lnTo>
                    <a:pt x="115" y="2821"/>
                  </a:lnTo>
                  <a:lnTo>
                    <a:pt x="100" y="2846"/>
                  </a:lnTo>
                  <a:lnTo>
                    <a:pt x="84" y="2870"/>
                  </a:lnTo>
                  <a:lnTo>
                    <a:pt x="71" y="2896"/>
                  </a:lnTo>
                  <a:lnTo>
                    <a:pt x="57" y="2922"/>
                  </a:lnTo>
                  <a:lnTo>
                    <a:pt x="44" y="2949"/>
                  </a:lnTo>
                  <a:lnTo>
                    <a:pt x="32" y="29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5" name="Freeform 90"/>
            <p:cNvSpPr>
              <a:spLocks noChangeArrowheads="1"/>
            </p:cNvSpPr>
            <p:nvPr userDrawn="1"/>
          </p:nvSpPr>
          <p:spPr bwMode="auto">
            <a:xfrm>
              <a:off x="1738312" y="1614383"/>
              <a:ext cx="1050925" cy="1507369"/>
            </a:xfrm>
            <a:custGeom>
              <a:avLst/>
              <a:gdLst>
                <a:gd name="T0" fmla="*/ 0 w 2336"/>
                <a:gd name="T1" fmla="*/ 2411 h 2721"/>
                <a:gd name="T2" fmla="*/ 21 w 2336"/>
                <a:gd name="T3" fmla="*/ 2127 h 2721"/>
                <a:gd name="T4" fmla="*/ 71 w 2336"/>
                <a:gd name="T5" fmla="*/ 1863 h 2721"/>
                <a:gd name="T6" fmla="*/ 146 w 2336"/>
                <a:gd name="T7" fmla="*/ 1622 h 2721"/>
                <a:gd name="T8" fmla="*/ 245 w 2336"/>
                <a:gd name="T9" fmla="*/ 1399 h 2721"/>
                <a:gd name="T10" fmla="*/ 364 w 2336"/>
                <a:gd name="T11" fmla="*/ 1196 h 2721"/>
                <a:gd name="T12" fmla="*/ 503 w 2336"/>
                <a:gd name="T13" fmla="*/ 1011 h 2721"/>
                <a:gd name="T14" fmla="*/ 657 w 2336"/>
                <a:gd name="T15" fmla="*/ 843 h 2721"/>
                <a:gd name="T16" fmla="*/ 824 w 2336"/>
                <a:gd name="T17" fmla="*/ 694 h 2721"/>
                <a:gd name="T18" fmla="*/ 1002 w 2336"/>
                <a:gd name="T19" fmla="*/ 559 h 2721"/>
                <a:gd name="T20" fmla="*/ 1188 w 2336"/>
                <a:gd name="T21" fmla="*/ 439 h 2721"/>
                <a:gd name="T22" fmla="*/ 1382 w 2336"/>
                <a:gd name="T23" fmla="*/ 332 h 2721"/>
                <a:gd name="T24" fmla="*/ 1580 w 2336"/>
                <a:gd name="T25" fmla="*/ 237 h 2721"/>
                <a:gd name="T26" fmla="*/ 1780 w 2336"/>
                <a:gd name="T27" fmla="*/ 154 h 2721"/>
                <a:gd name="T28" fmla="*/ 1981 w 2336"/>
                <a:gd name="T29" fmla="*/ 82 h 2721"/>
                <a:gd name="T30" fmla="*/ 2235 w 2336"/>
                <a:gd name="T31" fmla="*/ 1 h 2721"/>
                <a:gd name="T32" fmla="*/ 2269 w 2336"/>
                <a:gd name="T33" fmla="*/ 2 h 2721"/>
                <a:gd name="T34" fmla="*/ 2299 w 2336"/>
                <a:gd name="T35" fmla="*/ 15 h 2721"/>
                <a:gd name="T36" fmla="*/ 2321 w 2336"/>
                <a:gd name="T37" fmla="*/ 38 h 2721"/>
                <a:gd name="T38" fmla="*/ 2335 w 2336"/>
                <a:gd name="T39" fmla="*/ 74 h 2721"/>
                <a:gd name="T40" fmla="*/ 2328 w 2336"/>
                <a:gd name="T41" fmla="*/ 121 h 2721"/>
                <a:gd name="T42" fmla="*/ 2307 w 2336"/>
                <a:gd name="T43" fmla="*/ 150 h 2721"/>
                <a:gd name="T44" fmla="*/ 2189 w 2336"/>
                <a:gd name="T45" fmla="*/ 260 h 2721"/>
                <a:gd name="T46" fmla="*/ 2042 w 2336"/>
                <a:gd name="T47" fmla="*/ 407 h 2721"/>
                <a:gd name="T48" fmla="*/ 1798 w 2336"/>
                <a:gd name="T49" fmla="*/ 680 h 2721"/>
                <a:gd name="T50" fmla="*/ 1530 w 2336"/>
                <a:gd name="T51" fmla="*/ 1011 h 2721"/>
                <a:gd name="T52" fmla="*/ 1270 w 2336"/>
                <a:gd name="T53" fmla="*/ 1354 h 2721"/>
                <a:gd name="T54" fmla="*/ 1019 w 2336"/>
                <a:gd name="T55" fmla="*/ 1688 h 2721"/>
                <a:gd name="T56" fmla="*/ 765 w 2336"/>
                <a:gd name="T57" fmla="*/ 2013 h 2721"/>
                <a:gd name="T58" fmla="*/ 501 w 2336"/>
                <a:gd name="T59" fmla="*/ 2329 h 2721"/>
                <a:gd name="T60" fmla="*/ 257 w 2336"/>
                <a:gd name="T61" fmla="*/ 2591 h 2721"/>
                <a:gd name="T62" fmla="*/ 141 w 2336"/>
                <a:gd name="T63" fmla="*/ 2704 h 2721"/>
                <a:gd name="T64" fmla="*/ 111 w 2336"/>
                <a:gd name="T65" fmla="*/ 2718 h 2721"/>
                <a:gd name="T66" fmla="*/ 79 w 2336"/>
                <a:gd name="T67" fmla="*/ 2720 h 2721"/>
                <a:gd name="T68" fmla="*/ 47 w 2336"/>
                <a:gd name="T69" fmla="*/ 2711 h 2721"/>
                <a:gd name="T70" fmla="*/ 21 w 2336"/>
                <a:gd name="T71" fmla="*/ 2690 h 2721"/>
                <a:gd name="T72" fmla="*/ 8 w 2336"/>
                <a:gd name="T73" fmla="*/ 2663 h 2721"/>
                <a:gd name="T74" fmla="*/ 4 w 2336"/>
                <a:gd name="T75" fmla="*/ 2640 h 2721"/>
                <a:gd name="T76" fmla="*/ 714 w 2336"/>
                <a:gd name="T77" fmla="*/ 1031 h 2721"/>
                <a:gd name="T78" fmla="*/ 588 w 2336"/>
                <a:gd name="T79" fmla="*/ 1178 h 2721"/>
                <a:gd name="T80" fmla="*/ 477 w 2336"/>
                <a:gd name="T81" fmla="*/ 1339 h 2721"/>
                <a:gd name="T82" fmla="*/ 380 w 2336"/>
                <a:gd name="T83" fmla="*/ 1514 h 2721"/>
                <a:gd name="T84" fmla="*/ 299 w 2336"/>
                <a:gd name="T85" fmla="*/ 1704 h 2721"/>
                <a:gd name="T86" fmla="*/ 237 w 2336"/>
                <a:gd name="T87" fmla="*/ 1910 h 2721"/>
                <a:gd name="T88" fmla="*/ 194 w 2336"/>
                <a:gd name="T89" fmla="*/ 2133 h 2721"/>
                <a:gd name="T90" fmla="*/ 173 w 2336"/>
                <a:gd name="T91" fmla="*/ 2372 h 2721"/>
                <a:gd name="T92" fmla="*/ 350 w 2336"/>
                <a:gd name="T93" fmla="*/ 2242 h 2721"/>
                <a:gd name="T94" fmla="*/ 579 w 2336"/>
                <a:gd name="T95" fmla="*/ 1972 h 2721"/>
                <a:gd name="T96" fmla="*/ 799 w 2336"/>
                <a:gd name="T97" fmla="*/ 1693 h 2721"/>
                <a:gd name="T98" fmla="*/ 1015 w 2336"/>
                <a:gd name="T99" fmla="*/ 1408 h 2721"/>
                <a:gd name="T100" fmla="*/ 1224 w 2336"/>
                <a:gd name="T101" fmla="*/ 1131 h 2721"/>
                <a:gd name="T102" fmla="*/ 1433 w 2336"/>
                <a:gd name="T103" fmla="*/ 860 h 2721"/>
                <a:gd name="T104" fmla="*/ 1647 w 2336"/>
                <a:gd name="T105" fmla="*/ 596 h 2721"/>
                <a:gd name="T106" fmla="*/ 1869 w 2336"/>
                <a:gd name="T107" fmla="*/ 342 h 2721"/>
                <a:gd name="T108" fmla="*/ 1706 w 2336"/>
                <a:gd name="T109" fmla="*/ 369 h 2721"/>
                <a:gd name="T110" fmla="*/ 1413 w 2336"/>
                <a:gd name="T111" fmla="*/ 508 h 2721"/>
                <a:gd name="T112" fmla="*/ 1237 w 2336"/>
                <a:gd name="T113" fmla="*/ 609 h 2721"/>
                <a:gd name="T114" fmla="*/ 1101 w 2336"/>
                <a:gd name="T115" fmla="*/ 699 h 2721"/>
                <a:gd name="T116" fmla="*/ 969 w 2336"/>
                <a:gd name="T117" fmla="*/ 796 h 2721"/>
                <a:gd name="T118" fmla="*/ 845 w 2336"/>
                <a:gd name="T119" fmla="*/ 901 h 2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36" h="2721">
                  <a:moveTo>
                    <a:pt x="4" y="2640"/>
                  </a:moveTo>
                  <a:lnTo>
                    <a:pt x="1" y="2563"/>
                  </a:lnTo>
                  <a:lnTo>
                    <a:pt x="0" y="2486"/>
                  </a:lnTo>
                  <a:lnTo>
                    <a:pt x="0" y="2411"/>
                  </a:lnTo>
                  <a:lnTo>
                    <a:pt x="3" y="2338"/>
                  </a:lnTo>
                  <a:lnTo>
                    <a:pt x="7" y="2266"/>
                  </a:lnTo>
                  <a:lnTo>
                    <a:pt x="14" y="2196"/>
                  </a:lnTo>
                  <a:lnTo>
                    <a:pt x="21" y="2127"/>
                  </a:lnTo>
                  <a:lnTo>
                    <a:pt x="32" y="2059"/>
                  </a:lnTo>
                  <a:lnTo>
                    <a:pt x="43" y="1993"/>
                  </a:lnTo>
                  <a:lnTo>
                    <a:pt x="57" y="1927"/>
                  </a:lnTo>
                  <a:lnTo>
                    <a:pt x="71" y="1863"/>
                  </a:lnTo>
                  <a:lnTo>
                    <a:pt x="87" y="1801"/>
                  </a:lnTo>
                  <a:lnTo>
                    <a:pt x="106" y="1740"/>
                  </a:lnTo>
                  <a:lnTo>
                    <a:pt x="126" y="1679"/>
                  </a:lnTo>
                  <a:lnTo>
                    <a:pt x="146" y="1622"/>
                  </a:lnTo>
                  <a:lnTo>
                    <a:pt x="169" y="1564"/>
                  </a:lnTo>
                  <a:lnTo>
                    <a:pt x="192" y="1507"/>
                  </a:lnTo>
                  <a:lnTo>
                    <a:pt x="218" y="1453"/>
                  </a:lnTo>
                  <a:lnTo>
                    <a:pt x="245" y="1399"/>
                  </a:lnTo>
                  <a:lnTo>
                    <a:pt x="273" y="1346"/>
                  </a:lnTo>
                  <a:lnTo>
                    <a:pt x="303" y="1295"/>
                  </a:lnTo>
                  <a:lnTo>
                    <a:pt x="333" y="1245"/>
                  </a:lnTo>
                  <a:lnTo>
                    <a:pt x="364" y="1196"/>
                  </a:lnTo>
                  <a:lnTo>
                    <a:pt x="397" y="1148"/>
                  </a:lnTo>
                  <a:lnTo>
                    <a:pt x="431" y="1101"/>
                  </a:lnTo>
                  <a:lnTo>
                    <a:pt x="466" y="1056"/>
                  </a:lnTo>
                  <a:lnTo>
                    <a:pt x="503" y="1011"/>
                  </a:lnTo>
                  <a:lnTo>
                    <a:pt x="540" y="968"/>
                  </a:lnTo>
                  <a:lnTo>
                    <a:pt x="578" y="926"/>
                  </a:lnTo>
                  <a:lnTo>
                    <a:pt x="617" y="884"/>
                  </a:lnTo>
                  <a:lnTo>
                    <a:pt x="657" y="843"/>
                  </a:lnTo>
                  <a:lnTo>
                    <a:pt x="698" y="804"/>
                  </a:lnTo>
                  <a:lnTo>
                    <a:pt x="739" y="766"/>
                  </a:lnTo>
                  <a:lnTo>
                    <a:pt x="782" y="729"/>
                  </a:lnTo>
                  <a:lnTo>
                    <a:pt x="824" y="694"/>
                  </a:lnTo>
                  <a:lnTo>
                    <a:pt x="867" y="659"/>
                  </a:lnTo>
                  <a:lnTo>
                    <a:pt x="911" y="625"/>
                  </a:lnTo>
                  <a:lnTo>
                    <a:pt x="957" y="591"/>
                  </a:lnTo>
                  <a:lnTo>
                    <a:pt x="1002" y="559"/>
                  </a:lnTo>
                  <a:lnTo>
                    <a:pt x="1047" y="528"/>
                  </a:lnTo>
                  <a:lnTo>
                    <a:pt x="1094" y="497"/>
                  </a:lnTo>
                  <a:lnTo>
                    <a:pt x="1141" y="467"/>
                  </a:lnTo>
                  <a:lnTo>
                    <a:pt x="1188" y="439"/>
                  </a:lnTo>
                  <a:lnTo>
                    <a:pt x="1236" y="410"/>
                  </a:lnTo>
                  <a:lnTo>
                    <a:pt x="1284" y="384"/>
                  </a:lnTo>
                  <a:lnTo>
                    <a:pt x="1333" y="358"/>
                  </a:lnTo>
                  <a:lnTo>
                    <a:pt x="1382" y="332"/>
                  </a:lnTo>
                  <a:lnTo>
                    <a:pt x="1432" y="307"/>
                  </a:lnTo>
                  <a:lnTo>
                    <a:pt x="1480" y="283"/>
                  </a:lnTo>
                  <a:lnTo>
                    <a:pt x="1530" y="260"/>
                  </a:lnTo>
                  <a:lnTo>
                    <a:pt x="1580" y="237"/>
                  </a:lnTo>
                  <a:lnTo>
                    <a:pt x="1629" y="216"/>
                  </a:lnTo>
                  <a:lnTo>
                    <a:pt x="1680" y="194"/>
                  </a:lnTo>
                  <a:lnTo>
                    <a:pt x="1730" y="174"/>
                  </a:lnTo>
                  <a:lnTo>
                    <a:pt x="1780" y="154"/>
                  </a:lnTo>
                  <a:lnTo>
                    <a:pt x="1830" y="135"/>
                  </a:lnTo>
                  <a:lnTo>
                    <a:pt x="1881" y="117"/>
                  </a:lnTo>
                  <a:lnTo>
                    <a:pt x="1930" y="98"/>
                  </a:lnTo>
                  <a:lnTo>
                    <a:pt x="1981" y="82"/>
                  </a:lnTo>
                  <a:lnTo>
                    <a:pt x="2030" y="64"/>
                  </a:lnTo>
                  <a:lnTo>
                    <a:pt x="2129" y="33"/>
                  </a:lnTo>
                  <a:lnTo>
                    <a:pt x="2227" y="3"/>
                  </a:lnTo>
                  <a:lnTo>
                    <a:pt x="2235" y="1"/>
                  </a:lnTo>
                  <a:lnTo>
                    <a:pt x="2243" y="0"/>
                  </a:lnTo>
                  <a:lnTo>
                    <a:pt x="2252" y="0"/>
                  </a:lnTo>
                  <a:lnTo>
                    <a:pt x="2261" y="0"/>
                  </a:lnTo>
                  <a:lnTo>
                    <a:pt x="2269" y="2"/>
                  </a:lnTo>
                  <a:lnTo>
                    <a:pt x="2276" y="4"/>
                  </a:lnTo>
                  <a:lnTo>
                    <a:pt x="2284" y="7"/>
                  </a:lnTo>
                  <a:lnTo>
                    <a:pt x="2292" y="10"/>
                  </a:lnTo>
                  <a:lnTo>
                    <a:pt x="2299" y="15"/>
                  </a:lnTo>
                  <a:lnTo>
                    <a:pt x="2305" y="20"/>
                  </a:lnTo>
                  <a:lnTo>
                    <a:pt x="2311" y="26"/>
                  </a:lnTo>
                  <a:lnTo>
                    <a:pt x="2316" y="31"/>
                  </a:lnTo>
                  <a:lnTo>
                    <a:pt x="2321" y="38"/>
                  </a:lnTo>
                  <a:lnTo>
                    <a:pt x="2326" y="45"/>
                  </a:lnTo>
                  <a:lnTo>
                    <a:pt x="2330" y="54"/>
                  </a:lnTo>
                  <a:lnTo>
                    <a:pt x="2333" y="62"/>
                  </a:lnTo>
                  <a:lnTo>
                    <a:pt x="2335" y="74"/>
                  </a:lnTo>
                  <a:lnTo>
                    <a:pt x="2336" y="86"/>
                  </a:lnTo>
                  <a:lnTo>
                    <a:pt x="2335" y="98"/>
                  </a:lnTo>
                  <a:lnTo>
                    <a:pt x="2333" y="109"/>
                  </a:lnTo>
                  <a:lnTo>
                    <a:pt x="2328" y="121"/>
                  </a:lnTo>
                  <a:lnTo>
                    <a:pt x="2323" y="131"/>
                  </a:lnTo>
                  <a:lnTo>
                    <a:pt x="2315" y="141"/>
                  </a:lnTo>
                  <a:lnTo>
                    <a:pt x="2307" y="150"/>
                  </a:lnTo>
                  <a:lnTo>
                    <a:pt x="2301" y="155"/>
                  </a:lnTo>
                  <a:lnTo>
                    <a:pt x="2263" y="190"/>
                  </a:lnTo>
                  <a:lnTo>
                    <a:pt x="2226" y="225"/>
                  </a:lnTo>
                  <a:lnTo>
                    <a:pt x="2189" y="260"/>
                  </a:lnTo>
                  <a:lnTo>
                    <a:pt x="2152" y="296"/>
                  </a:lnTo>
                  <a:lnTo>
                    <a:pt x="2114" y="333"/>
                  </a:lnTo>
                  <a:lnTo>
                    <a:pt x="2078" y="370"/>
                  </a:lnTo>
                  <a:lnTo>
                    <a:pt x="2042" y="407"/>
                  </a:lnTo>
                  <a:lnTo>
                    <a:pt x="2007" y="445"/>
                  </a:lnTo>
                  <a:lnTo>
                    <a:pt x="1936" y="523"/>
                  </a:lnTo>
                  <a:lnTo>
                    <a:pt x="1867" y="601"/>
                  </a:lnTo>
                  <a:lnTo>
                    <a:pt x="1798" y="680"/>
                  </a:lnTo>
                  <a:lnTo>
                    <a:pt x="1730" y="762"/>
                  </a:lnTo>
                  <a:lnTo>
                    <a:pt x="1663" y="844"/>
                  </a:lnTo>
                  <a:lnTo>
                    <a:pt x="1596" y="928"/>
                  </a:lnTo>
                  <a:lnTo>
                    <a:pt x="1530" y="1011"/>
                  </a:lnTo>
                  <a:lnTo>
                    <a:pt x="1466" y="1096"/>
                  </a:lnTo>
                  <a:lnTo>
                    <a:pt x="1400" y="1181"/>
                  </a:lnTo>
                  <a:lnTo>
                    <a:pt x="1335" y="1267"/>
                  </a:lnTo>
                  <a:lnTo>
                    <a:pt x="1270" y="1354"/>
                  </a:lnTo>
                  <a:lnTo>
                    <a:pt x="1205" y="1439"/>
                  </a:lnTo>
                  <a:lnTo>
                    <a:pt x="1143" y="1523"/>
                  </a:lnTo>
                  <a:lnTo>
                    <a:pt x="1081" y="1605"/>
                  </a:lnTo>
                  <a:lnTo>
                    <a:pt x="1019" y="1688"/>
                  </a:lnTo>
                  <a:lnTo>
                    <a:pt x="956" y="1769"/>
                  </a:lnTo>
                  <a:lnTo>
                    <a:pt x="893" y="1851"/>
                  </a:lnTo>
                  <a:lnTo>
                    <a:pt x="829" y="1933"/>
                  </a:lnTo>
                  <a:lnTo>
                    <a:pt x="765" y="2013"/>
                  </a:lnTo>
                  <a:lnTo>
                    <a:pt x="700" y="2094"/>
                  </a:lnTo>
                  <a:lnTo>
                    <a:pt x="635" y="2173"/>
                  </a:lnTo>
                  <a:lnTo>
                    <a:pt x="568" y="2251"/>
                  </a:lnTo>
                  <a:lnTo>
                    <a:pt x="501" y="2329"/>
                  </a:lnTo>
                  <a:lnTo>
                    <a:pt x="433" y="2405"/>
                  </a:lnTo>
                  <a:lnTo>
                    <a:pt x="363" y="2480"/>
                  </a:lnTo>
                  <a:lnTo>
                    <a:pt x="293" y="2555"/>
                  </a:lnTo>
                  <a:lnTo>
                    <a:pt x="257" y="2591"/>
                  </a:lnTo>
                  <a:lnTo>
                    <a:pt x="221" y="2627"/>
                  </a:lnTo>
                  <a:lnTo>
                    <a:pt x="184" y="2663"/>
                  </a:lnTo>
                  <a:lnTo>
                    <a:pt x="148" y="2698"/>
                  </a:lnTo>
                  <a:lnTo>
                    <a:pt x="141" y="2704"/>
                  </a:lnTo>
                  <a:lnTo>
                    <a:pt x="134" y="2709"/>
                  </a:lnTo>
                  <a:lnTo>
                    <a:pt x="127" y="2713"/>
                  </a:lnTo>
                  <a:lnTo>
                    <a:pt x="119" y="2716"/>
                  </a:lnTo>
                  <a:lnTo>
                    <a:pt x="111" y="2718"/>
                  </a:lnTo>
                  <a:lnTo>
                    <a:pt x="103" y="2720"/>
                  </a:lnTo>
                  <a:lnTo>
                    <a:pt x="95" y="2721"/>
                  </a:lnTo>
                  <a:lnTo>
                    <a:pt x="87" y="2721"/>
                  </a:lnTo>
                  <a:lnTo>
                    <a:pt x="79" y="2720"/>
                  </a:lnTo>
                  <a:lnTo>
                    <a:pt x="71" y="2719"/>
                  </a:lnTo>
                  <a:lnTo>
                    <a:pt x="63" y="2717"/>
                  </a:lnTo>
                  <a:lnTo>
                    <a:pt x="54" y="2714"/>
                  </a:lnTo>
                  <a:lnTo>
                    <a:pt x="47" y="2711"/>
                  </a:lnTo>
                  <a:lnTo>
                    <a:pt x="40" y="2706"/>
                  </a:lnTo>
                  <a:lnTo>
                    <a:pt x="34" y="2701"/>
                  </a:lnTo>
                  <a:lnTo>
                    <a:pt x="28" y="2695"/>
                  </a:lnTo>
                  <a:lnTo>
                    <a:pt x="21" y="2690"/>
                  </a:lnTo>
                  <a:lnTo>
                    <a:pt x="17" y="2682"/>
                  </a:lnTo>
                  <a:lnTo>
                    <a:pt x="13" y="2676"/>
                  </a:lnTo>
                  <a:lnTo>
                    <a:pt x="10" y="2669"/>
                  </a:lnTo>
                  <a:lnTo>
                    <a:pt x="8" y="2663"/>
                  </a:lnTo>
                  <a:lnTo>
                    <a:pt x="6" y="2656"/>
                  </a:lnTo>
                  <a:lnTo>
                    <a:pt x="5" y="2647"/>
                  </a:lnTo>
                  <a:lnTo>
                    <a:pt x="4" y="2640"/>
                  </a:lnTo>
                  <a:close/>
                  <a:moveTo>
                    <a:pt x="816" y="929"/>
                  </a:moveTo>
                  <a:lnTo>
                    <a:pt x="781" y="962"/>
                  </a:lnTo>
                  <a:lnTo>
                    <a:pt x="747" y="996"/>
                  </a:lnTo>
                  <a:lnTo>
                    <a:pt x="714" y="1031"/>
                  </a:lnTo>
                  <a:lnTo>
                    <a:pt x="681" y="1066"/>
                  </a:lnTo>
                  <a:lnTo>
                    <a:pt x="650" y="1103"/>
                  </a:lnTo>
                  <a:lnTo>
                    <a:pt x="619" y="1140"/>
                  </a:lnTo>
                  <a:lnTo>
                    <a:pt x="588" y="1178"/>
                  </a:lnTo>
                  <a:lnTo>
                    <a:pt x="559" y="1216"/>
                  </a:lnTo>
                  <a:lnTo>
                    <a:pt x="530" y="1257"/>
                  </a:lnTo>
                  <a:lnTo>
                    <a:pt x="504" y="1297"/>
                  </a:lnTo>
                  <a:lnTo>
                    <a:pt x="477" y="1339"/>
                  </a:lnTo>
                  <a:lnTo>
                    <a:pt x="451" y="1381"/>
                  </a:lnTo>
                  <a:lnTo>
                    <a:pt x="426" y="1425"/>
                  </a:lnTo>
                  <a:lnTo>
                    <a:pt x="403" y="1469"/>
                  </a:lnTo>
                  <a:lnTo>
                    <a:pt x="380" y="1514"/>
                  </a:lnTo>
                  <a:lnTo>
                    <a:pt x="358" y="1560"/>
                  </a:lnTo>
                  <a:lnTo>
                    <a:pt x="337" y="1607"/>
                  </a:lnTo>
                  <a:lnTo>
                    <a:pt x="317" y="1656"/>
                  </a:lnTo>
                  <a:lnTo>
                    <a:pt x="299" y="1704"/>
                  </a:lnTo>
                  <a:lnTo>
                    <a:pt x="282" y="1755"/>
                  </a:lnTo>
                  <a:lnTo>
                    <a:pt x="266" y="1805"/>
                  </a:lnTo>
                  <a:lnTo>
                    <a:pt x="250" y="1858"/>
                  </a:lnTo>
                  <a:lnTo>
                    <a:pt x="237" y="1910"/>
                  </a:lnTo>
                  <a:lnTo>
                    <a:pt x="224" y="1964"/>
                  </a:lnTo>
                  <a:lnTo>
                    <a:pt x="212" y="2019"/>
                  </a:lnTo>
                  <a:lnTo>
                    <a:pt x="203" y="2075"/>
                  </a:lnTo>
                  <a:lnTo>
                    <a:pt x="194" y="2133"/>
                  </a:lnTo>
                  <a:lnTo>
                    <a:pt x="186" y="2191"/>
                  </a:lnTo>
                  <a:lnTo>
                    <a:pt x="180" y="2250"/>
                  </a:lnTo>
                  <a:lnTo>
                    <a:pt x="176" y="2310"/>
                  </a:lnTo>
                  <a:lnTo>
                    <a:pt x="173" y="2372"/>
                  </a:lnTo>
                  <a:lnTo>
                    <a:pt x="171" y="2435"/>
                  </a:lnTo>
                  <a:lnTo>
                    <a:pt x="232" y="2371"/>
                  </a:lnTo>
                  <a:lnTo>
                    <a:pt x="291" y="2307"/>
                  </a:lnTo>
                  <a:lnTo>
                    <a:pt x="350" y="2242"/>
                  </a:lnTo>
                  <a:lnTo>
                    <a:pt x="409" y="2175"/>
                  </a:lnTo>
                  <a:lnTo>
                    <a:pt x="465" y="2108"/>
                  </a:lnTo>
                  <a:lnTo>
                    <a:pt x="523" y="2041"/>
                  </a:lnTo>
                  <a:lnTo>
                    <a:pt x="579" y="1972"/>
                  </a:lnTo>
                  <a:lnTo>
                    <a:pt x="635" y="1903"/>
                  </a:lnTo>
                  <a:lnTo>
                    <a:pt x="690" y="1833"/>
                  </a:lnTo>
                  <a:lnTo>
                    <a:pt x="745" y="1763"/>
                  </a:lnTo>
                  <a:lnTo>
                    <a:pt x="799" y="1693"/>
                  </a:lnTo>
                  <a:lnTo>
                    <a:pt x="854" y="1622"/>
                  </a:lnTo>
                  <a:lnTo>
                    <a:pt x="907" y="1550"/>
                  </a:lnTo>
                  <a:lnTo>
                    <a:pt x="962" y="1479"/>
                  </a:lnTo>
                  <a:lnTo>
                    <a:pt x="1015" y="1408"/>
                  </a:lnTo>
                  <a:lnTo>
                    <a:pt x="1069" y="1337"/>
                  </a:lnTo>
                  <a:lnTo>
                    <a:pt x="1121" y="1268"/>
                  </a:lnTo>
                  <a:lnTo>
                    <a:pt x="1172" y="1200"/>
                  </a:lnTo>
                  <a:lnTo>
                    <a:pt x="1224" y="1131"/>
                  </a:lnTo>
                  <a:lnTo>
                    <a:pt x="1276" y="1063"/>
                  </a:lnTo>
                  <a:lnTo>
                    <a:pt x="1328" y="995"/>
                  </a:lnTo>
                  <a:lnTo>
                    <a:pt x="1380" y="927"/>
                  </a:lnTo>
                  <a:lnTo>
                    <a:pt x="1433" y="860"/>
                  </a:lnTo>
                  <a:lnTo>
                    <a:pt x="1486" y="793"/>
                  </a:lnTo>
                  <a:lnTo>
                    <a:pt x="1539" y="727"/>
                  </a:lnTo>
                  <a:lnTo>
                    <a:pt x="1593" y="661"/>
                  </a:lnTo>
                  <a:lnTo>
                    <a:pt x="1647" y="596"/>
                  </a:lnTo>
                  <a:lnTo>
                    <a:pt x="1701" y="531"/>
                  </a:lnTo>
                  <a:lnTo>
                    <a:pt x="1757" y="467"/>
                  </a:lnTo>
                  <a:lnTo>
                    <a:pt x="1813" y="404"/>
                  </a:lnTo>
                  <a:lnTo>
                    <a:pt x="1869" y="342"/>
                  </a:lnTo>
                  <a:lnTo>
                    <a:pt x="1927" y="281"/>
                  </a:lnTo>
                  <a:lnTo>
                    <a:pt x="1853" y="309"/>
                  </a:lnTo>
                  <a:lnTo>
                    <a:pt x="1779" y="338"/>
                  </a:lnTo>
                  <a:lnTo>
                    <a:pt x="1706" y="369"/>
                  </a:lnTo>
                  <a:lnTo>
                    <a:pt x="1631" y="401"/>
                  </a:lnTo>
                  <a:lnTo>
                    <a:pt x="1558" y="435"/>
                  </a:lnTo>
                  <a:lnTo>
                    <a:pt x="1485" y="471"/>
                  </a:lnTo>
                  <a:lnTo>
                    <a:pt x="1413" y="508"/>
                  </a:lnTo>
                  <a:lnTo>
                    <a:pt x="1342" y="547"/>
                  </a:lnTo>
                  <a:lnTo>
                    <a:pt x="1307" y="568"/>
                  </a:lnTo>
                  <a:lnTo>
                    <a:pt x="1272" y="588"/>
                  </a:lnTo>
                  <a:lnTo>
                    <a:pt x="1237" y="609"/>
                  </a:lnTo>
                  <a:lnTo>
                    <a:pt x="1203" y="631"/>
                  </a:lnTo>
                  <a:lnTo>
                    <a:pt x="1168" y="653"/>
                  </a:lnTo>
                  <a:lnTo>
                    <a:pt x="1134" y="675"/>
                  </a:lnTo>
                  <a:lnTo>
                    <a:pt x="1101" y="699"/>
                  </a:lnTo>
                  <a:lnTo>
                    <a:pt x="1067" y="722"/>
                  </a:lnTo>
                  <a:lnTo>
                    <a:pt x="1034" y="746"/>
                  </a:lnTo>
                  <a:lnTo>
                    <a:pt x="1002" y="770"/>
                  </a:lnTo>
                  <a:lnTo>
                    <a:pt x="969" y="796"/>
                  </a:lnTo>
                  <a:lnTo>
                    <a:pt x="938" y="821"/>
                  </a:lnTo>
                  <a:lnTo>
                    <a:pt x="906" y="847"/>
                  </a:lnTo>
                  <a:lnTo>
                    <a:pt x="875" y="874"/>
                  </a:lnTo>
                  <a:lnTo>
                    <a:pt x="845" y="901"/>
                  </a:lnTo>
                  <a:lnTo>
                    <a:pt x="816" y="92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6" name="Freeform 91"/>
            <p:cNvSpPr>
              <a:spLocks noChangeArrowheads="1"/>
            </p:cNvSpPr>
            <p:nvPr userDrawn="1"/>
          </p:nvSpPr>
          <p:spPr bwMode="auto">
            <a:xfrm>
              <a:off x="1781174" y="1668090"/>
              <a:ext cx="971550" cy="1410697"/>
            </a:xfrm>
            <a:custGeom>
              <a:avLst/>
              <a:gdLst>
                <a:gd name="T0" fmla="*/ 4 w 2165"/>
                <a:gd name="T1" fmla="*/ 2550 h 2550"/>
                <a:gd name="T2" fmla="*/ 0 w 2165"/>
                <a:gd name="T3" fmla="*/ 2401 h 2550"/>
                <a:gd name="T4" fmla="*/ 3 w 2165"/>
                <a:gd name="T5" fmla="*/ 2258 h 2550"/>
                <a:gd name="T6" fmla="*/ 14 w 2165"/>
                <a:gd name="T7" fmla="*/ 2121 h 2550"/>
                <a:gd name="T8" fmla="*/ 31 w 2165"/>
                <a:gd name="T9" fmla="*/ 1989 h 2550"/>
                <a:gd name="T10" fmla="*/ 55 w 2165"/>
                <a:gd name="T11" fmla="*/ 1862 h 2550"/>
                <a:gd name="T12" fmla="*/ 85 w 2165"/>
                <a:gd name="T13" fmla="*/ 1741 h 2550"/>
                <a:gd name="T14" fmla="*/ 121 w 2165"/>
                <a:gd name="T15" fmla="*/ 1623 h 2550"/>
                <a:gd name="T16" fmla="*/ 163 w 2165"/>
                <a:gd name="T17" fmla="*/ 1512 h 2550"/>
                <a:gd name="T18" fmla="*/ 210 w 2165"/>
                <a:gd name="T19" fmla="*/ 1405 h 2550"/>
                <a:gd name="T20" fmla="*/ 263 w 2165"/>
                <a:gd name="T21" fmla="*/ 1303 h 2550"/>
                <a:gd name="T22" fmla="*/ 321 w 2165"/>
                <a:gd name="T23" fmla="*/ 1205 h 2550"/>
                <a:gd name="T24" fmla="*/ 382 w 2165"/>
                <a:gd name="T25" fmla="*/ 1112 h 2550"/>
                <a:gd name="T26" fmla="*/ 448 w 2165"/>
                <a:gd name="T27" fmla="*/ 1022 h 2550"/>
                <a:gd name="T28" fmla="*/ 519 w 2165"/>
                <a:gd name="T29" fmla="*/ 938 h 2550"/>
                <a:gd name="T30" fmla="*/ 594 w 2165"/>
                <a:gd name="T31" fmla="*/ 857 h 2550"/>
                <a:gd name="T32" fmla="*/ 672 w 2165"/>
                <a:gd name="T33" fmla="*/ 780 h 2550"/>
                <a:gd name="T34" fmla="*/ 752 w 2165"/>
                <a:gd name="T35" fmla="*/ 708 h 2550"/>
                <a:gd name="T36" fmla="*/ 837 w 2165"/>
                <a:gd name="T37" fmla="*/ 639 h 2550"/>
                <a:gd name="T38" fmla="*/ 923 w 2165"/>
                <a:gd name="T39" fmla="*/ 573 h 2550"/>
                <a:gd name="T40" fmla="*/ 1012 w 2165"/>
                <a:gd name="T41" fmla="*/ 511 h 2550"/>
                <a:gd name="T42" fmla="*/ 1103 w 2165"/>
                <a:gd name="T43" fmla="*/ 453 h 2550"/>
                <a:gd name="T44" fmla="*/ 1196 w 2165"/>
                <a:gd name="T45" fmla="*/ 398 h 2550"/>
                <a:gd name="T46" fmla="*/ 1291 w 2165"/>
                <a:gd name="T47" fmla="*/ 345 h 2550"/>
                <a:gd name="T48" fmla="*/ 1387 w 2165"/>
                <a:gd name="T49" fmla="*/ 297 h 2550"/>
                <a:gd name="T50" fmla="*/ 1484 w 2165"/>
                <a:gd name="T51" fmla="*/ 250 h 2550"/>
                <a:gd name="T52" fmla="*/ 1581 w 2165"/>
                <a:gd name="T53" fmla="*/ 207 h 2550"/>
                <a:gd name="T54" fmla="*/ 1679 w 2165"/>
                <a:gd name="T55" fmla="*/ 167 h 2550"/>
                <a:gd name="T56" fmla="*/ 1777 w 2165"/>
                <a:gd name="T57" fmla="*/ 128 h 2550"/>
                <a:gd name="T58" fmla="*/ 1875 w 2165"/>
                <a:gd name="T59" fmla="*/ 92 h 2550"/>
                <a:gd name="T60" fmla="*/ 1973 w 2165"/>
                <a:gd name="T61" fmla="*/ 59 h 2550"/>
                <a:gd name="T62" fmla="*/ 2070 w 2165"/>
                <a:gd name="T63" fmla="*/ 28 h 2550"/>
                <a:gd name="T64" fmla="*/ 2165 w 2165"/>
                <a:gd name="T65" fmla="*/ 0 h 2550"/>
                <a:gd name="T66" fmla="*/ 2091 w 2165"/>
                <a:gd name="T67" fmla="*/ 68 h 2550"/>
                <a:gd name="T68" fmla="*/ 2017 w 2165"/>
                <a:gd name="T69" fmla="*/ 139 h 2550"/>
                <a:gd name="T70" fmla="*/ 1945 w 2165"/>
                <a:gd name="T71" fmla="*/ 211 h 2550"/>
                <a:gd name="T72" fmla="*/ 1874 w 2165"/>
                <a:gd name="T73" fmla="*/ 285 h 2550"/>
                <a:gd name="T74" fmla="*/ 1805 w 2165"/>
                <a:gd name="T75" fmla="*/ 360 h 2550"/>
                <a:gd name="T76" fmla="*/ 1736 w 2165"/>
                <a:gd name="T77" fmla="*/ 438 h 2550"/>
                <a:gd name="T78" fmla="*/ 1668 w 2165"/>
                <a:gd name="T79" fmla="*/ 516 h 2550"/>
                <a:gd name="T80" fmla="*/ 1601 w 2165"/>
                <a:gd name="T81" fmla="*/ 595 h 2550"/>
                <a:gd name="T82" fmla="*/ 1535 w 2165"/>
                <a:gd name="T83" fmla="*/ 676 h 2550"/>
                <a:gd name="T84" fmla="*/ 1469 w 2165"/>
                <a:gd name="T85" fmla="*/ 757 h 2550"/>
                <a:gd name="T86" fmla="*/ 1404 w 2165"/>
                <a:gd name="T87" fmla="*/ 840 h 2550"/>
                <a:gd name="T88" fmla="*/ 1340 w 2165"/>
                <a:gd name="T89" fmla="*/ 922 h 2550"/>
                <a:gd name="T90" fmla="*/ 1212 w 2165"/>
                <a:gd name="T91" fmla="*/ 1090 h 2550"/>
                <a:gd name="T92" fmla="*/ 1085 w 2165"/>
                <a:gd name="T93" fmla="*/ 1258 h 2550"/>
                <a:gd name="T94" fmla="*/ 957 w 2165"/>
                <a:gd name="T95" fmla="*/ 1428 h 2550"/>
                <a:gd name="T96" fmla="*/ 830 w 2165"/>
                <a:gd name="T97" fmla="*/ 1597 h 2550"/>
                <a:gd name="T98" fmla="*/ 765 w 2165"/>
                <a:gd name="T99" fmla="*/ 1682 h 2550"/>
                <a:gd name="T100" fmla="*/ 700 w 2165"/>
                <a:gd name="T101" fmla="*/ 1765 h 2550"/>
                <a:gd name="T102" fmla="*/ 635 w 2165"/>
                <a:gd name="T103" fmla="*/ 1848 h 2550"/>
                <a:gd name="T104" fmla="*/ 568 w 2165"/>
                <a:gd name="T105" fmla="*/ 1930 h 2550"/>
                <a:gd name="T106" fmla="*/ 501 w 2165"/>
                <a:gd name="T107" fmla="*/ 2012 h 2550"/>
                <a:gd name="T108" fmla="*/ 433 w 2165"/>
                <a:gd name="T109" fmla="*/ 2092 h 2550"/>
                <a:gd name="T110" fmla="*/ 365 w 2165"/>
                <a:gd name="T111" fmla="*/ 2172 h 2550"/>
                <a:gd name="T112" fmla="*/ 295 w 2165"/>
                <a:gd name="T113" fmla="*/ 2250 h 2550"/>
                <a:gd name="T114" fmla="*/ 224 w 2165"/>
                <a:gd name="T115" fmla="*/ 2327 h 2550"/>
                <a:gd name="T116" fmla="*/ 152 w 2165"/>
                <a:gd name="T117" fmla="*/ 2404 h 2550"/>
                <a:gd name="T118" fmla="*/ 79 w 2165"/>
                <a:gd name="T119" fmla="*/ 2478 h 2550"/>
                <a:gd name="T120" fmla="*/ 4 w 2165"/>
                <a:gd name="T121" fmla="*/ 2550 h 2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65" h="2550">
                  <a:moveTo>
                    <a:pt x="4" y="2550"/>
                  </a:moveTo>
                  <a:lnTo>
                    <a:pt x="0" y="2401"/>
                  </a:lnTo>
                  <a:lnTo>
                    <a:pt x="3" y="2258"/>
                  </a:lnTo>
                  <a:lnTo>
                    <a:pt x="14" y="2121"/>
                  </a:lnTo>
                  <a:lnTo>
                    <a:pt x="31" y="1989"/>
                  </a:lnTo>
                  <a:lnTo>
                    <a:pt x="55" y="1862"/>
                  </a:lnTo>
                  <a:lnTo>
                    <a:pt x="85" y="1741"/>
                  </a:lnTo>
                  <a:lnTo>
                    <a:pt x="121" y="1623"/>
                  </a:lnTo>
                  <a:lnTo>
                    <a:pt x="163" y="1512"/>
                  </a:lnTo>
                  <a:lnTo>
                    <a:pt x="210" y="1405"/>
                  </a:lnTo>
                  <a:lnTo>
                    <a:pt x="263" y="1303"/>
                  </a:lnTo>
                  <a:lnTo>
                    <a:pt x="321" y="1205"/>
                  </a:lnTo>
                  <a:lnTo>
                    <a:pt x="382" y="1112"/>
                  </a:lnTo>
                  <a:lnTo>
                    <a:pt x="448" y="1022"/>
                  </a:lnTo>
                  <a:lnTo>
                    <a:pt x="519" y="938"/>
                  </a:lnTo>
                  <a:lnTo>
                    <a:pt x="594" y="857"/>
                  </a:lnTo>
                  <a:lnTo>
                    <a:pt x="672" y="780"/>
                  </a:lnTo>
                  <a:lnTo>
                    <a:pt x="752" y="708"/>
                  </a:lnTo>
                  <a:lnTo>
                    <a:pt x="837" y="639"/>
                  </a:lnTo>
                  <a:lnTo>
                    <a:pt x="923" y="573"/>
                  </a:lnTo>
                  <a:lnTo>
                    <a:pt x="1012" y="511"/>
                  </a:lnTo>
                  <a:lnTo>
                    <a:pt x="1103" y="453"/>
                  </a:lnTo>
                  <a:lnTo>
                    <a:pt x="1196" y="398"/>
                  </a:lnTo>
                  <a:lnTo>
                    <a:pt x="1291" y="345"/>
                  </a:lnTo>
                  <a:lnTo>
                    <a:pt x="1387" y="297"/>
                  </a:lnTo>
                  <a:lnTo>
                    <a:pt x="1484" y="250"/>
                  </a:lnTo>
                  <a:lnTo>
                    <a:pt x="1581" y="207"/>
                  </a:lnTo>
                  <a:lnTo>
                    <a:pt x="1679" y="167"/>
                  </a:lnTo>
                  <a:lnTo>
                    <a:pt x="1777" y="128"/>
                  </a:lnTo>
                  <a:lnTo>
                    <a:pt x="1875" y="92"/>
                  </a:lnTo>
                  <a:lnTo>
                    <a:pt x="1973" y="59"/>
                  </a:lnTo>
                  <a:lnTo>
                    <a:pt x="2070" y="28"/>
                  </a:lnTo>
                  <a:lnTo>
                    <a:pt x="2165" y="0"/>
                  </a:lnTo>
                  <a:lnTo>
                    <a:pt x="2091" y="68"/>
                  </a:lnTo>
                  <a:lnTo>
                    <a:pt x="2017" y="139"/>
                  </a:lnTo>
                  <a:lnTo>
                    <a:pt x="1945" y="211"/>
                  </a:lnTo>
                  <a:lnTo>
                    <a:pt x="1874" y="285"/>
                  </a:lnTo>
                  <a:lnTo>
                    <a:pt x="1805" y="360"/>
                  </a:lnTo>
                  <a:lnTo>
                    <a:pt x="1736" y="438"/>
                  </a:lnTo>
                  <a:lnTo>
                    <a:pt x="1668" y="516"/>
                  </a:lnTo>
                  <a:lnTo>
                    <a:pt x="1601" y="595"/>
                  </a:lnTo>
                  <a:lnTo>
                    <a:pt x="1535" y="676"/>
                  </a:lnTo>
                  <a:lnTo>
                    <a:pt x="1469" y="757"/>
                  </a:lnTo>
                  <a:lnTo>
                    <a:pt x="1404" y="840"/>
                  </a:lnTo>
                  <a:lnTo>
                    <a:pt x="1340" y="922"/>
                  </a:lnTo>
                  <a:lnTo>
                    <a:pt x="1212" y="1090"/>
                  </a:lnTo>
                  <a:lnTo>
                    <a:pt x="1085" y="1258"/>
                  </a:lnTo>
                  <a:lnTo>
                    <a:pt x="957" y="1428"/>
                  </a:lnTo>
                  <a:lnTo>
                    <a:pt x="830" y="1597"/>
                  </a:lnTo>
                  <a:lnTo>
                    <a:pt x="765" y="1682"/>
                  </a:lnTo>
                  <a:lnTo>
                    <a:pt x="700" y="1765"/>
                  </a:lnTo>
                  <a:lnTo>
                    <a:pt x="635" y="1848"/>
                  </a:lnTo>
                  <a:lnTo>
                    <a:pt x="568" y="1930"/>
                  </a:lnTo>
                  <a:lnTo>
                    <a:pt x="501" y="2012"/>
                  </a:lnTo>
                  <a:lnTo>
                    <a:pt x="433" y="2092"/>
                  </a:lnTo>
                  <a:lnTo>
                    <a:pt x="365" y="2172"/>
                  </a:lnTo>
                  <a:lnTo>
                    <a:pt x="295" y="2250"/>
                  </a:lnTo>
                  <a:lnTo>
                    <a:pt x="224" y="2327"/>
                  </a:lnTo>
                  <a:lnTo>
                    <a:pt x="152" y="2404"/>
                  </a:lnTo>
                  <a:lnTo>
                    <a:pt x="79" y="2478"/>
                  </a:lnTo>
                  <a:lnTo>
                    <a:pt x="4" y="25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7" name="Freeform 92"/>
            <p:cNvSpPr>
              <a:spLocks noChangeArrowheads="1"/>
            </p:cNvSpPr>
            <p:nvPr userDrawn="1"/>
          </p:nvSpPr>
          <p:spPr bwMode="auto">
            <a:xfrm>
              <a:off x="1320799" y="2421774"/>
              <a:ext cx="841375" cy="1322976"/>
            </a:xfrm>
            <a:custGeom>
              <a:avLst/>
              <a:gdLst>
                <a:gd name="T0" fmla="*/ 6 w 1865"/>
                <a:gd name="T1" fmla="*/ 1947 h 2383"/>
                <a:gd name="T2" fmla="*/ 0 w 1865"/>
                <a:gd name="T3" fmla="*/ 1910 h 2383"/>
                <a:gd name="T4" fmla="*/ 19 w 1865"/>
                <a:gd name="T5" fmla="*/ 1839 h 2383"/>
                <a:gd name="T6" fmla="*/ 84 w 1865"/>
                <a:gd name="T7" fmla="*/ 1667 h 2383"/>
                <a:gd name="T8" fmla="*/ 158 w 1865"/>
                <a:gd name="T9" fmla="*/ 1505 h 2383"/>
                <a:gd name="T10" fmla="*/ 241 w 1865"/>
                <a:gd name="T11" fmla="*/ 1354 h 2383"/>
                <a:gd name="T12" fmla="*/ 331 w 1865"/>
                <a:gd name="T13" fmla="*/ 1211 h 2383"/>
                <a:gd name="T14" fmla="*/ 429 w 1865"/>
                <a:gd name="T15" fmla="*/ 1077 h 2383"/>
                <a:gd name="T16" fmla="*/ 534 w 1865"/>
                <a:gd name="T17" fmla="*/ 950 h 2383"/>
                <a:gd name="T18" fmla="*/ 645 w 1865"/>
                <a:gd name="T19" fmla="*/ 831 h 2383"/>
                <a:gd name="T20" fmla="*/ 789 w 1865"/>
                <a:gd name="T21" fmla="*/ 692 h 2383"/>
                <a:gd name="T22" fmla="*/ 1031 w 1865"/>
                <a:gd name="T23" fmla="*/ 490 h 2383"/>
                <a:gd name="T24" fmla="*/ 1283 w 1865"/>
                <a:gd name="T25" fmla="*/ 306 h 2383"/>
                <a:gd name="T26" fmla="*/ 1541 w 1865"/>
                <a:gd name="T27" fmla="*/ 135 h 2383"/>
                <a:gd name="T28" fmla="*/ 1743 w 1865"/>
                <a:gd name="T29" fmla="*/ 9 h 2383"/>
                <a:gd name="T30" fmla="*/ 1775 w 1865"/>
                <a:gd name="T31" fmla="*/ 0 h 2383"/>
                <a:gd name="T32" fmla="*/ 1807 w 1865"/>
                <a:gd name="T33" fmla="*/ 4 h 2383"/>
                <a:gd name="T34" fmla="*/ 1835 w 1865"/>
                <a:gd name="T35" fmla="*/ 21 h 2383"/>
                <a:gd name="T36" fmla="*/ 1858 w 1865"/>
                <a:gd name="T37" fmla="*/ 52 h 2383"/>
                <a:gd name="T38" fmla="*/ 1864 w 1865"/>
                <a:gd name="T39" fmla="*/ 99 h 2383"/>
                <a:gd name="T40" fmla="*/ 1814 w 1865"/>
                <a:gd name="T41" fmla="*/ 188 h 2383"/>
                <a:gd name="T42" fmla="*/ 1670 w 1865"/>
                <a:gd name="T43" fmla="*/ 395 h 2383"/>
                <a:gd name="T44" fmla="*/ 1511 w 1865"/>
                <a:gd name="T45" fmla="*/ 619 h 2383"/>
                <a:gd name="T46" fmla="*/ 1298 w 1865"/>
                <a:gd name="T47" fmla="*/ 929 h 2383"/>
                <a:gd name="T48" fmla="*/ 1176 w 1865"/>
                <a:gd name="T49" fmla="*/ 1128 h 2383"/>
                <a:gd name="T50" fmla="*/ 1085 w 1865"/>
                <a:gd name="T51" fmla="*/ 1295 h 2383"/>
                <a:gd name="T52" fmla="*/ 1002 w 1865"/>
                <a:gd name="T53" fmla="*/ 1473 h 2383"/>
                <a:gd name="T54" fmla="*/ 927 w 1865"/>
                <a:gd name="T55" fmla="*/ 1667 h 2383"/>
                <a:gd name="T56" fmla="*/ 861 w 1865"/>
                <a:gd name="T57" fmla="*/ 1880 h 2383"/>
                <a:gd name="T58" fmla="*/ 837 w 1865"/>
                <a:gd name="T59" fmla="*/ 1955 h 2383"/>
                <a:gd name="T60" fmla="*/ 817 w 1865"/>
                <a:gd name="T61" fmla="*/ 1980 h 2383"/>
                <a:gd name="T62" fmla="*/ 328 w 1865"/>
                <a:gd name="T63" fmla="*/ 2376 h 2383"/>
                <a:gd name="T64" fmla="*/ 296 w 1865"/>
                <a:gd name="T65" fmla="*/ 2383 h 2383"/>
                <a:gd name="T66" fmla="*/ 264 w 1865"/>
                <a:gd name="T67" fmla="*/ 2375 h 2383"/>
                <a:gd name="T68" fmla="*/ 236 w 1865"/>
                <a:gd name="T69" fmla="*/ 2357 h 2383"/>
                <a:gd name="T70" fmla="*/ 177 w 1865"/>
                <a:gd name="T71" fmla="*/ 1904 h 2383"/>
                <a:gd name="T72" fmla="*/ 720 w 1865"/>
                <a:gd name="T73" fmla="*/ 1751 h 2383"/>
                <a:gd name="T74" fmla="*/ 792 w 1865"/>
                <a:gd name="T75" fmla="*/ 1538 h 2383"/>
                <a:gd name="T76" fmla="*/ 871 w 1865"/>
                <a:gd name="T77" fmla="*/ 1345 h 2383"/>
                <a:gd name="T78" fmla="*/ 959 w 1865"/>
                <a:gd name="T79" fmla="*/ 1166 h 2383"/>
                <a:gd name="T80" fmla="*/ 1054 w 1865"/>
                <a:gd name="T81" fmla="*/ 997 h 2383"/>
                <a:gd name="T82" fmla="*/ 1206 w 1865"/>
                <a:gd name="T83" fmla="*/ 757 h 2383"/>
                <a:gd name="T84" fmla="*/ 1428 w 1865"/>
                <a:gd name="T85" fmla="*/ 440 h 2383"/>
                <a:gd name="T86" fmla="*/ 1225 w 1865"/>
                <a:gd name="T87" fmla="*/ 558 h 2383"/>
                <a:gd name="T88" fmla="*/ 1032 w 1865"/>
                <a:gd name="T89" fmla="*/ 707 h 2383"/>
                <a:gd name="T90" fmla="*/ 884 w 1865"/>
                <a:gd name="T91" fmla="*/ 837 h 2383"/>
                <a:gd name="T92" fmla="*/ 718 w 1865"/>
                <a:gd name="T93" fmla="*/ 1002 h 2383"/>
                <a:gd name="T94" fmla="*/ 619 w 1865"/>
                <a:gd name="T95" fmla="*/ 1114 h 2383"/>
                <a:gd name="T96" fmla="*/ 525 w 1865"/>
                <a:gd name="T97" fmla="*/ 1232 h 2383"/>
                <a:gd name="T98" fmla="*/ 439 w 1865"/>
                <a:gd name="T99" fmla="*/ 1359 h 2383"/>
                <a:gd name="T100" fmla="*/ 358 w 1865"/>
                <a:gd name="T101" fmla="*/ 1492 h 2383"/>
                <a:gd name="T102" fmla="*/ 285 w 1865"/>
                <a:gd name="T103" fmla="*/ 1634 h 2383"/>
                <a:gd name="T104" fmla="*/ 220 w 1865"/>
                <a:gd name="T105" fmla="*/ 1786 h 2383"/>
                <a:gd name="T106" fmla="*/ 5 w 1865"/>
                <a:gd name="T107" fmla="*/ 1885 h 2383"/>
                <a:gd name="T108" fmla="*/ 19 w 1865"/>
                <a:gd name="T109" fmla="*/ 1859 h 2383"/>
                <a:gd name="T110" fmla="*/ 43 w 1865"/>
                <a:gd name="T111" fmla="*/ 1838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65" h="2383">
                  <a:moveTo>
                    <a:pt x="222" y="2337"/>
                  </a:moveTo>
                  <a:lnTo>
                    <a:pt x="220" y="2335"/>
                  </a:lnTo>
                  <a:lnTo>
                    <a:pt x="10" y="1955"/>
                  </a:lnTo>
                  <a:lnTo>
                    <a:pt x="6" y="1947"/>
                  </a:lnTo>
                  <a:lnTo>
                    <a:pt x="3" y="1937"/>
                  </a:lnTo>
                  <a:lnTo>
                    <a:pt x="1" y="1929"/>
                  </a:lnTo>
                  <a:lnTo>
                    <a:pt x="0" y="1920"/>
                  </a:lnTo>
                  <a:lnTo>
                    <a:pt x="0" y="1910"/>
                  </a:lnTo>
                  <a:lnTo>
                    <a:pt x="0" y="1902"/>
                  </a:lnTo>
                  <a:lnTo>
                    <a:pt x="2" y="1893"/>
                  </a:lnTo>
                  <a:lnTo>
                    <a:pt x="5" y="1885"/>
                  </a:lnTo>
                  <a:lnTo>
                    <a:pt x="19" y="1839"/>
                  </a:lnTo>
                  <a:lnTo>
                    <a:pt x="35" y="1795"/>
                  </a:lnTo>
                  <a:lnTo>
                    <a:pt x="50" y="1752"/>
                  </a:lnTo>
                  <a:lnTo>
                    <a:pt x="67" y="1709"/>
                  </a:lnTo>
                  <a:lnTo>
                    <a:pt x="84" y="1667"/>
                  </a:lnTo>
                  <a:lnTo>
                    <a:pt x="102" y="1626"/>
                  </a:lnTo>
                  <a:lnTo>
                    <a:pt x="120" y="1585"/>
                  </a:lnTo>
                  <a:lnTo>
                    <a:pt x="139" y="1545"/>
                  </a:lnTo>
                  <a:lnTo>
                    <a:pt x="158" y="1505"/>
                  </a:lnTo>
                  <a:lnTo>
                    <a:pt x="178" y="1466"/>
                  </a:lnTo>
                  <a:lnTo>
                    <a:pt x="199" y="1428"/>
                  </a:lnTo>
                  <a:lnTo>
                    <a:pt x="219" y="1390"/>
                  </a:lnTo>
                  <a:lnTo>
                    <a:pt x="241" y="1354"/>
                  </a:lnTo>
                  <a:lnTo>
                    <a:pt x="264" y="1317"/>
                  </a:lnTo>
                  <a:lnTo>
                    <a:pt x="285" y="1281"/>
                  </a:lnTo>
                  <a:lnTo>
                    <a:pt x="309" y="1246"/>
                  </a:lnTo>
                  <a:lnTo>
                    <a:pt x="331" y="1211"/>
                  </a:lnTo>
                  <a:lnTo>
                    <a:pt x="355" y="1177"/>
                  </a:lnTo>
                  <a:lnTo>
                    <a:pt x="380" y="1142"/>
                  </a:lnTo>
                  <a:lnTo>
                    <a:pt x="405" y="1110"/>
                  </a:lnTo>
                  <a:lnTo>
                    <a:pt x="429" y="1077"/>
                  </a:lnTo>
                  <a:lnTo>
                    <a:pt x="455" y="1045"/>
                  </a:lnTo>
                  <a:lnTo>
                    <a:pt x="481" y="1013"/>
                  </a:lnTo>
                  <a:lnTo>
                    <a:pt x="508" y="981"/>
                  </a:lnTo>
                  <a:lnTo>
                    <a:pt x="534" y="950"/>
                  </a:lnTo>
                  <a:lnTo>
                    <a:pt x="561" y="920"/>
                  </a:lnTo>
                  <a:lnTo>
                    <a:pt x="588" y="890"/>
                  </a:lnTo>
                  <a:lnTo>
                    <a:pt x="616" y="860"/>
                  </a:lnTo>
                  <a:lnTo>
                    <a:pt x="645" y="831"/>
                  </a:lnTo>
                  <a:lnTo>
                    <a:pt x="672" y="802"/>
                  </a:lnTo>
                  <a:lnTo>
                    <a:pt x="701" y="774"/>
                  </a:lnTo>
                  <a:lnTo>
                    <a:pt x="730" y="747"/>
                  </a:lnTo>
                  <a:lnTo>
                    <a:pt x="789" y="692"/>
                  </a:lnTo>
                  <a:lnTo>
                    <a:pt x="848" y="639"/>
                  </a:lnTo>
                  <a:lnTo>
                    <a:pt x="907" y="589"/>
                  </a:lnTo>
                  <a:lnTo>
                    <a:pt x="969" y="538"/>
                  </a:lnTo>
                  <a:lnTo>
                    <a:pt x="1031" y="490"/>
                  </a:lnTo>
                  <a:lnTo>
                    <a:pt x="1093" y="443"/>
                  </a:lnTo>
                  <a:lnTo>
                    <a:pt x="1155" y="396"/>
                  </a:lnTo>
                  <a:lnTo>
                    <a:pt x="1219" y="351"/>
                  </a:lnTo>
                  <a:lnTo>
                    <a:pt x="1283" y="306"/>
                  </a:lnTo>
                  <a:lnTo>
                    <a:pt x="1347" y="262"/>
                  </a:lnTo>
                  <a:lnTo>
                    <a:pt x="1412" y="220"/>
                  </a:lnTo>
                  <a:lnTo>
                    <a:pt x="1477" y="177"/>
                  </a:lnTo>
                  <a:lnTo>
                    <a:pt x="1541" y="135"/>
                  </a:lnTo>
                  <a:lnTo>
                    <a:pt x="1606" y="94"/>
                  </a:lnTo>
                  <a:lnTo>
                    <a:pt x="1670" y="53"/>
                  </a:lnTo>
                  <a:lnTo>
                    <a:pt x="1734" y="13"/>
                  </a:lnTo>
                  <a:lnTo>
                    <a:pt x="1743" y="9"/>
                  </a:lnTo>
                  <a:lnTo>
                    <a:pt x="1750" y="5"/>
                  </a:lnTo>
                  <a:lnTo>
                    <a:pt x="1758" y="2"/>
                  </a:lnTo>
                  <a:lnTo>
                    <a:pt x="1766" y="1"/>
                  </a:lnTo>
                  <a:lnTo>
                    <a:pt x="1775" y="0"/>
                  </a:lnTo>
                  <a:lnTo>
                    <a:pt x="1783" y="0"/>
                  </a:lnTo>
                  <a:lnTo>
                    <a:pt x="1791" y="1"/>
                  </a:lnTo>
                  <a:lnTo>
                    <a:pt x="1799" y="2"/>
                  </a:lnTo>
                  <a:lnTo>
                    <a:pt x="1807" y="4"/>
                  </a:lnTo>
                  <a:lnTo>
                    <a:pt x="1815" y="8"/>
                  </a:lnTo>
                  <a:lnTo>
                    <a:pt x="1822" y="12"/>
                  </a:lnTo>
                  <a:lnTo>
                    <a:pt x="1829" y="16"/>
                  </a:lnTo>
                  <a:lnTo>
                    <a:pt x="1835" y="21"/>
                  </a:lnTo>
                  <a:lnTo>
                    <a:pt x="1841" y="27"/>
                  </a:lnTo>
                  <a:lnTo>
                    <a:pt x="1848" y="33"/>
                  </a:lnTo>
                  <a:lnTo>
                    <a:pt x="1853" y="41"/>
                  </a:lnTo>
                  <a:lnTo>
                    <a:pt x="1858" y="52"/>
                  </a:lnTo>
                  <a:lnTo>
                    <a:pt x="1862" y="63"/>
                  </a:lnTo>
                  <a:lnTo>
                    <a:pt x="1864" y="76"/>
                  </a:lnTo>
                  <a:lnTo>
                    <a:pt x="1865" y="88"/>
                  </a:lnTo>
                  <a:lnTo>
                    <a:pt x="1864" y="99"/>
                  </a:lnTo>
                  <a:lnTo>
                    <a:pt x="1861" y="112"/>
                  </a:lnTo>
                  <a:lnTo>
                    <a:pt x="1857" y="122"/>
                  </a:lnTo>
                  <a:lnTo>
                    <a:pt x="1851" y="133"/>
                  </a:lnTo>
                  <a:lnTo>
                    <a:pt x="1814" y="188"/>
                  </a:lnTo>
                  <a:lnTo>
                    <a:pt x="1778" y="242"/>
                  </a:lnTo>
                  <a:lnTo>
                    <a:pt x="1742" y="294"/>
                  </a:lnTo>
                  <a:lnTo>
                    <a:pt x="1706" y="346"/>
                  </a:lnTo>
                  <a:lnTo>
                    <a:pt x="1670" y="395"/>
                  </a:lnTo>
                  <a:lnTo>
                    <a:pt x="1635" y="445"/>
                  </a:lnTo>
                  <a:lnTo>
                    <a:pt x="1601" y="493"/>
                  </a:lnTo>
                  <a:lnTo>
                    <a:pt x="1567" y="540"/>
                  </a:lnTo>
                  <a:lnTo>
                    <a:pt x="1511" y="619"/>
                  </a:lnTo>
                  <a:lnTo>
                    <a:pt x="1456" y="697"/>
                  </a:lnTo>
                  <a:lnTo>
                    <a:pt x="1402" y="774"/>
                  </a:lnTo>
                  <a:lnTo>
                    <a:pt x="1349" y="852"/>
                  </a:lnTo>
                  <a:lnTo>
                    <a:pt x="1298" y="929"/>
                  </a:lnTo>
                  <a:lnTo>
                    <a:pt x="1248" y="1007"/>
                  </a:lnTo>
                  <a:lnTo>
                    <a:pt x="1223" y="1048"/>
                  </a:lnTo>
                  <a:lnTo>
                    <a:pt x="1200" y="1087"/>
                  </a:lnTo>
                  <a:lnTo>
                    <a:pt x="1176" y="1128"/>
                  </a:lnTo>
                  <a:lnTo>
                    <a:pt x="1152" y="1168"/>
                  </a:lnTo>
                  <a:lnTo>
                    <a:pt x="1130" y="1211"/>
                  </a:lnTo>
                  <a:lnTo>
                    <a:pt x="1107" y="1252"/>
                  </a:lnTo>
                  <a:lnTo>
                    <a:pt x="1085" y="1295"/>
                  </a:lnTo>
                  <a:lnTo>
                    <a:pt x="1064" y="1338"/>
                  </a:lnTo>
                  <a:lnTo>
                    <a:pt x="1043" y="1383"/>
                  </a:lnTo>
                  <a:lnTo>
                    <a:pt x="1023" y="1428"/>
                  </a:lnTo>
                  <a:lnTo>
                    <a:pt x="1002" y="1473"/>
                  </a:lnTo>
                  <a:lnTo>
                    <a:pt x="982" y="1521"/>
                  </a:lnTo>
                  <a:lnTo>
                    <a:pt x="964" y="1568"/>
                  </a:lnTo>
                  <a:lnTo>
                    <a:pt x="945" y="1617"/>
                  </a:lnTo>
                  <a:lnTo>
                    <a:pt x="927" y="1667"/>
                  </a:lnTo>
                  <a:lnTo>
                    <a:pt x="909" y="1718"/>
                  </a:lnTo>
                  <a:lnTo>
                    <a:pt x="893" y="1770"/>
                  </a:lnTo>
                  <a:lnTo>
                    <a:pt x="876" y="1824"/>
                  </a:lnTo>
                  <a:lnTo>
                    <a:pt x="861" y="1880"/>
                  </a:lnTo>
                  <a:lnTo>
                    <a:pt x="845" y="1935"/>
                  </a:lnTo>
                  <a:lnTo>
                    <a:pt x="843" y="1942"/>
                  </a:lnTo>
                  <a:lnTo>
                    <a:pt x="840" y="1949"/>
                  </a:lnTo>
                  <a:lnTo>
                    <a:pt x="837" y="1955"/>
                  </a:lnTo>
                  <a:lnTo>
                    <a:pt x="834" y="1960"/>
                  </a:lnTo>
                  <a:lnTo>
                    <a:pt x="826" y="1970"/>
                  </a:lnTo>
                  <a:lnTo>
                    <a:pt x="817" y="1980"/>
                  </a:lnTo>
                  <a:lnTo>
                    <a:pt x="351" y="2363"/>
                  </a:lnTo>
                  <a:lnTo>
                    <a:pt x="344" y="2368"/>
                  </a:lnTo>
                  <a:lnTo>
                    <a:pt x="337" y="2372"/>
                  </a:lnTo>
                  <a:lnTo>
                    <a:pt x="328" y="2376"/>
                  </a:lnTo>
                  <a:lnTo>
                    <a:pt x="320" y="2378"/>
                  </a:lnTo>
                  <a:lnTo>
                    <a:pt x="312" y="2381"/>
                  </a:lnTo>
                  <a:lnTo>
                    <a:pt x="305" y="2382"/>
                  </a:lnTo>
                  <a:lnTo>
                    <a:pt x="296" y="2383"/>
                  </a:lnTo>
                  <a:lnTo>
                    <a:pt x="288" y="2382"/>
                  </a:lnTo>
                  <a:lnTo>
                    <a:pt x="280" y="2381"/>
                  </a:lnTo>
                  <a:lnTo>
                    <a:pt x="272" y="2378"/>
                  </a:lnTo>
                  <a:lnTo>
                    <a:pt x="264" y="2375"/>
                  </a:lnTo>
                  <a:lnTo>
                    <a:pt x="256" y="2372"/>
                  </a:lnTo>
                  <a:lnTo>
                    <a:pt x="249" y="2368"/>
                  </a:lnTo>
                  <a:lnTo>
                    <a:pt x="243" y="2363"/>
                  </a:lnTo>
                  <a:lnTo>
                    <a:pt x="236" y="2357"/>
                  </a:lnTo>
                  <a:lnTo>
                    <a:pt x="231" y="2351"/>
                  </a:lnTo>
                  <a:lnTo>
                    <a:pt x="225" y="2344"/>
                  </a:lnTo>
                  <a:lnTo>
                    <a:pt x="222" y="2337"/>
                  </a:lnTo>
                  <a:close/>
                  <a:moveTo>
                    <a:pt x="177" y="1904"/>
                  </a:moveTo>
                  <a:lnTo>
                    <a:pt x="321" y="2165"/>
                  </a:lnTo>
                  <a:lnTo>
                    <a:pt x="688" y="1864"/>
                  </a:lnTo>
                  <a:lnTo>
                    <a:pt x="703" y="1806"/>
                  </a:lnTo>
                  <a:lnTo>
                    <a:pt x="720" y="1751"/>
                  </a:lnTo>
                  <a:lnTo>
                    <a:pt x="737" y="1696"/>
                  </a:lnTo>
                  <a:lnTo>
                    <a:pt x="755" y="1642"/>
                  </a:lnTo>
                  <a:lnTo>
                    <a:pt x="773" y="1590"/>
                  </a:lnTo>
                  <a:lnTo>
                    <a:pt x="792" y="1538"/>
                  </a:lnTo>
                  <a:lnTo>
                    <a:pt x="811" y="1489"/>
                  </a:lnTo>
                  <a:lnTo>
                    <a:pt x="831" y="1439"/>
                  </a:lnTo>
                  <a:lnTo>
                    <a:pt x="851" y="1392"/>
                  </a:lnTo>
                  <a:lnTo>
                    <a:pt x="871" y="1345"/>
                  </a:lnTo>
                  <a:lnTo>
                    <a:pt x="893" y="1299"/>
                  </a:lnTo>
                  <a:lnTo>
                    <a:pt x="914" y="1254"/>
                  </a:lnTo>
                  <a:lnTo>
                    <a:pt x="936" y="1209"/>
                  </a:lnTo>
                  <a:lnTo>
                    <a:pt x="959" y="1166"/>
                  </a:lnTo>
                  <a:lnTo>
                    <a:pt x="982" y="1123"/>
                  </a:lnTo>
                  <a:lnTo>
                    <a:pt x="1005" y="1081"/>
                  </a:lnTo>
                  <a:lnTo>
                    <a:pt x="1029" y="1038"/>
                  </a:lnTo>
                  <a:lnTo>
                    <a:pt x="1054" y="997"/>
                  </a:lnTo>
                  <a:lnTo>
                    <a:pt x="1078" y="957"/>
                  </a:lnTo>
                  <a:lnTo>
                    <a:pt x="1103" y="916"/>
                  </a:lnTo>
                  <a:lnTo>
                    <a:pt x="1153" y="836"/>
                  </a:lnTo>
                  <a:lnTo>
                    <a:pt x="1206" y="757"/>
                  </a:lnTo>
                  <a:lnTo>
                    <a:pt x="1260" y="679"/>
                  </a:lnTo>
                  <a:lnTo>
                    <a:pt x="1315" y="599"/>
                  </a:lnTo>
                  <a:lnTo>
                    <a:pt x="1371" y="521"/>
                  </a:lnTo>
                  <a:lnTo>
                    <a:pt x="1428" y="440"/>
                  </a:lnTo>
                  <a:lnTo>
                    <a:pt x="1464" y="390"/>
                  </a:lnTo>
                  <a:lnTo>
                    <a:pt x="1384" y="445"/>
                  </a:lnTo>
                  <a:lnTo>
                    <a:pt x="1304" y="500"/>
                  </a:lnTo>
                  <a:lnTo>
                    <a:pt x="1225" y="558"/>
                  </a:lnTo>
                  <a:lnTo>
                    <a:pt x="1147" y="617"/>
                  </a:lnTo>
                  <a:lnTo>
                    <a:pt x="1108" y="647"/>
                  </a:lnTo>
                  <a:lnTo>
                    <a:pt x="1070" y="677"/>
                  </a:lnTo>
                  <a:lnTo>
                    <a:pt x="1032" y="707"/>
                  </a:lnTo>
                  <a:lnTo>
                    <a:pt x="994" y="739"/>
                  </a:lnTo>
                  <a:lnTo>
                    <a:pt x="957" y="771"/>
                  </a:lnTo>
                  <a:lnTo>
                    <a:pt x="921" y="803"/>
                  </a:lnTo>
                  <a:lnTo>
                    <a:pt x="884" y="837"/>
                  </a:lnTo>
                  <a:lnTo>
                    <a:pt x="848" y="870"/>
                  </a:lnTo>
                  <a:lnTo>
                    <a:pt x="795" y="922"/>
                  </a:lnTo>
                  <a:lnTo>
                    <a:pt x="743" y="974"/>
                  </a:lnTo>
                  <a:lnTo>
                    <a:pt x="718" y="1002"/>
                  </a:lnTo>
                  <a:lnTo>
                    <a:pt x="692" y="1029"/>
                  </a:lnTo>
                  <a:lnTo>
                    <a:pt x="667" y="1057"/>
                  </a:lnTo>
                  <a:lnTo>
                    <a:pt x="644" y="1085"/>
                  </a:lnTo>
                  <a:lnTo>
                    <a:pt x="619" y="1114"/>
                  </a:lnTo>
                  <a:lnTo>
                    <a:pt x="595" y="1142"/>
                  </a:lnTo>
                  <a:lnTo>
                    <a:pt x="571" y="1172"/>
                  </a:lnTo>
                  <a:lnTo>
                    <a:pt x="549" y="1202"/>
                  </a:lnTo>
                  <a:lnTo>
                    <a:pt x="525" y="1232"/>
                  </a:lnTo>
                  <a:lnTo>
                    <a:pt x="504" y="1263"/>
                  </a:lnTo>
                  <a:lnTo>
                    <a:pt x="482" y="1295"/>
                  </a:lnTo>
                  <a:lnTo>
                    <a:pt x="460" y="1326"/>
                  </a:lnTo>
                  <a:lnTo>
                    <a:pt x="439" y="1359"/>
                  </a:lnTo>
                  <a:lnTo>
                    <a:pt x="418" y="1391"/>
                  </a:lnTo>
                  <a:lnTo>
                    <a:pt x="397" y="1425"/>
                  </a:lnTo>
                  <a:lnTo>
                    <a:pt x="378" y="1458"/>
                  </a:lnTo>
                  <a:lnTo>
                    <a:pt x="358" y="1492"/>
                  </a:lnTo>
                  <a:lnTo>
                    <a:pt x="340" y="1527"/>
                  </a:lnTo>
                  <a:lnTo>
                    <a:pt x="321" y="1562"/>
                  </a:lnTo>
                  <a:lnTo>
                    <a:pt x="303" y="1598"/>
                  </a:lnTo>
                  <a:lnTo>
                    <a:pt x="285" y="1634"/>
                  </a:lnTo>
                  <a:lnTo>
                    <a:pt x="269" y="1671"/>
                  </a:lnTo>
                  <a:lnTo>
                    <a:pt x="252" y="1708"/>
                  </a:lnTo>
                  <a:lnTo>
                    <a:pt x="236" y="1747"/>
                  </a:lnTo>
                  <a:lnTo>
                    <a:pt x="220" y="1786"/>
                  </a:lnTo>
                  <a:lnTo>
                    <a:pt x="206" y="1825"/>
                  </a:lnTo>
                  <a:lnTo>
                    <a:pt x="191" y="1864"/>
                  </a:lnTo>
                  <a:lnTo>
                    <a:pt x="177" y="1904"/>
                  </a:lnTo>
                  <a:close/>
                  <a:moveTo>
                    <a:pt x="5" y="1885"/>
                  </a:moveTo>
                  <a:lnTo>
                    <a:pt x="7" y="1877"/>
                  </a:lnTo>
                  <a:lnTo>
                    <a:pt x="11" y="1871"/>
                  </a:lnTo>
                  <a:lnTo>
                    <a:pt x="14" y="1864"/>
                  </a:lnTo>
                  <a:lnTo>
                    <a:pt x="19" y="1859"/>
                  </a:lnTo>
                  <a:lnTo>
                    <a:pt x="25" y="1853"/>
                  </a:lnTo>
                  <a:lnTo>
                    <a:pt x="30" y="1848"/>
                  </a:lnTo>
                  <a:lnTo>
                    <a:pt x="36" y="1843"/>
                  </a:lnTo>
                  <a:lnTo>
                    <a:pt x="43" y="1838"/>
                  </a:lnTo>
                  <a:lnTo>
                    <a:pt x="5" y="188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8" name="Freeform 93"/>
            <p:cNvSpPr>
              <a:spLocks noChangeArrowheads="1"/>
            </p:cNvSpPr>
            <p:nvPr userDrawn="1"/>
          </p:nvSpPr>
          <p:spPr bwMode="auto">
            <a:xfrm>
              <a:off x="1357312" y="2466530"/>
              <a:ext cx="762000" cy="1222723"/>
            </a:xfrm>
            <a:custGeom>
              <a:avLst/>
              <a:gdLst>
                <a:gd name="T0" fmla="*/ 212 w 1696"/>
                <a:gd name="T1" fmla="*/ 2210 h 2210"/>
                <a:gd name="T2" fmla="*/ 0 w 1696"/>
                <a:gd name="T3" fmla="*/ 1828 h 2210"/>
                <a:gd name="T4" fmla="*/ 29 w 1696"/>
                <a:gd name="T5" fmla="*/ 1741 h 2210"/>
                <a:gd name="T6" fmla="*/ 61 w 1696"/>
                <a:gd name="T7" fmla="*/ 1657 h 2210"/>
                <a:gd name="T8" fmla="*/ 95 w 1696"/>
                <a:gd name="T9" fmla="*/ 1576 h 2210"/>
                <a:gd name="T10" fmla="*/ 131 w 1696"/>
                <a:gd name="T11" fmla="*/ 1498 h 2210"/>
                <a:gd name="T12" fmla="*/ 169 w 1696"/>
                <a:gd name="T13" fmla="*/ 1421 h 2210"/>
                <a:gd name="T14" fmla="*/ 209 w 1696"/>
                <a:gd name="T15" fmla="*/ 1348 h 2210"/>
                <a:gd name="T16" fmla="*/ 251 w 1696"/>
                <a:gd name="T17" fmla="*/ 1277 h 2210"/>
                <a:gd name="T18" fmla="*/ 295 w 1696"/>
                <a:gd name="T19" fmla="*/ 1207 h 2210"/>
                <a:gd name="T20" fmla="*/ 341 w 1696"/>
                <a:gd name="T21" fmla="*/ 1140 h 2210"/>
                <a:gd name="T22" fmla="*/ 389 w 1696"/>
                <a:gd name="T23" fmla="*/ 1075 h 2210"/>
                <a:gd name="T24" fmla="*/ 438 w 1696"/>
                <a:gd name="T25" fmla="*/ 1012 h 2210"/>
                <a:gd name="T26" fmla="*/ 489 w 1696"/>
                <a:gd name="T27" fmla="*/ 950 h 2210"/>
                <a:gd name="T28" fmla="*/ 540 w 1696"/>
                <a:gd name="T29" fmla="*/ 891 h 2210"/>
                <a:gd name="T30" fmla="*/ 594 w 1696"/>
                <a:gd name="T31" fmla="*/ 833 h 2210"/>
                <a:gd name="T32" fmla="*/ 649 w 1696"/>
                <a:gd name="T33" fmla="*/ 777 h 2210"/>
                <a:gd name="T34" fmla="*/ 705 w 1696"/>
                <a:gd name="T35" fmla="*/ 722 h 2210"/>
                <a:gd name="T36" fmla="*/ 762 w 1696"/>
                <a:gd name="T37" fmla="*/ 670 h 2210"/>
                <a:gd name="T38" fmla="*/ 820 w 1696"/>
                <a:gd name="T39" fmla="*/ 617 h 2210"/>
                <a:gd name="T40" fmla="*/ 880 w 1696"/>
                <a:gd name="T41" fmla="*/ 568 h 2210"/>
                <a:gd name="T42" fmla="*/ 940 w 1696"/>
                <a:gd name="T43" fmla="*/ 518 h 2210"/>
                <a:gd name="T44" fmla="*/ 1000 w 1696"/>
                <a:gd name="T45" fmla="*/ 471 h 2210"/>
                <a:gd name="T46" fmla="*/ 1061 w 1696"/>
                <a:gd name="T47" fmla="*/ 424 h 2210"/>
                <a:gd name="T48" fmla="*/ 1124 w 1696"/>
                <a:gd name="T49" fmla="*/ 378 h 2210"/>
                <a:gd name="T50" fmla="*/ 1187 w 1696"/>
                <a:gd name="T51" fmla="*/ 333 h 2210"/>
                <a:gd name="T52" fmla="*/ 1250 w 1696"/>
                <a:gd name="T53" fmla="*/ 290 h 2210"/>
                <a:gd name="T54" fmla="*/ 1313 w 1696"/>
                <a:gd name="T55" fmla="*/ 246 h 2210"/>
                <a:gd name="T56" fmla="*/ 1376 w 1696"/>
                <a:gd name="T57" fmla="*/ 204 h 2210"/>
                <a:gd name="T58" fmla="*/ 1440 w 1696"/>
                <a:gd name="T59" fmla="*/ 162 h 2210"/>
                <a:gd name="T60" fmla="*/ 1568 w 1696"/>
                <a:gd name="T61" fmla="*/ 80 h 2210"/>
                <a:gd name="T62" fmla="*/ 1696 w 1696"/>
                <a:gd name="T63" fmla="*/ 0 h 2210"/>
                <a:gd name="T64" fmla="*/ 1616 w 1696"/>
                <a:gd name="T65" fmla="*/ 116 h 2210"/>
                <a:gd name="T66" fmla="*/ 1539 w 1696"/>
                <a:gd name="T67" fmla="*/ 229 h 2210"/>
                <a:gd name="T68" fmla="*/ 1463 w 1696"/>
                <a:gd name="T69" fmla="*/ 336 h 2210"/>
                <a:gd name="T70" fmla="*/ 1388 w 1696"/>
                <a:gd name="T71" fmla="*/ 441 h 2210"/>
                <a:gd name="T72" fmla="*/ 1315 w 1696"/>
                <a:gd name="T73" fmla="*/ 543 h 2210"/>
                <a:gd name="T74" fmla="*/ 1244 w 1696"/>
                <a:gd name="T75" fmla="*/ 645 h 2210"/>
                <a:gd name="T76" fmla="*/ 1208 w 1696"/>
                <a:gd name="T77" fmla="*/ 697 h 2210"/>
                <a:gd name="T78" fmla="*/ 1174 w 1696"/>
                <a:gd name="T79" fmla="*/ 747 h 2210"/>
                <a:gd name="T80" fmla="*/ 1141 w 1696"/>
                <a:gd name="T81" fmla="*/ 799 h 2210"/>
                <a:gd name="T82" fmla="*/ 1108 w 1696"/>
                <a:gd name="T83" fmla="*/ 849 h 2210"/>
                <a:gd name="T84" fmla="*/ 1076 w 1696"/>
                <a:gd name="T85" fmla="*/ 902 h 2210"/>
                <a:gd name="T86" fmla="*/ 1044 w 1696"/>
                <a:gd name="T87" fmla="*/ 954 h 2210"/>
                <a:gd name="T88" fmla="*/ 1012 w 1696"/>
                <a:gd name="T89" fmla="*/ 1008 h 2210"/>
                <a:gd name="T90" fmla="*/ 982 w 1696"/>
                <a:gd name="T91" fmla="*/ 1063 h 2210"/>
                <a:gd name="T92" fmla="*/ 952 w 1696"/>
                <a:gd name="T93" fmla="*/ 1117 h 2210"/>
                <a:gd name="T94" fmla="*/ 923 w 1696"/>
                <a:gd name="T95" fmla="*/ 1174 h 2210"/>
                <a:gd name="T96" fmla="*/ 894 w 1696"/>
                <a:gd name="T97" fmla="*/ 1232 h 2210"/>
                <a:gd name="T98" fmla="*/ 868 w 1696"/>
                <a:gd name="T99" fmla="*/ 1290 h 2210"/>
                <a:gd name="T100" fmla="*/ 841 w 1696"/>
                <a:gd name="T101" fmla="*/ 1351 h 2210"/>
                <a:gd name="T102" fmla="*/ 815 w 1696"/>
                <a:gd name="T103" fmla="*/ 1413 h 2210"/>
                <a:gd name="T104" fmla="*/ 790 w 1696"/>
                <a:gd name="T105" fmla="*/ 1477 h 2210"/>
                <a:gd name="T106" fmla="*/ 766 w 1696"/>
                <a:gd name="T107" fmla="*/ 1543 h 2210"/>
                <a:gd name="T108" fmla="*/ 743 w 1696"/>
                <a:gd name="T109" fmla="*/ 1611 h 2210"/>
                <a:gd name="T110" fmla="*/ 720 w 1696"/>
                <a:gd name="T111" fmla="*/ 1681 h 2210"/>
                <a:gd name="T112" fmla="*/ 699 w 1696"/>
                <a:gd name="T113" fmla="*/ 1753 h 2210"/>
                <a:gd name="T114" fmla="*/ 679 w 1696"/>
                <a:gd name="T115" fmla="*/ 1828 h 2210"/>
                <a:gd name="T116" fmla="*/ 212 w 1696"/>
                <a:gd name="T117" fmla="*/ 2210 h 2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6" h="2210">
                  <a:moveTo>
                    <a:pt x="212" y="2210"/>
                  </a:moveTo>
                  <a:lnTo>
                    <a:pt x="0" y="1828"/>
                  </a:lnTo>
                  <a:lnTo>
                    <a:pt x="29" y="1741"/>
                  </a:lnTo>
                  <a:lnTo>
                    <a:pt x="61" y="1657"/>
                  </a:lnTo>
                  <a:lnTo>
                    <a:pt x="95" y="1576"/>
                  </a:lnTo>
                  <a:lnTo>
                    <a:pt x="131" y="1498"/>
                  </a:lnTo>
                  <a:lnTo>
                    <a:pt x="169" y="1421"/>
                  </a:lnTo>
                  <a:lnTo>
                    <a:pt x="209" y="1348"/>
                  </a:lnTo>
                  <a:lnTo>
                    <a:pt x="251" y="1277"/>
                  </a:lnTo>
                  <a:lnTo>
                    <a:pt x="295" y="1207"/>
                  </a:lnTo>
                  <a:lnTo>
                    <a:pt x="341" y="1140"/>
                  </a:lnTo>
                  <a:lnTo>
                    <a:pt x="389" y="1075"/>
                  </a:lnTo>
                  <a:lnTo>
                    <a:pt x="438" y="1012"/>
                  </a:lnTo>
                  <a:lnTo>
                    <a:pt x="489" y="950"/>
                  </a:lnTo>
                  <a:lnTo>
                    <a:pt x="540" y="891"/>
                  </a:lnTo>
                  <a:lnTo>
                    <a:pt x="594" y="833"/>
                  </a:lnTo>
                  <a:lnTo>
                    <a:pt x="649" y="777"/>
                  </a:lnTo>
                  <a:lnTo>
                    <a:pt x="705" y="722"/>
                  </a:lnTo>
                  <a:lnTo>
                    <a:pt x="762" y="670"/>
                  </a:lnTo>
                  <a:lnTo>
                    <a:pt x="820" y="617"/>
                  </a:lnTo>
                  <a:lnTo>
                    <a:pt x="880" y="568"/>
                  </a:lnTo>
                  <a:lnTo>
                    <a:pt x="940" y="518"/>
                  </a:lnTo>
                  <a:lnTo>
                    <a:pt x="1000" y="471"/>
                  </a:lnTo>
                  <a:lnTo>
                    <a:pt x="1061" y="424"/>
                  </a:lnTo>
                  <a:lnTo>
                    <a:pt x="1124" y="378"/>
                  </a:lnTo>
                  <a:lnTo>
                    <a:pt x="1187" y="333"/>
                  </a:lnTo>
                  <a:lnTo>
                    <a:pt x="1250" y="290"/>
                  </a:lnTo>
                  <a:lnTo>
                    <a:pt x="1313" y="246"/>
                  </a:lnTo>
                  <a:lnTo>
                    <a:pt x="1376" y="204"/>
                  </a:lnTo>
                  <a:lnTo>
                    <a:pt x="1440" y="162"/>
                  </a:lnTo>
                  <a:lnTo>
                    <a:pt x="1568" y="80"/>
                  </a:lnTo>
                  <a:lnTo>
                    <a:pt x="1696" y="0"/>
                  </a:lnTo>
                  <a:lnTo>
                    <a:pt x="1616" y="116"/>
                  </a:lnTo>
                  <a:lnTo>
                    <a:pt x="1539" y="229"/>
                  </a:lnTo>
                  <a:lnTo>
                    <a:pt x="1463" y="336"/>
                  </a:lnTo>
                  <a:lnTo>
                    <a:pt x="1388" y="441"/>
                  </a:lnTo>
                  <a:lnTo>
                    <a:pt x="1315" y="543"/>
                  </a:lnTo>
                  <a:lnTo>
                    <a:pt x="1244" y="645"/>
                  </a:lnTo>
                  <a:lnTo>
                    <a:pt x="1208" y="697"/>
                  </a:lnTo>
                  <a:lnTo>
                    <a:pt x="1174" y="747"/>
                  </a:lnTo>
                  <a:lnTo>
                    <a:pt x="1141" y="799"/>
                  </a:lnTo>
                  <a:lnTo>
                    <a:pt x="1108" y="849"/>
                  </a:lnTo>
                  <a:lnTo>
                    <a:pt x="1076" y="902"/>
                  </a:lnTo>
                  <a:lnTo>
                    <a:pt x="1044" y="954"/>
                  </a:lnTo>
                  <a:lnTo>
                    <a:pt x="1012" y="1008"/>
                  </a:lnTo>
                  <a:lnTo>
                    <a:pt x="982" y="1063"/>
                  </a:lnTo>
                  <a:lnTo>
                    <a:pt x="952" y="1117"/>
                  </a:lnTo>
                  <a:lnTo>
                    <a:pt x="923" y="1174"/>
                  </a:lnTo>
                  <a:lnTo>
                    <a:pt x="894" y="1232"/>
                  </a:lnTo>
                  <a:lnTo>
                    <a:pt x="868" y="1290"/>
                  </a:lnTo>
                  <a:lnTo>
                    <a:pt x="841" y="1351"/>
                  </a:lnTo>
                  <a:lnTo>
                    <a:pt x="815" y="1413"/>
                  </a:lnTo>
                  <a:lnTo>
                    <a:pt x="790" y="1477"/>
                  </a:lnTo>
                  <a:lnTo>
                    <a:pt x="766" y="1543"/>
                  </a:lnTo>
                  <a:lnTo>
                    <a:pt x="743" y="1611"/>
                  </a:lnTo>
                  <a:lnTo>
                    <a:pt x="720" y="1681"/>
                  </a:lnTo>
                  <a:lnTo>
                    <a:pt x="699" y="1753"/>
                  </a:lnTo>
                  <a:lnTo>
                    <a:pt x="679" y="1828"/>
                  </a:lnTo>
                  <a:lnTo>
                    <a:pt x="212" y="22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09" name="Freeform 94"/>
            <p:cNvSpPr>
              <a:spLocks noChangeArrowheads="1"/>
            </p:cNvSpPr>
            <p:nvPr userDrawn="1"/>
          </p:nvSpPr>
          <p:spPr bwMode="auto">
            <a:xfrm>
              <a:off x="911224" y="3266760"/>
              <a:ext cx="676275" cy="2688917"/>
            </a:xfrm>
            <a:custGeom>
              <a:avLst/>
              <a:gdLst>
                <a:gd name="T0" fmla="*/ 170 w 1512"/>
                <a:gd name="T1" fmla="*/ 3555 h 4847"/>
                <a:gd name="T2" fmla="*/ 94 w 1512"/>
                <a:gd name="T3" fmla="*/ 3416 h 4847"/>
                <a:gd name="T4" fmla="*/ 41 w 1512"/>
                <a:gd name="T5" fmla="*/ 3265 h 4847"/>
                <a:gd name="T6" fmla="*/ 10 w 1512"/>
                <a:gd name="T7" fmla="*/ 3102 h 4847"/>
                <a:gd name="T8" fmla="*/ 0 w 1512"/>
                <a:gd name="T9" fmla="*/ 2928 h 4847"/>
                <a:gd name="T10" fmla="*/ 8 w 1512"/>
                <a:gd name="T11" fmla="*/ 2746 h 4847"/>
                <a:gd name="T12" fmla="*/ 58 w 1512"/>
                <a:gd name="T13" fmla="*/ 2443 h 4847"/>
                <a:gd name="T14" fmla="*/ 208 w 1512"/>
                <a:gd name="T15" fmla="*/ 1951 h 4847"/>
                <a:gd name="T16" fmla="*/ 422 w 1512"/>
                <a:gd name="T17" fmla="*/ 1459 h 4847"/>
                <a:gd name="T18" fmla="*/ 674 w 1512"/>
                <a:gd name="T19" fmla="*/ 993 h 4847"/>
                <a:gd name="T20" fmla="*/ 933 w 1512"/>
                <a:gd name="T21" fmla="*/ 580 h 4847"/>
                <a:gd name="T22" fmla="*/ 1173 w 1512"/>
                <a:gd name="T23" fmla="*/ 250 h 4847"/>
                <a:gd name="T24" fmla="*/ 1367 w 1512"/>
                <a:gd name="T25" fmla="*/ 26 h 4847"/>
                <a:gd name="T26" fmla="*/ 1403 w 1512"/>
                <a:gd name="T27" fmla="*/ 4 h 4847"/>
                <a:gd name="T28" fmla="*/ 1443 w 1512"/>
                <a:gd name="T29" fmla="*/ 2 h 4847"/>
                <a:gd name="T30" fmla="*/ 1481 w 1512"/>
                <a:gd name="T31" fmla="*/ 20 h 4847"/>
                <a:gd name="T32" fmla="*/ 1511 w 1512"/>
                <a:gd name="T33" fmla="*/ 68 h 4847"/>
                <a:gd name="T34" fmla="*/ 1504 w 1512"/>
                <a:gd name="T35" fmla="*/ 126 h 4847"/>
                <a:gd name="T36" fmla="*/ 1414 w 1512"/>
                <a:gd name="T37" fmla="*/ 397 h 4847"/>
                <a:gd name="T38" fmla="*/ 1324 w 1512"/>
                <a:gd name="T39" fmla="*/ 739 h 4847"/>
                <a:gd name="T40" fmla="*/ 1231 w 1512"/>
                <a:gd name="T41" fmla="*/ 1138 h 4847"/>
                <a:gd name="T42" fmla="*/ 1121 w 1512"/>
                <a:gd name="T43" fmla="*/ 1682 h 4847"/>
                <a:gd name="T44" fmla="*/ 991 w 1512"/>
                <a:gd name="T45" fmla="*/ 2414 h 4847"/>
                <a:gd name="T46" fmla="*/ 815 w 1512"/>
                <a:gd name="T47" fmla="*/ 3622 h 4847"/>
                <a:gd name="T48" fmla="*/ 753 w 1512"/>
                <a:gd name="T49" fmla="*/ 4160 h 4847"/>
                <a:gd name="T50" fmla="*/ 715 w 1512"/>
                <a:gd name="T51" fmla="*/ 4614 h 4847"/>
                <a:gd name="T52" fmla="*/ 703 w 1512"/>
                <a:gd name="T53" fmla="*/ 4790 h 4847"/>
                <a:gd name="T54" fmla="*/ 680 w 1512"/>
                <a:gd name="T55" fmla="*/ 4824 h 4847"/>
                <a:gd name="T56" fmla="*/ 644 w 1512"/>
                <a:gd name="T57" fmla="*/ 4845 h 4847"/>
                <a:gd name="T58" fmla="*/ 605 w 1512"/>
                <a:gd name="T59" fmla="*/ 4846 h 4847"/>
                <a:gd name="T60" fmla="*/ 574 w 1512"/>
                <a:gd name="T61" fmla="*/ 4833 h 4847"/>
                <a:gd name="T62" fmla="*/ 550 w 1512"/>
                <a:gd name="T63" fmla="*/ 4808 h 4847"/>
                <a:gd name="T64" fmla="*/ 540 w 1512"/>
                <a:gd name="T65" fmla="*/ 4783 h 4847"/>
                <a:gd name="T66" fmla="*/ 214 w 1512"/>
                <a:gd name="T67" fmla="*/ 3248 h 4847"/>
                <a:gd name="T68" fmla="*/ 263 w 1512"/>
                <a:gd name="T69" fmla="*/ 3374 h 4847"/>
                <a:gd name="T70" fmla="*/ 332 w 1512"/>
                <a:gd name="T71" fmla="*/ 3488 h 4847"/>
                <a:gd name="T72" fmla="*/ 385 w 1512"/>
                <a:gd name="T73" fmla="*/ 3552 h 4847"/>
                <a:gd name="T74" fmla="*/ 575 w 1512"/>
                <a:gd name="T75" fmla="*/ 4237 h 4847"/>
                <a:gd name="T76" fmla="*/ 679 w 1512"/>
                <a:gd name="T77" fmla="*/ 3348 h 4847"/>
                <a:gd name="T78" fmla="*/ 828 w 1512"/>
                <a:gd name="T79" fmla="*/ 2351 h 4847"/>
                <a:gd name="T80" fmla="*/ 1007 w 1512"/>
                <a:gd name="T81" fmla="*/ 1371 h 4847"/>
                <a:gd name="T82" fmla="*/ 1120 w 1512"/>
                <a:gd name="T83" fmla="*/ 854 h 4847"/>
                <a:gd name="T84" fmla="*/ 1215 w 1512"/>
                <a:gd name="T85" fmla="*/ 475 h 4847"/>
                <a:gd name="T86" fmla="*/ 1027 w 1512"/>
                <a:gd name="T87" fmla="*/ 744 h 4847"/>
                <a:gd name="T88" fmla="*/ 830 w 1512"/>
                <a:gd name="T89" fmla="*/ 1059 h 4847"/>
                <a:gd name="T90" fmla="*/ 639 w 1512"/>
                <a:gd name="T91" fmla="*/ 1406 h 4847"/>
                <a:gd name="T92" fmla="*/ 464 w 1512"/>
                <a:gd name="T93" fmla="*/ 1772 h 4847"/>
                <a:gd name="T94" fmla="*/ 318 w 1512"/>
                <a:gd name="T95" fmla="*/ 2146 h 4847"/>
                <a:gd name="T96" fmla="*/ 216 w 1512"/>
                <a:gd name="T97" fmla="*/ 2516 h 4847"/>
                <a:gd name="T98" fmla="*/ 178 w 1512"/>
                <a:gd name="T99" fmla="*/ 2761 h 4847"/>
                <a:gd name="T100" fmla="*/ 171 w 1512"/>
                <a:gd name="T101" fmla="*/ 2925 h 4847"/>
                <a:gd name="T102" fmla="*/ 179 w 1512"/>
                <a:gd name="T103" fmla="*/ 3079 h 4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12" h="4847">
                  <a:moveTo>
                    <a:pt x="248" y="3655"/>
                  </a:moveTo>
                  <a:lnTo>
                    <a:pt x="227" y="3632"/>
                  </a:lnTo>
                  <a:lnTo>
                    <a:pt x="207" y="3607"/>
                  </a:lnTo>
                  <a:lnTo>
                    <a:pt x="188" y="3581"/>
                  </a:lnTo>
                  <a:lnTo>
                    <a:pt x="170" y="3555"/>
                  </a:lnTo>
                  <a:lnTo>
                    <a:pt x="153" y="3529"/>
                  </a:lnTo>
                  <a:lnTo>
                    <a:pt x="137" y="3501"/>
                  </a:lnTo>
                  <a:lnTo>
                    <a:pt x="122" y="3473"/>
                  </a:lnTo>
                  <a:lnTo>
                    <a:pt x="107" y="3445"/>
                  </a:lnTo>
                  <a:lnTo>
                    <a:pt x="94" y="3416"/>
                  </a:lnTo>
                  <a:lnTo>
                    <a:pt x="81" y="3387"/>
                  </a:lnTo>
                  <a:lnTo>
                    <a:pt x="70" y="3358"/>
                  </a:lnTo>
                  <a:lnTo>
                    <a:pt x="60" y="3327"/>
                  </a:lnTo>
                  <a:lnTo>
                    <a:pt x="51" y="3297"/>
                  </a:lnTo>
                  <a:lnTo>
                    <a:pt x="41" y="3265"/>
                  </a:lnTo>
                  <a:lnTo>
                    <a:pt x="33" y="3234"/>
                  </a:lnTo>
                  <a:lnTo>
                    <a:pt x="27" y="3202"/>
                  </a:lnTo>
                  <a:lnTo>
                    <a:pt x="21" y="3169"/>
                  </a:lnTo>
                  <a:lnTo>
                    <a:pt x="14" y="3135"/>
                  </a:lnTo>
                  <a:lnTo>
                    <a:pt x="10" y="3102"/>
                  </a:lnTo>
                  <a:lnTo>
                    <a:pt x="7" y="3068"/>
                  </a:lnTo>
                  <a:lnTo>
                    <a:pt x="4" y="3034"/>
                  </a:lnTo>
                  <a:lnTo>
                    <a:pt x="2" y="2999"/>
                  </a:lnTo>
                  <a:lnTo>
                    <a:pt x="0" y="2964"/>
                  </a:lnTo>
                  <a:lnTo>
                    <a:pt x="0" y="2928"/>
                  </a:lnTo>
                  <a:lnTo>
                    <a:pt x="0" y="2893"/>
                  </a:lnTo>
                  <a:lnTo>
                    <a:pt x="1" y="2857"/>
                  </a:lnTo>
                  <a:lnTo>
                    <a:pt x="3" y="2820"/>
                  </a:lnTo>
                  <a:lnTo>
                    <a:pt x="5" y="2783"/>
                  </a:lnTo>
                  <a:lnTo>
                    <a:pt x="8" y="2746"/>
                  </a:lnTo>
                  <a:lnTo>
                    <a:pt x="12" y="2709"/>
                  </a:lnTo>
                  <a:lnTo>
                    <a:pt x="17" y="2672"/>
                  </a:lnTo>
                  <a:lnTo>
                    <a:pt x="22" y="2635"/>
                  </a:lnTo>
                  <a:lnTo>
                    <a:pt x="38" y="2540"/>
                  </a:lnTo>
                  <a:lnTo>
                    <a:pt x="58" y="2443"/>
                  </a:lnTo>
                  <a:lnTo>
                    <a:pt x="81" y="2346"/>
                  </a:lnTo>
                  <a:lnTo>
                    <a:pt x="108" y="2248"/>
                  </a:lnTo>
                  <a:lnTo>
                    <a:pt x="138" y="2149"/>
                  </a:lnTo>
                  <a:lnTo>
                    <a:pt x="172" y="2050"/>
                  </a:lnTo>
                  <a:lnTo>
                    <a:pt x="208" y="1951"/>
                  </a:lnTo>
                  <a:lnTo>
                    <a:pt x="246" y="1851"/>
                  </a:lnTo>
                  <a:lnTo>
                    <a:pt x="287" y="1753"/>
                  </a:lnTo>
                  <a:lnTo>
                    <a:pt x="331" y="1654"/>
                  </a:lnTo>
                  <a:lnTo>
                    <a:pt x="375" y="1556"/>
                  </a:lnTo>
                  <a:lnTo>
                    <a:pt x="422" y="1459"/>
                  </a:lnTo>
                  <a:lnTo>
                    <a:pt x="471" y="1362"/>
                  </a:lnTo>
                  <a:lnTo>
                    <a:pt x="520" y="1267"/>
                  </a:lnTo>
                  <a:lnTo>
                    <a:pt x="571" y="1174"/>
                  </a:lnTo>
                  <a:lnTo>
                    <a:pt x="622" y="1082"/>
                  </a:lnTo>
                  <a:lnTo>
                    <a:pt x="674" y="993"/>
                  </a:lnTo>
                  <a:lnTo>
                    <a:pt x="725" y="905"/>
                  </a:lnTo>
                  <a:lnTo>
                    <a:pt x="778" y="820"/>
                  </a:lnTo>
                  <a:lnTo>
                    <a:pt x="830" y="737"/>
                  </a:lnTo>
                  <a:lnTo>
                    <a:pt x="882" y="658"/>
                  </a:lnTo>
                  <a:lnTo>
                    <a:pt x="933" y="580"/>
                  </a:lnTo>
                  <a:lnTo>
                    <a:pt x="984" y="507"/>
                  </a:lnTo>
                  <a:lnTo>
                    <a:pt x="1033" y="437"/>
                  </a:lnTo>
                  <a:lnTo>
                    <a:pt x="1082" y="370"/>
                  </a:lnTo>
                  <a:lnTo>
                    <a:pt x="1129" y="307"/>
                  </a:lnTo>
                  <a:lnTo>
                    <a:pt x="1173" y="250"/>
                  </a:lnTo>
                  <a:lnTo>
                    <a:pt x="1218" y="195"/>
                  </a:lnTo>
                  <a:lnTo>
                    <a:pt x="1258" y="145"/>
                  </a:lnTo>
                  <a:lnTo>
                    <a:pt x="1297" y="100"/>
                  </a:lnTo>
                  <a:lnTo>
                    <a:pt x="1333" y="60"/>
                  </a:lnTo>
                  <a:lnTo>
                    <a:pt x="1367" y="26"/>
                  </a:lnTo>
                  <a:lnTo>
                    <a:pt x="1373" y="20"/>
                  </a:lnTo>
                  <a:lnTo>
                    <a:pt x="1380" y="15"/>
                  </a:lnTo>
                  <a:lnTo>
                    <a:pt x="1387" y="10"/>
                  </a:lnTo>
                  <a:lnTo>
                    <a:pt x="1395" y="6"/>
                  </a:lnTo>
                  <a:lnTo>
                    <a:pt x="1403" y="4"/>
                  </a:lnTo>
                  <a:lnTo>
                    <a:pt x="1411" y="2"/>
                  </a:lnTo>
                  <a:lnTo>
                    <a:pt x="1419" y="1"/>
                  </a:lnTo>
                  <a:lnTo>
                    <a:pt x="1428" y="0"/>
                  </a:lnTo>
                  <a:lnTo>
                    <a:pt x="1435" y="1"/>
                  </a:lnTo>
                  <a:lnTo>
                    <a:pt x="1443" y="2"/>
                  </a:lnTo>
                  <a:lnTo>
                    <a:pt x="1451" y="4"/>
                  </a:lnTo>
                  <a:lnTo>
                    <a:pt x="1460" y="6"/>
                  </a:lnTo>
                  <a:lnTo>
                    <a:pt x="1467" y="10"/>
                  </a:lnTo>
                  <a:lnTo>
                    <a:pt x="1474" y="15"/>
                  </a:lnTo>
                  <a:lnTo>
                    <a:pt x="1481" y="20"/>
                  </a:lnTo>
                  <a:lnTo>
                    <a:pt x="1487" y="25"/>
                  </a:lnTo>
                  <a:lnTo>
                    <a:pt x="1496" y="35"/>
                  </a:lnTo>
                  <a:lnTo>
                    <a:pt x="1503" y="45"/>
                  </a:lnTo>
                  <a:lnTo>
                    <a:pt x="1508" y="57"/>
                  </a:lnTo>
                  <a:lnTo>
                    <a:pt x="1511" y="68"/>
                  </a:lnTo>
                  <a:lnTo>
                    <a:pt x="1512" y="80"/>
                  </a:lnTo>
                  <a:lnTo>
                    <a:pt x="1512" y="93"/>
                  </a:lnTo>
                  <a:lnTo>
                    <a:pt x="1511" y="104"/>
                  </a:lnTo>
                  <a:lnTo>
                    <a:pt x="1507" y="116"/>
                  </a:lnTo>
                  <a:lnTo>
                    <a:pt x="1504" y="126"/>
                  </a:lnTo>
                  <a:lnTo>
                    <a:pt x="1486" y="174"/>
                  </a:lnTo>
                  <a:lnTo>
                    <a:pt x="1469" y="225"/>
                  </a:lnTo>
                  <a:lnTo>
                    <a:pt x="1450" y="279"/>
                  </a:lnTo>
                  <a:lnTo>
                    <a:pt x="1433" y="337"/>
                  </a:lnTo>
                  <a:lnTo>
                    <a:pt x="1414" y="397"/>
                  </a:lnTo>
                  <a:lnTo>
                    <a:pt x="1397" y="461"/>
                  </a:lnTo>
                  <a:lnTo>
                    <a:pt x="1378" y="526"/>
                  </a:lnTo>
                  <a:lnTo>
                    <a:pt x="1361" y="595"/>
                  </a:lnTo>
                  <a:lnTo>
                    <a:pt x="1342" y="666"/>
                  </a:lnTo>
                  <a:lnTo>
                    <a:pt x="1324" y="739"/>
                  </a:lnTo>
                  <a:lnTo>
                    <a:pt x="1305" y="814"/>
                  </a:lnTo>
                  <a:lnTo>
                    <a:pt x="1287" y="893"/>
                  </a:lnTo>
                  <a:lnTo>
                    <a:pt x="1268" y="972"/>
                  </a:lnTo>
                  <a:lnTo>
                    <a:pt x="1249" y="1055"/>
                  </a:lnTo>
                  <a:lnTo>
                    <a:pt x="1231" y="1138"/>
                  </a:lnTo>
                  <a:lnTo>
                    <a:pt x="1213" y="1224"/>
                  </a:lnTo>
                  <a:lnTo>
                    <a:pt x="1190" y="1335"/>
                  </a:lnTo>
                  <a:lnTo>
                    <a:pt x="1166" y="1449"/>
                  </a:lnTo>
                  <a:lnTo>
                    <a:pt x="1143" y="1565"/>
                  </a:lnTo>
                  <a:lnTo>
                    <a:pt x="1121" y="1682"/>
                  </a:lnTo>
                  <a:lnTo>
                    <a:pt x="1098" y="1802"/>
                  </a:lnTo>
                  <a:lnTo>
                    <a:pt x="1076" y="1923"/>
                  </a:lnTo>
                  <a:lnTo>
                    <a:pt x="1054" y="2044"/>
                  </a:lnTo>
                  <a:lnTo>
                    <a:pt x="1033" y="2167"/>
                  </a:lnTo>
                  <a:lnTo>
                    <a:pt x="991" y="2414"/>
                  </a:lnTo>
                  <a:lnTo>
                    <a:pt x="951" y="2662"/>
                  </a:lnTo>
                  <a:lnTo>
                    <a:pt x="914" y="2909"/>
                  </a:lnTo>
                  <a:lnTo>
                    <a:pt x="878" y="3152"/>
                  </a:lnTo>
                  <a:lnTo>
                    <a:pt x="845" y="3391"/>
                  </a:lnTo>
                  <a:lnTo>
                    <a:pt x="815" y="3622"/>
                  </a:lnTo>
                  <a:lnTo>
                    <a:pt x="800" y="3735"/>
                  </a:lnTo>
                  <a:lnTo>
                    <a:pt x="787" y="3845"/>
                  </a:lnTo>
                  <a:lnTo>
                    <a:pt x="775" y="3953"/>
                  </a:lnTo>
                  <a:lnTo>
                    <a:pt x="763" y="4059"/>
                  </a:lnTo>
                  <a:lnTo>
                    <a:pt x="753" y="4160"/>
                  </a:lnTo>
                  <a:lnTo>
                    <a:pt x="744" y="4259"/>
                  </a:lnTo>
                  <a:lnTo>
                    <a:pt x="735" y="4353"/>
                  </a:lnTo>
                  <a:lnTo>
                    <a:pt x="727" y="4444"/>
                  </a:lnTo>
                  <a:lnTo>
                    <a:pt x="721" y="4531"/>
                  </a:lnTo>
                  <a:lnTo>
                    <a:pt x="715" y="4614"/>
                  </a:lnTo>
                  <a:lnTo>
                    <a:pt x="711" y="4691"/>
                  </a:lnTo>
                  <a:lnTo>
                    <a:pt x="708" y="4766"/>
                  </a:lnTo>
                  <a:lnTo>
                    <a:pt x="707" y="4774"/>
                  </a:lnTo>
                  <a:lnTo>
                    <a:pt x="705" y="4782"/>
                  </a:lnTo>
                  <a:lnTo>
                    <a:pt x="703" y="4790"/>
                  </a:lnTo>
                  <a:lnTo>
                    <a:pt x="699" y="4799"/>
                  </a:lnTo>
                  <a:lnTo>
                    <a:pt x="695" y="4806"/>
                  </a:lnTo>
                  <a:lnTo>
                    <a:pt x="691" y="4812"/>
                  </a:lnTo>
                  <a:lnTo>
                    <a:pt x="685" y="4819"/>
                  </a:lnTo>
                  <a:lnTo>
                    <a:pt x="680" y="4824"/>
                  </a:lnTo>
                  <a:lnTo>
                    <a:pt x="674" y="4830"/>
                  </a:lnTo>
                  <a:lnTo>
                    <a:pt x="666" y="4835"/>
                  </a:lnTo>
                  <a:lnTo>
                    <a:pt x="659" y="4839"/>
                  </a:lnTo>
                  <a:lnTo>
                    <a:pt x="652" y="4842"/>
                  </a:lnTo>
                  <a:lnTo>
                    <a:pt x="644" y="4845"/>
                  </a:lnTo>
                  <a:lnTo>
                    <a:pt x="636" y="4846"/>
                  </a:lnTo>
                  <a:lnTo>
                    <a:pt x="627" y="4847"/>
                  </a:lnTo>
                  <a:lnTo>
                    <a:pt x="619" y="4847"/>
                  </a:lnTo>
                  <a:lnTo>
                    <a:pt x="611" y="4847"/>
                  </a:lnTo>
                  <a:lnTo>
                    <a:pt x="605" y="4846"/>
                  </a:lnTo>
                  <a:lnTo>
                    <a:pt x="597" y="4844"/>
                  </a:lnTo>
                  <a:lnTo>
                    <a:pt x="591" y="4842"/>
                  </a:lnTo>
                  <a:lnTo>
                    <a:pt x="585" y="4839"/>
                  </a:lnTo>
                  <a:lnTo>
                    <a:pt x="579" y="4836"/>
                  </a:lnTo>
                  <a:lnTo>
                    <a:pt x="574" y="4833"/>
                  </a:lnTo>
                  <a:lnTo>
                    <a:pt x="568" y="4829"/>
                  </a:lnTo>
                  <a:lnTo>
                    <a:pt x="562" y="4823"/>
                  </a:lnTo>
                  <a:lnTo>
                    <a:pt x="558" y="4819"/>
                  </a:lnTo>
                  <a:lnTo>
                    <a:pt x="554" y="4814"/>
                  </a:lnTo>
                  <a:lnTo>
                    <a:pt x="550" y="4808"/>
                  </a:lnTo>
                  <a:lnTo>
                    <a:pt x="547" y="4803"/>
                  </a:lnTo>
                  <a:lnTo>
                    <a:pt x="544" y="4797"/>
                  </a:lnTo>
                  <a:lnTo>
                    <a:pt x="542" y="4790"/>
                  </a:lnTo>
                  <a:lnTo>
                    <a:pt x="540" y="4783"/>
                  </a:lnTo>
                  <a:lnTo>
                    <a:pt x="248" y="3655"/>
                  </a:lnTo>
                  <a:close/>
                  <a:moveTo>
                    <a:pt x="194" y="3167"/>
                  </a:moveTo>
                  <a:lnTo>
                    <a:pt x="200" y="3195"/>
                  </a:lnTo>
                  <a:lnTo>
                    <a:pt x="206" y="3221"/>
                  </a:lnTo>
                  <a:lnTo>
                    <a:pt x="214" y="3248"/>
                  </a:lnTo>
                  <a:lnTo>
                    <a:pt x="223" y="3274"/>
                  </a:lnTo>
                  <a:lnTo>
                    <a:pt x="231" y="3300"/>
                  </a:lnTo>
                  <a:lnTo>
                    <a:pt x="241" y="3326"/>
                  </a:lnTo>
                  <a:lnTo>
                    <a:pt x="251" y="3350"/>
                  </a:lnTo>
                  <a:lnTo>
                    <a:pt x="263" y="3374"/>
                  </a:lnTo>
                  <a:lnTo>
                    <a:pt x="275" y="3398"/>
                  </a:lnTo>
                  <a:lnTo>
                    <a:pt x="287" y="3421"/>
                  </a:lnTo>
                  <a:lnTo>
                    <a:pt x="301" y="3444"/>
                  </a:lnTo>
                  <a:lnTo>
                    <a:pt x="316" y="3467"/>
                  </a:lnTo>
                  <a:lnTo>
                    <a:pt x="332" y="3488"/>
                  </a:lnTo>
                  <a:lnTo>
                    <a:pt x="348" y="3510"/>
                  </a:lnTo>
                  <a:lnTo>
                    <a:pt x="365" y="3531"/>
                  </a:lnTo>
                  <a:lnTo>
                    <a:pt x="383" y="3550"/>
                  </a:lnTo>
                  <a:lnTo>
                    <a:pt x="384" y="3551"/>
                  </a:lnTo>
                  <a:lnTo>
                    <a:pt x="385" y="3552"/>
                  </a:lnTo>
                  <a:lnTo>
                    <a:pt x="393" y="3561"/>
                  </a:lnTo>
                  <a:lnTo>
                    <a:pt x="399" y="3571"/>
                  </a:lnTo>
                  <a:lnTo>
                    <a:pt x="404" y="3581"/>
                  </a:lnTo>
                  <a:lnTo>
                    <a:pt x="408" y="3593"/>
                  </a:lnTo>
                  <a:lnTo>
                    <a:pt x="575" y="4237"/>
                  </a:lnTo>
                  <a:lnTo>
                    <a:pt x="590" y="4074"/>
                  </a:lnTo>
                  <a:lnTo>
                    <a:pt x="610" y="3903"/>
                  </a:lnTo>
                  <a:lnTo>
                    <a:pt x="630" y="3723"/>
                  </a:lnTo>
                  <a:lnTo>
                    <a:pt x="653" y="3539"/>
                  </a:lnTo>
                  <a:lnTo>
                    <a:pt x="679" y="3348"/>
                  </a:lnTo>
                  <a:lnTo>
                    <a:pt x="706" y="3153"/>
                  </a:lnTo>
                  <a:lnTo>
                    <a:pt x="733" y="2956"/>
                  </a:lnTo>
                  <a:lnTo>
                    <a:pt x="764" y="2756"/>
                  </a:lnTo>
                  <a:lnTo>
                    <a:pt x="795" y="2553"/>
                  </a:lnTo>
                  <a:lnTo>
                    <a:pt x="828" y="2351"/>
                  </a:lnTo>
                  <a:lnTo>
                    <a:pt x="862" y="2150"/>
                  </a:lnTo>
                  <a:lnTo>
                    <a:pt x="897" y="1950"/>
                  </a:lnTo>
                  <a:lnTo>
                    <a:pt x="933" y="1754"/>
                  </a:lnTo>
                  <a:lnTo>
                    <a:pt x="970" y="1560"/>
                  </a:lnTo>
                  <a:lnTo>
                    <a:pt x="1007" y="1371"/>
                  </a:lnTo>
                  <a:lnTo>
                    <a:pt x="1046" y="1188"/>
                  </a:lnTo>
                  <a:lnTo>
                    <a:pt x="1064" y="1102"/>
                  </a:lnTo>
                  <a:lnTo>
                    <a:pt x="1083" y="1018"/>
                  </a:lnTo>
                  <a:lnTo>
                    <a:pt x="1101" y="935"/>
                  </a:lnTo>
                  <a:lnTo>
                    <a:pt x="1120" y="854"/>
                  </a:lnTo>
                  <a:lnTo>
                    <a:pt x="1138" y="775"/>
                  </a:lnTo>
                  <a:lnTo>
                    <a:pt x="1158" y="698"/>
                  </a:lnTo>
                  <a:lnTo>
                    <a:pt x="1176" y="624"/>
                  </a:lnTo>
                  <a:lnTo>
                    <a:pt x="1195" y="551"/>
                  </a:lnTo>
                  <a:lnTo>
                    <a:pt x="1215" y="475"/>
                  </a:lnTo>
                  <a:lnTo>
                    <a:pt x="1179" y="525"/>
                  </a:lnTo>
                  <a:lnTo>
                    <a:pt x="1142" y="576"/>
                  </a:lnTo>
                  <a:lnTo>
                    <a:pt x="1104" y="631"/>
                  </a:lnTo>
                  <a:lnTo>
                    <a:pt x="1066" y="687"/>
                  </a:lnTo>
                  <a:lnTo>
                    <a:pt x="1027" y="744"/>
                  </a:lnTo>
                  <a:lnTo>
                    <a:pt x="988" y="804"/>
                  </a:lnTo>
                  <a:lnTo>
                    <a:pt x="949" y="866"/>
                  </a:lnTo>
                  <a:lnTo>
                    <a:pt x="910" y="929"/>
                  </a:lnTo>
                  <a:lnTo>
                    <a:pt x="870" y="993"/>
                  </a:lnTo>
                  <a:lnTo>
                    <a:pt x="830" y="1059"/>
                  </a:lnTo>
                  <a:lnTo>
                    <a:pt x="791" y="1126"/>
                  </a:lnTo>
                  <a:lnTo>
                    <a:pt x="752" y="1195"/>
                  </a:lnTo>
                  <a:lnTo>
                    <a:pt x="714" y="1264"/>
                  </a:lnTo>
                  <a:lnTo>
                    <a:pt x="676" y="1334"/>
                  </a:lnTo>
                  <a:lnTo>
                    <a:pt x="639" y="1406"/>
                  </a:lnTo>
                  <a:lnTo>
                    <a:pt x="602" y="1478"/>
                  </a:lnTo>
                  <a:lnTo>
                    <a:pt x="566" y="1550"/>
                  </a:lnTo>
                  <a:lnTo>
                    <a:pt x="531" y="1625"/>
                  </a:lnTo>
                  <a:lnTo>
                    <a:pt x="497" y="1698"/>
                  </a:lnTo>
                  <a:lnTo>
                    <a:pt x="464" y="1772"/>
                  </a:lnTo>
                  <a:lnTo>
                    <a:pt x="432" y="1847"/>
                  </a:lnTo>
                  <a:lnTo>
                    <a:pt x="401" y="1922"/>
                  </a:lnTo>
                  <a:lnTo>
                    <a:pt x="372" y="1997"/>
                  </a:lnTo>
                  <a:lnTo>
                    <a:pt x="344" y="2072"/>
                  </a:lnTo>
                  <a:lnTo>
                    <a:pt x="318" y="2146"/>
                  </a:lnTo>
                  <a:lnTo>
                    <a:pt x="294" y="2222"/>
                  </a:lnTo>
                  <a:lnTo>
                    <a:pt x="272" y="2296"/>
                  </a:lnTo>
                  <a:lnTo>
                    <a:pt x="251" y="2370"/>
                  </a:lnTo>
                  <a:lnTo>
                    <a:pt x="233" y="2443"/>
                  </a:lnTo>
                  <a:lnTo>
                    <a:pt x="216" y="2516"/>
                  </a:lnTo>
                  <a:lnTo>
                    <a:pt x="203" y="2589"/>
                  </a:lnTo>
                  <a:lnTo>
                    <a:pt x="192" y="2660"/>
                  </a:lnTo>
                  <a:lnTo>
                    <a:pt x="187" y="2694"/>
                  </a:lnTo>
                  <a:lnTo>
                    <a:pt x="182" y="2728"/>
                  </a:lnTo>
                  <a:lnTo>
                    <a:pt x="178" y="2761"/>
                  </a:lnTo>
                  <a:lnTo>
                    <a:pt x="176" y="2794"/>
                  </a:lnTo>
                  <a:lnTo>
                    <a:pt x="173" y="2828"/>
                  </a:lnTo>
                  <a:lnTo>
                    <a:pt x="172" y="2860"/>
                  </a:lnTo>
                  <a:lnTo>
                    <a:pt x="171" y="2893"/>
                  </a:lnTo>
                  <a:lnTo>
                    <a:pt x="171" y="2925"/>
                  </a:lnTo>
                  <a:lnTo>
                    <a:pt x="171" y="2957"/>
                  </a:lnTo>
                  <a:lnTo>
                    <a:pt x="172" y="2987"/>
                  </a:lnTo>
                  <a:lnTo>
                    <a:pt x="174" y="3018"/>
                  </a:lnTo>
                  <a:lnTo>
                    <a:pt x="176" y="3049"/>
                  </a:lnTo>
                  <a:lnTo>
                    <a:pt x="179" y="3079"/>
                  </a:lnTo>
                  <a:lnTo>
                    <a:pt x="183" y="3109"/>
                  </a:lnTo>
                  <a:lnTo>
                    <a:pt x="189" y="3138"/>
                  </a:lnTo>
                  <a:lnTo>
                    <a:pt x="194" y="31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0" name="Freeform 95"/>
            <p:cNvSpPr>
              <a:spLocks noChangeArrowheads="1"/>
            </p:cNvSpPr>
            <p:nvPr userDrawn="1"/>
          </p:nvSpPr>
          <p:spPr bwMode="auto">
            <a:xfrm>
              <a:off x="946149" y="3318677"/>
              <a:ext cx="603250" cy="2590454"/>
            </a:xfrm>
            <a:custGeom>
              <a:avLst/>
              <a:gdLst>
                <a:gd name="T0" fmla="*/ 171 w 1342"/>
                <a:gd name="T1" fmla="*/ 3445 h 4676"/>
                <a:gd name="T2" fmla="*/ 70 w 1342"/>
                <a:gd name="T3" fmla="*/ 3256 h 4676"/>
                <a:gd name="T4" fmla="*/ 14 w 1342"/>
                <a:gd name="T5" fmla="*/ 3042 h 4676"/>
                <a:gd name="T6" fmla="*/ 0 w 1342"/>
                <a:gd name="T7" fmla="*/ 2808 h 4676"/>
                <a:gd name="T8" fmla="*/ 21 w 1342"/>
                <a:gd name="T9" fmla="*/ 2557 h 4676"/>
                <a:gd name="T10" fmla="*/ 74 w 1342"/>
                <a:gd name="T11" fmla="*/ 2295 h 4676"/>
                <a:gd name="T12" fmla="*/ 154 w 1342"/>
                <a:gd name="T13" fmla="*/ 2027 h 4676"/>
                <a:gd name="T14" fmla="*/ 256 w 1342"/>
                <a:gd name="T15" fmla="*/ 1756 h 4676"/>
                <a:gd name="T16" fmla="*/ 374 w 1342"/>
                <a:gd name="T17" fmla="*/ 1487 h 4676"/>
                <a:gd name="T18" fmla="*/ 506 w 1342"/>
                <a:gd name="T19" fmla="*/ 1225 h 4676"/>
                <a:gd name="T20" fmla="*/ 645 w 1342"/>
                <a:gd name="T21" fmla="*/ 974 h 4676"/>
                <a:gd name="T22" fmla="*/ 789 w 1342"/>
                <a:gd name="T23" fmla="*/ 739 h 4676"/>
                <a:gd name="T24" fmla="*/ 929 w 1342"/>
                <a:gd name="T25" fmla="*/ 524 h 4676"/>
                <a:gd name="T26" fmla="*/ 1064 w 1342"/>
                <a:gd name="T27" fmla="*/ 335 h 4676"/>
                <a:gd name="T28" fmla="*/ 1187 w 1342"/>
                <a:gd name="T29" fmla="*/ 175 h 4676"/>
                <a:gd name="T30" fmla="*/ 1295 w 1342"/>
                <a:gd name="T31" fmla="*/ 49 h 4676"/>
                <a:gd name="T32" fmla="*/ 1310 w 1342"/>
                <a:gd name="T33" fmla="*/ 89 h 4676"/>
                <a:gd name="T34" fmla="*/ 1244 w 1342"/>
                <a:gd name="T35" fmla="*/ 297 h 4676"/>
                <a:gd name="T36" fmla="*/ 1178 w 1342"/>
                <a:gd name="T37" fmla="*/ 539 h 4676"/>
                <a:gd name="T38" fmla="*/ 1111 w 1342"/>
                <a:gd name="T39" fmla="*/ 812 h 4676"/>
                <a:gd name="T40" fmla="*/ 1045 w 1342"/>
                <a:gd name="T41" fmla="*/ 1110 h 4676"/>
                <a:gd name="T42" fmla="*/ 980 w 1342"/>
                <a:gd name="T43" fmla="*/ 1427 h 4676"/>
                <a:gd name="T44" fmla="*/ 917 w 1342"/>
                <a:gd name="T45" fmla="*/ 1759 h 4676"/>
                <a:gd name="T46" fmla="*/ 857 w 1342"/>
                <a:gd name="T47" fmla="*/ 2102 h 4676"/>
                <a:gd name="T48" fmla="*/ 799 w 1342"/>
                <a:gd name="T49" fmla="*/ 2448 h 4676"/>
                <a:gd name="T50" fmla="*/ 745 w 1342"/>
                <a:gd name="T51" fmla="*/ 2794 h 4676"/>
                <a:gd name="T52" fmla="*/ 696 w 1342"/>
                <a:gd name="T53" fmla="*/ 3134 h 4676"/>
                <a:gd name="T54" fmla="*/ 652 w 1342"/>
                <a:gd name="T55" fmla="*/ 3463 h 4676"/>
                <a:gd name="T56" fmla="*/ 613 w 1342"/>
                <a:gd name="T57" fmla="*/ 3777 h 4676"/>
                <a:gd name="T58" fmla="*/ 582 w 1342"/>
                <a:gd name="T59" fmla="*/ 4069 h 4676"/>
                <a:gd name="T60" fmla="*/ 558 w 1342"/>
                <a:gd name="T61" fmla="*/ 4336 h 4676"/>
                <a:gd name="T62" fmla="*/ 541 w 1342"/>
                <a:gd name="T63" fmla="*/ 4571 h 4676"/>
                <a:gd name="T64" fmla="*/ 240 w 1342"/>
                <a:gd name="T65" fmla="*/ 3528 h 4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2" h="4676">
                  <a:moveTo>
                    <a:pt x="240" y="3528"/>
                  </a:moveTo>
                  <a:lnTo>
                    <a:pt x="171" y="3445"/>
                  </a:lnTo>
                  <a:lnTo>
                    <a:pt x="114" y="3354"/>
                  </a:lnTo>
                  <a:lnTo>
                    <a:pt x="70" y="3256"/>
                  </a:lnTo>
                  <a:lnTo>
                    <a:pt x="37" y="3152"/>
                  </a:lnTo>
                  <a:lnTo>
                    <a:pt x="14" y="3042"/>
                  </a:lnTo>
                  <a:lnTo>
                    <a:pt x="2" y="2927"/>
                  </a:lnTo>
                  <a:lnTo>
                    <a:pt x="0" y="2808"/>
                  </a:lnTo>
                  <a:lnTo>
                    <a:pt x="6" y="2684"/>
                  </a:lnTo>
                  <a:lnTo>
                    <a:pt x="21" y="2557"/>
                  </a:lnTo>
                  <a:lnTo>
                    <a:pt x="44" y="2427"/>
                  </a:lnTo>
                  <a:lnTo>
                    <a:pt x="74" y="2295"/>
                  </a:lnTo>
                  <a:lnTo>
                    <a:pt x="111" y="2161"/>
                  </a:lnTo>
                  <a:lnTo>
                    <a:pt x="154" y="2027"/>
                  </a:lnTo>
                  <a:lnTo>
                    <a:pt x="202" y="1891"/>
                  </a:lnTo>
                  <a:lnTo>
                    <a:pt x="256" y="1756"/>
                  </a:lnTo>
                  <a:lnTo>
                    <a:pt x="314" y="1621"/>
                  </a:lnTo>
                  <a:lnTo>
                    <a:pt x="374" y="1487"/>
                  </a:lnTo>
                  <a:lnTo>
                    <a:pt x="439" y="1355"/>
                  </a:lnTo>
                  <a:lnTo>
                    <a:pt x="506" y="1225"/>
                  </a:lnTo>
                  <a:lnTo>
                    <a:pt x="575" y="1097"/>
                  </a:lnTo>
                  <a:lnTo>
                    <a:pt x="645" y="974"/>
                  </a:lnTo>
                  <a:lnTo>
                    <a:pt x="716" y="854"/>
                  </a:lnTo>
                  <a:lnTo>
                    <a:pt x="789" y="739"/>
                  </a:lnTo>
                  <a:lnTo>
                    <a:pt x="860" y="629"/>
                  </a:lnTo>
                  <a:lnTo>
                    <a:pt x="929" y="524"/>
                  </a:lnTo>
                  <a:lnTo>
                    <a:pt x="998" y="426"/>
                  </a:lnTo>
                  <a:lnTo>
                    <a:pt x="1064" y="335"/>
                  </a:lnTo>
                  <a:lnTo>
                    <a:pt x="1127" y="251"/>
                  </a:lnTo>
                  <a:lnTo>
                    <a:pt x="1187" y="175"/>
                  </a:lnTo>
                  <a:lnTo>
                    <a:pt x="1243" y="107"/>
                  </a:lnTo>
                  <a:lnTo>
                    <a:pt x="1295" y="49"/>
                  </a:lnTo>
                  <a:lnTo>
                    <a:pt x="1342" y="0"/>
                  </a:lnTo>
                  <a:lnTo>
                    <a:pt x="1310" y="89"/>
                  </a:lnTo>
                  <a:lnTo>
                    <a:pt x="1277" y="188"/>
                  </a:lnTo>
                  <a:lnTo>
                    <a:pt x="1244" y="297"/>
                  </a:lnTo>
                  <a:lnTo>
                    <a:pt x="1211" y="414"/>
                  </a:lnTo>
                  <a:lnTo>
                    <a:pt x="1178" y="539"/>
                  </a:lnTo>
                  <a:lnTo>
                    <a:pt x="1145" y="672"/>
                  </a:lnTo>
                  <a:lnTo>
                    <a:pt x="1111" y="812"/>
                  </a:lnTo>
                  <a:lnTo>
                    <a:pt x="1078" y="957"/>
                  </a:lnTo>
                  <a:lnTo>
                    <a:pt x="1045" y="1110"/>
                  </a:lnTo>
                  <a:lnTo>
                    <a:pt x="1013" y="1266"/>
                  </a:lnTo>
                  <a:lnTo>
                    <a:pt x="980" y="1427"/>
                  </a:lnTo>
                  <a:lnTo>
                    <a:pt x="948" y="1591"/>
                  </a:lnTo>
                  <a:lnTo>
                    <a:pt x="917" y="1759"/>
                  </a:lnTo>
                  <a:lnTo>
                    <a:pt x="886" y="1929"/>
                  </a:lnTo>
                  <a:lnTo>
                    <a:pt x="857" y="2102"/>
                  </a:lnTo>
                  <a:lnTo>
                    <a:pt x="828" y="2274"/>
                  </a:lnTo>
                  <a:lnTo>
                    <a:pt x="799" y="2448"/>
                  </a:lnTo>
                  <a:lnTo>
                    <a:pt x="772" y="2621"/>
                  </a:lnTo>
                  <a:lnTo>
                    <a:pt x="745" y="2794"/>
                  </a:lnTo>
                  <a:lnTo>
                    <a:pt x="720" y="2964"/>
                  </a:lnTo>
                  <a:lnTo>
                    <a:pt x="696" y="3134"/>
                  </a:lnTo>
                  <a:lnTo>
                    <a:pt x="673" y="3300"/>
                  </a:lnTo>
                  <a:lnTo>
                    <a:pt x="652" y="3463"/>
                  </a:lnTo>
                  <a:lnTo>
                    <a:pt x="632" y="3622"/>
                  </a:lnTo>
                  <a:lnTo>
                    <a:pt x="613" y="3777"/>
                  </a:lnTo>
                  <a:lnTo>
                    <a:pt x="597" y="3926"/>
                  </a:lnTo>
                  <a:lnTo>
                    <a:pt x="582" y="4069"/>
                  </a:lnTo>
                  <a:lnTo>
                    <a:pt x="569" y="4207"/>
                  </a:lnTo>
                  <a:lnTo>
                    <a:pt x="558" y="4336"/>
                  </a:lnTo>
                  <a:lnTo>
                    <a:pt x="549" y="4458"/>
                  </a:lnTo>
                  <a:lnTo>
                    <a:pt x="541" y="4571"/>
                  </a:lnTo>
                  <a:lnTo>
                    <a:pt x="536" y="4676"/>
                  </a:lnTo>
                  <a:lnTo>
                    <a:pt x="240" y="352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1" name="Freeform 96"/>
            <p:cNvSpPr>
              <a:spLocks noChangeArrowheads="1"/>
            </p:cNvSpPr>
            <p:nvPr userDrawn="1"/>
          </p:nvSpPr>
          <p:spPr bwMode="auto">
            <a:xfrm>
              <a:off x="1054099" y="4092054"/>
              <a:ext cx="784225" cy="2243150"/>
            </a:xfrm>
            <a:custGeom>
              <a:avLst/>
              <a:gdLst>
                <a:gd name="T0" fmla="*/ 24 w 1737"/>
                <a:gd name="T1" fmla="*/ 3784 h 4038"/>
                <a:gd name="T2" fmla="*/ 91 w 1737"/>
                <a:gd name="T3" fmla="*/ 3400 h 4038"/>
                <a:gd name="T4" fmla="*/ 172 w 1737"/>
                <a:gd name="T5" fmla="*/ 3016 h 4038"/>
                <a:gd name="T6" fmla="*/ 269 w 1737"/>
                <a:gd name="T7" fmla="*/ 2614 h 4038"/>
                <a:gd name="T8" fmla="*/ 413 w 1737"/>
                <a:gd name="T9" fmla="*/ 2131 h 4038"/>
                <a:gd name="T10" fmla="*/ 579 w 1737"/>
                <a:gd name="T11" fmla="*/ 1664 h 4038"/>
                <a:gd name="T12" fmla="*/ 774 w 1737"/>
                <a:gd name="T13" fmla="*/ 1221 h 4038"/>
                <a:gd name="T14" fmla="*/ 997 w 1737"/>
                <a:gd name="T15" fmla="*/ 806 h 4038"/>
                <a:gd name="T16" fmla="*/ 1249 w 1737"/>
                <a:gd name="T17" fmla="*/ 426 h 4038"/>
                <a:gd name="T18" fmla="*/ 1532 w 1737"/>
                <a:gd name="T19" fmla="*/ 87 h 4038"/>
                <a:gd name="T20" fmla="*/ 1621 w 1737"/>
                <a:gd name="T21" fmla="*/ 6 h 4038"/>
                <a:gd name="T22" fmla="*/ 1661 w 1737"/>
                <a:gd name="T23" fmla="*/ 0 h 4038"/>
                <a:gd name="T24" fmla="*/ 1699 w 1737"/>
                <a:gd name="T25" fmla="*/ 13 h 4038"/>
                <a:gd name="T26" fmla="*/ 1725 w 1737"/>
                <a:gd name="T27" fmla="*/ 41 h 4038"/>
                <a:gd name="T28" fmla="*/ 1736 w 1737"/>
                <a:gd name="T29" fmla="*/ 73 h 4038"/>
                <a:gd name="T30" fmla="*/ 1734 w 1737"/>
                <a:gd name="T31" fmla="*/ 106 h 4038"/>
                <a:gd name="T32" fmla="*/ 1651 w 1737"/>
                <a:gd name="T33" fmla="*/ 288 h 4038"/>
                <a:gd name="T34" fmla="*/ 1481 w 1737"/>
                <a:gd name="T35" fmla="*/ 689 h 4038"/>
                <a:gd name="T36" fmla="*/ 1339 w 1737"/>
                <a:gd name="T37" fmla="*/ 1085 h 4038"/>
                <a:gd name="T38" fmla="*/ 1219 w 1737"/>
                <a:gd name="T39" fmla="*/ 1485 h 4038"/>
                <a:gd name="T40" fmla="*/ 1120 w 1737"/>
                <a:gd name="T41" fmla="*/ 1901 h 4038"/>
                <a:gd name="T42" fmla="*/ 1039 w 1737"/>
                <a:gd name="T43" fmla="*/ 2341 h 4038"/>
                <a:gd name="T44" fmla="*/ 974 w 1737"/>
                <a:gd name="T45" fmla="*/ 2815 h 4038"/>
                <a:gd name="T46" fmla="*/ 955 w 1737"/>
                <a:gd name="T47" fmla="*/ 2858 h 4038"/>
                <a:gd name="T48" fmla="*/ 911 w 1737"/>
                <a:gd name="T49" fmla="*/ 2898 h 4038"/>
                <a:gd name="T50" fmla="*/ 853 w 1737"/>
                <a:gd name="T51" fmla="*/ 2991 h 4038"/>
                <a:gd name="T52" fmla="*/ 754 w 1737"/>
                <a:gd name="T53" fmla="*/ 3231 h 4038"/>
                <a:gd name="T54" fmla="*/ 711 w 1737"/>
                <a:gd name="T55" fmla="*/ 3342 h 4038"/>
                <a:gd name="T56" fmla="*/ 666 w 1737"/>
                <a:gd name="T57" fmla="*/ 3444 h 4038"/>
                <a:gd name="T58" fmla="*/ 605 w 1737"/>
                <a:gd name="T59" fmla="*/ 3528 h 4038"/>
                <a:gd name="T60" fmla="*/ 510 w 1737"/>
                <a:gd name="T61" fmla="*/ 3641 h 4038"/>
                <a:gd name="T62" fmla="*/ 333 w 1737"/>
                <a:gd name="T63" fmla="*/ 3814 h 4038"/>
                <a:gd name="T64" fmla="*/ 201 w 1737"/>
                <a:gd name="T65" fmla="*/ 3946 h 4038"/>
                <a:gd name="T66" fmla="*/ 131 w 1737"/>
                <a:gd name="T67" fmla="*/ 4024 h 4038"/>
                <a:gd name="T68" fmla="*/ 93 w 1737"/>
                <a:gd name="T69" fmla="*/ 4037 h 4038"/>
                <a:gd name="T70" fmla="*/ 53 w 1737"/>
                <a:gd name="T71" fmla="*/ 4033 h 4038"/>
                <a:gd name="T72" fmla="*/ 15 w 1737"/>
                <a:gd name="T73" fmla="*/ 4003 h 4038"/>
                <a:gd name="T74" fmla="*/ 0 w 1737"/>
                <a:gd name="T75" fmla="*/ 3953 h 4038"/>
                <a:gd name="T76" fmla="*/ 256 w 1737"/>
                <a:gd name="T77" fmla="*/ 3442 h 4038"/>
                <a:gd name="T78" fmla="*/ 217 w 1737"/>
                <a:gd name="T79" fmla="*/ 3654 h 4038"/>
                <a:gd name="T80" fmla="*/ 349 w 1737"/>
                <a:gd name="T81" fmla="*/ 3565 h 4038"/>
                <a:gd name="T82" fmla="*/ 486 w 1737"/>
                <a:gd name="T83" fmla="*/ 3406 h 4038"/>
                <a:gd name="T84" fmla="*/ 546 w 1737"/>
                <a:gd name="T85" fmla="*/ 3296 h 4038"/>
                <a:gd name="T86" fmla="*/ 595 w 1737"/>
                <a:gd name="T87" fmla="*/ 3172 h 4038"/>
                <a:gd name="T88" fmla="*/ 691 w 1737"/>
                <a:gd name="T89" fmla="*/ 2941 h 4038"/>
                <a:gd name="T90" fmla="*/ 761 w 1737"/>
                <a:gd name="T91" fmla="*/ 2818 h 4038"/>
                <a:gd name="T92" fmla="*/ 835 w 1737"/>
                <a:gd name="T93" fmla="*/ 2570 h 4038"/>
                <a:gd name="T94" fmla="*/ 906 w 1737"/>
                <a:gd name="T95" fmla="*/ 2114 h 4038"/>
                <a:gd name="T96" fmla="*/ 995 w 1737"/>
                <a:gd name="T97" fmla="*/ 1686 h 4038"/>
                <a:gd name="T98" fmla="*/ 1092 w 1737"/>
                <a:gd name="T99" fmla="*/ 1310 h 4038"/>
                <a:gd name="T100" fmla="*/ 1166 w 1737"/>
                <a:gd name="T101" fmla="*/ 1069 h 4038"/>
                <a:gd name="T102" fmla="*/ 1248 w 1737"/>
                <a:gd name="T103" fmla="*/ 829 h 4038"/>
                <a:gd name="T104" fmla="*/ 1339 w 1737"/>
                <a:gd name="T105" fmla="*/ 589 h 4038"/>
                <a:gd name="T106" fmla="*/ 1149 w 1737"/>
                <a:gd name="T107" fmla="*/ 881 h 4038"/>
                <a:gd name="T108" fmla="*/ 976 w 1737"/>
                <a:gd name="T109" fmla="*/ 1194 h 4038"/>
                <a:gd name="T110" fmla="*/ 820 w 1737"/>
                <a:gd name="T111" fmla="*/ 1526 h 4038"/>
                <a:gd name="T112" fmla="*/ 681 w 1737"/>
                <a:gd name="T113" fmla="*/ 1873 h 4038"/>
                <a:gd name="T114" fmla="*/ 557 w 1737"/>
                <a:gd name="T115" fmla="*/ 2233 h 4038"/>
                <a:gd name="T116" fmla="*/ 448 w 1737"/>
                <a:gd name="T117" fmla="*/ 2603 h 4038"/>
                <a:gd name="T118" fmla="*/ 353 w 1737"/>
                <a:gd name="T119" fmla="*/ 2979 h 4038"/>
                <a:gd name="T120" fmla="*/ 273 w 1737"/>
                <a:gd name="T121" fmla="*/ 3356 h 4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7" h="4038">
                  <a:moveTo>
                    <a:pt x="1" y="3943"/>
                  </a:moveTo>
                  <a:lnTo>
                    <a:pt x="1" y="3940"/>
                  </a:lnTo>
                  <a:lnTo>
                    <a:pt x="2" y="3937"/>
                  </a:lnTo>
                  <a:lnTo>
                    <a:pt x="12" y="3860"/>
                  </a:lnTo>
                  <a:lnTo>
                    <a:pt x="24" y="3784"/>
                  </a:lnTo>
                  <a:lnTo>
                    <a:pt x="37" y="3708"/>
                  </a:lnTo>
                  <a:lnTo>
                    <a:pt x="50" y="3630"/>
                  </a:lnTo>
                  <a:lnTo>
                    <a:pt x="63" y="3554"/>
                  </a:lnTo>
                  <a:lnTo>
                    <a:pt x="77" y="3477"/>
                  </a:lnTo>
                  <a:lnTo>
                    <a:pt x="91" y="3400"/>
                  </a:lnTo>
                  <a:lnTo>
                    <a:pt x="107" y="3324"/>
                  </a:lnTo>
                  <a:lnTo>
                    <a:pt x="122" y="3247"/>
                  </a:lnTo>
                  <a:lnTo>
                    <a:pt x="138" y="3169"/>
                  </a:lnTo>
                  <a:lnTo>
                    <a:pt x="154" y="3093"/>
                  </a:lnTo>
                  <a:lnTo>
                    <a:pt x="172" y="3016"/>
                  </a:lnTo>
                  <a:lnTo>
                    <a:pt x="188" y="2940"/>
                  </a:lnTo>
                  <a:lnTo>
                    <a:pt x="207" y="2863"/>
                  </a:lnTo>
                  <a:lnTo>
                    <a:pt x="225" y="2787"/>
                  </a:lnTo>
                  <a:lnTo>
                    <a:pt x="245" y="2711"/>
                  </a:lnTo>
                  <a:lnTo>
                    <a:pt x="269" y="2614"/>
                  </a:lnTo>
                  <a:lnTo>
                    <a:pt x="296" y="2516"/>
                  </a:lnTo>
                  <a:lnTo>
                    <a:pt x="324" y="2419"/>
                  </a:lnTo>
                  <a:lnTo>
                    <a:pt x="353" y="2322"/>
                  </a:lnTo>
                  <a:lnTo>
                    <a:pt x="382" y="2226"/>
                  </a:lnTo>
                  <a:lnTo>
                    <a:pt x="413" y="2131"/>
                  </a:lnTo>
                  <a:lnTo>
                    <a:pt x="443" y="2037"/>
                  </a:lnTo>
                  <a:lnTo>
                    <a:pt x="476" y="1942"/>
                  </a:lnTo>
                  <a:lnTo>
                    <a:pt x="509" y="1849"/>
                  </a:lnTo>
                  <a:lnTo>
                    <a:pt x="544" y="1756"/>
                  </a:lnTo>
                  <a:lnTo>
                    <a:pt x="579" y="1664"/>
                  </a:lnTo>
                  <a:lnTo>
                    <a:pt x="617" y="1574"/>
                  </a:lnTo>
                  <a:lnTo>
                    <a:pt x="655" y="1484"/>
                  </a:lnTo>
                  <a:lnTo>
                    <a:pt x="694" y="1395"/>
                  </a:lnTo>
                  <a:lnTo>
                    <a:pt x="733" y="1308"/>
                  </a:lnTo>
                  <a:lnTo>
                    <a:pt x="774" y="1221"/>
                  </a:lnTo>
                  <a:lnTo>
                    <a:pt x="816" y="1136"/>
                  </a:lnTo>
                  <a:lnTo>
                    <a:pt x="860" y="1051"/>
                  </a:lnTo>
                  <a:lnTo>
                    <a:pt x="904" y="969"/>
                  </a:lnTo>
                  <a:lnTo>
                    <a:pt x="950" y="886"/>
                  </a:lnTo>
                  <a:lnTo>
                    <a:pt x="997" y="806"/>
                  </a:lnTo>
                  <a:lnTo>
                    <a:pt x="1045" y="727"/>
                  </a:lnTo>
                  <a:lnTo>
                    <a:pt x="1094" y="649"/>
                  </a:lnTo>
                  <a:lnTo>
                    <a:pt x="1145" y="574"/>
                  </a:lnTo>
                  <a:lnTo>
                    <a:pt x="1196" y="499"/>
                  </a:lnTo>
                  <a:lnTo>
                    <a:pt x="1249" y="426"/>
                  </a:lnTo>
                  <a:lnTo>
                    <a:pt x="1303" y="354"/>
                  </a:lnTo>
                  <a:lnTo>
                    <a:pt x="1358" y="285"/>
                  </a:lnTo>
                  <a:lnTo>
                    <a:pt x="1415" y="217"/>
                  </a:lnTo>
                  <a:lnTo>
                    <a:pt x="1472" y="151"/>
                  </a:lnTo>
                  <a:lnTo>
                    <a:pt x="1532" y="87"/>
                  </a:lnTo>
                  <a:lnTo>
                    <a:pt x="1593" y="24"/>
                  </a:lnTo>
                  <a:lnTo>
                    <a:pt x="1599" y="19"/>
                  </a:lnTo>
                  <a:lnTo>
                    <a:pt x="1606" y="14"/>
                  </a:lnTo>
                  <a:lnTo>
                    <a:pt x="1614" y="9"/>
                  </a:lnTo>
                  <a:lnTo>
                    <a:pt x="1621" y="6"/>
                  </a:lnTo>
                  <a:lnTo>
                    <a:pt x="1628" y="3"/>
                  </a:lnTo>
                  <a:lnTo>
                    <a:pt x="1636" y="1"/>
                  </a:lnTo>
                  <a:lnTo>
                    <a:pt x="1644" y="0"/>
                  </a:lnTo>
                  <a:lnTo>
                    <a:pt x="1653" y="0"/>
                  </a:lnTo>
                  <a:lnTo>
                    <a:pt x="1661" y="0"/>
                  </a:lnTo>
                  <a:lnTo>
                    <a:pt x="1669" y="1"/>
                  </a:lnTo>
                  <a:lnTo>
                    <a:pt x="1676" y="3"/>
                  </a:lnTo>
                  <a:lnTo>
                    <a:pt x="1685" y="6"/>
                  </a:lnTo>
                  <a:lnTo>
                    <a:pt x="1692" y="9"/>
                  </a:lnTo>
                  <a:lnTo>
                    <a:pt x="1699" y="13"/>
                  </a:lnTo>
                  <a:lnTo>
                    <a:pt x="1706" y="18"/>
                  </a:lnTo>
                  <a:lnTo>
                    <a:pt x="1712" y="24"/>
                  </a:lnTo>
                  <a:lnTo>
                    <a:pt x="1717" y="30"/>
                  </a:lnTo>
                  <a:lnTo>
                    <a:pt x="1722" y="35"/>
                  </a:lnTo>
                  <a:lnTo>
                    <a:pt x="1725" y="41"/>
                  </a:lnTo>
                  <a:lnTo>
                    <a:pt x="1728" y="47"/>
                  </a:lnTo>
                  <a:lnTo>
                    <a:pt x="1731" y="53"/>
                  </a:lnTo>
                  <a:lnTo>
                    <a:pt x="1733" y="59"/>
                  </a:lnTo>
                  <a:lnTo>
                    <a:pt x="1735" y="66"/>
                  </a:lnTo>
                  <a:lnTo>
                    <a:pt x="1736" y="73"/>
                  </a:lnTo>
                  <a:lnTo>
                    <a:pt x="1737" y="79"/>
                  </a:lnTo>
                  <a:lnTo>
                    <a:pt x="1737" y="86"/>
                  </a:lnTo>
                  <a:lnTo>
                    <a:pt x="1736" y="92"/>
                  </a:lnTo>
                  <a:lnTo>
                    <a:pt x="1736" y="100"/>
                  </a:lnTo>
                  <a:lnTo>
                    <a:pt x="1734" y="106"/>
                  </a:lnTo>
                  <a:lnTo>
                    <a:pt x="1732" y="112"/>
                  </a:lnTo>
                  <a:lnTo>
                    <a:pt x="1730" y="118"/>
                  </a:lnTo>
                  <a:lnTo>
                    <a:pt x="1727" y="124"/>
                  </a:lnTo>
                  <a:lnTo>
                    <a:pt x="1688" y="207"/>
                  </a:lnTo>
                  <a:lnTo>
                    <a:pt x="1651" y="288"/>
                  </a:lnTo>
                  <a:lnTo>
                    <a:pt x="1615" y="370"/>
                  </a:lnTo>
                  <a:lnTo>
                    <a:pt x="1580" y="450"/>
                  </a:lnTo>
                  <a:lnTo>
                    <a:pt x="1546" y="531"/>
                  </a:lnTo>
                  <a:lnTo>
                    <a:pt x="1513" y="610"/>
                  </a:lnTo>
                  <a:lnTo>
                    <a:pt x="1481" y="689"/>
                  </a:lnTo>
                  <a:lnTo>
                    <a:pt x="1451" y="769"/>
                  </a:lnTo>
                  <a:lnTo>
                    <a:pt x="1421" y="848"/>
                  </a:lnTo>
                  <a:lnTo>
                    <a:pt x="1392" y="926"/>
                  </a:lnTo>
                  <a:lnTo>
                    <a:pt x="1364" y="1006"/>
                  </a:lnTo>
                  <a:lnTo>
                    <a:pt x="1339" y="1085"/>
                  </a:lnTo>
                  <a:lnTo>
                    <a:pt x="1313" y="1164"/>
                  </a:lnTo>
                  <a:lnTo>
                    <a:pt x="1288" y="1244"/>
                  </a:lnTo>
                  <a:lnTo>
                    <a:pt x="1263" y="1324"/>
                  </a:lnTo>
                  <a:lnTo>
                    <a:pt x="1241" y="1404"/>
                  </a:lnTo>
                  <a:lnTo>
                    <a:pt x="1219" y="1485"/>
                  </a:lnTo>
                  <a:lnTo>
                    <a:pt x="1197" y="1567"/>
                  </a:lnTo>
                  <a:lnTo>
                    <a:pt x="1177" y="1649"/>
                  </a:lnTo>
                  <a:lnTo>
                    <a:pt x="1157" y="1732"/>
                  </a:lnTo>
                  <a:lnTo>
                    <a:pt x="1138" y="1816"/>
                  </a:lnTo>
                  <a:lnTo>
                    <a:pt x="1120" y="1901"/>
                  </a:lnTo>
                  <a:lnTo>
                    <a:pt x="1103" y="1986"/>
                  </a:lnTo>
                  <a:lnTo>
                    <a:pt x="1086" y="2074"/>
                  </a:lnTo>
                  <a:lnTo>
                    <a:pt x="1070" y="2161"/>
                  </a:lnTo>
                  <a:lnTo>
                    <a:pt x="1054" y="2250"/>
                  </a:lnTo>
                  <a:lnTo>
                    <a:pt x="1039" y="2341"/>
                  </a:lnTo>
                  <a:lnTo>
                    <a:pt x="1025" y="2432"/>
                  </a:lnTo>
                  <a:lnTo>
                    <a:pt x="1011" y="2526"/>
                  </a:lnTo>
                  <a:lnTo>
                    <a:pt x="999" y="2621"/>
                  </a:lnTo>
                  <a:lnTo>
                    <a:pt x="985" y="2717"/>
                  </a:lnTo>
                  <a:lnTo>
                    <a:pt x="974" y="2815"/>
                  </a:lnTo>
                  <a:lnTo>
                    <a:pt x="972" y="2825"/>
                  </a:lnTo>
                  <a:lnTo>
                    <a:pt x="969" y="2833"/>
                  </a:lnTo>
                  <a:lnTo>
                    <a:pt x="966" y="2843"/>
                  </a:lnTo>
                  <a:lnTo>
                    <a:pt x="961" y="2851"/>
                  </a:lnTo>
                  <a:lnTo>
                    <a:pt x="955" y="2858"/>
                  </a:lnTo>
                  <a:lnTo>
                    <a:pt x="949" y="2865"/>
                  </a:lnTo>
                  <a:lnTo>
                    <a:pt x="942" y="2872"/>
                  </a:lnTo>
                  <a:lnTo>
                    <a:pt x="935" y="2877"/>
                  </a:lnTo>
                  <a:lnTo>
                    <a:pt x="923" y="2887"/>
                  </a:lnTo>
                  <a:lnTo>
                    <a:pt x="911" y="2898"/>
                  </a:lnTo>
                  <a:lnTo>
                    <a:pt x="900" y="2913"/>
                  </a:lnTo>
                  <a:lnTo>
                    <a:pt x="887" y="2930"/>
                  </a:lnTo>
                  <a:lnTo>
                    <a:pt x="876" y="2949"/>
                  </a:lnTo>
                  <a:lnTo>
                    <a:pt x="865" y="2969"/>
                  </a:lnTo>
                  <a:lnTo>
                    <a:pt x="853" y="2991"/>
                  </a:lnTo>
                  <a:lnTo>
                    <a:pt x="842" y="3015"/>
                  </a:lnTo>
                  <a:lnTo>
                    <a:pt x="819" y="3065"/>
                  </a:lnTo>
                  <a:lnTo>
                    <a:pt x="797" y="3120"/>
                  </a:lnTo>
                  <a:lnTo>
                    <a:pt x="775" y="3176"/>
                  </a:lnTo>
                  <a:lnTo>
                    <a:pt x="754" y="3231"/>
                  </a:lnTo>
                  <a:lnTo>
                    <a:pt x="754" y="3232"/>
                  </a:lnTo>
                  <a:lnTo>
                    <a:pt x="743" y="3260"/>
                  </a:lnTo>
                  <a:lnTo>
                    <a:pt x="732" y="3288"/>
                  </a:lnTo>
                  <a:lnTo>
                    <a:pt x="722" y="3315"/>
                  </a:lnTo>
                  <a:lnTo>
                    <a:pt x="711" y="3342"/>
                  </a:lnTo>
                  <a:lnTo>
                    <a:pt x="701" y="3367"/>
                  </a:lnTo>
                  <a:lnTo>
                    <a:pt x="690" y="3392"/>
                  </a:lnTo>
                  <a:lnTo>
                    <a:pt x="679" y="3416"/>
                  </a:lnTo>
                  <a:lnTo>
                    <a:pt x="668" y="3439"/>
                  </a:lnTo>
                  <a:lnTo>
                    <a:pt x="666" y="3444"/>
                  </a:lnTo>
                  <a:lnTo>
                    <a:pt x="663" y="3448"/>
                  </a:lnTo>
                  <a:lnTo>
                    <a:pt x="644" y="3476"/>
                  </a:lnTo>
                  <a:lnTo>
                    <a:pt x="625" y="3502"/>
                  </a:lnTo>
                  <a:lnTo>
                    <a:pt x="605" y="3528"/>
                  </a:lnTo>
                  <a:lnTo>
                    <a:pt x="587" y="3553"/>
                  </a:lnTo>
                  <a:lnTo>
                    <a:pt x="567" y="3577"/>
                  </a:lnTo>
                  <a:lnTo>
                    <a:pt x="549" y="3598"/>
                  </a:lnTo>
                  <a:lnTo>
                    <a:pt x="530" y="3620"/>
                  </a:lnTo>
                  <a:lnTo>
                    <a:pt x="510" y="3641"/>
                  </a:lnTo>
                  <a:lnTo>
                    <a:pt x="472" y="3681"/>
                  </a:lnTo>
                  <a:lnTo>
                    <a:pt x="435" y="3718"/>
                  </a:lnTo>
                  <a:lnTo>
                    <a:pt x="397" y="3754"/>
                  </a:lnTo>
                  <a:lnTo>
                    <a:pt x="359" y="3789"/>
                  </a:lnTo>
                  <a:lnTo>
                    <a:pt x="333" y="3814"/>
                  </a:lnTo>
                  <a:lnTo>
                    <a:pt x="306" y="3838"/>
                  </a:lnTo>
                  <a:lnTo>
                    <a:pt x="280" y="3864"/>
                  </a:lnTo>
                  <a:lnTo>
                    <a:pt x="254" y="3890"/>
                  </a:lnTo>
                  <a:lnTo>
                    <a:pt x="227" y="3917"/>
                  </a:lnTo>
                  <a:lnTo>
                    <a:pt x="201" y="3946"/>
                  </a:lnTo>
                  <a:lnTo>
                    <a:pt x="176" y="3976"/>
                  </a:lnTo>
                  <a:lnTo>
                    <a:pt x="150" y="4007"/>
                  </a:lnTo>
                  <a:lnTo>
                    <a:pt x="144" y="4013"/>
                  </a:lnTo>
                  <a:lnTo>
                    <a:pt x="138" y="4019"/>
                  </a:lnTo>
                  <a:lnTo>
                    <a:pt x="131" y="4024"/>
                  </a:lnTo>
                  <a:lnTo>
                    <a:pt x="124" y="4028"/>
                  </a:lnTo>
                  <a:lnTo>
                    <a:pt x="117" y="4032"/>
                  </a:lnTo>
                  <a:lnTo>
                    <a:pt x="109" y="4034"/>
                  </a:lnTo>
                  <a:lnTo>
                    <a:pt x="100" y="4036"/>
                  </a:lnTo>
                  <a:lnTo>
                    <a:pt x="93" y="4037"/>
                  </a:lnTo>
                  <a:lnTo>
                    <a:pt x="85" y="4038"/>
                  </a:lnTo>
                  <a:lnTo>
                    <a:pt x="77" y="4038"/>
                  </a:lnTo>
                  <a:lnTo>
                    <a:pt x="69" y="4037"/>
                  </a:lnTo>
                  <a:lnTo>
                    <a:pt x="60" y="4035"/>
                  </a:lnTo>
                  <a:lnTo>
                    <a:pt x="53" y="4033"/>
                  </a:lnTo>
                  <a:lnTo>
                    <a:pt x="45" y="4029"/>
                  </a:lnTo>
                  <a:lnTo>
                    <a:pt x="38" y="4025"/>
                  </a:lnTo>
                  <a:lnTo>
                    <a:pt x="30" y="4020"/>
                  </a:lnTo>
                  <a:lnTo>
                    <a:pt x="22" y="4013"/>
                  </a:lnTo>
                  <a:lnTo>
                    <a:pt x="15" y="4003"/>
                  </a:lnTo>
                  <a:lnTo>
                    <a:pt x="10" y="3994"/>
                  </a:lnTo>
                  <a:lnTo>
                    <a:pt x="6" y="3985"/>
                  </a:lnTo>
                  <a:lnTo>
                    <a:pt x="2" y="3975"/>
                  </a:lnTo>
                  <a:lnTo>
                    <a:pt x="1" y="3964"/>
                  </a:lnTo>
                  <a:lnTo>
                    <a:pt x="0" y="3953"/>
                  </a:lnTo>
                  <a:lnTo>
                    <a:pt x="1" y="3943"/>
                  </a:lnTo>
                  <a:close/>
                  <a:moveTo>
                    <a:pt x="273" y="3356"/>
                  </a:moveTo>
                  <a:lnTo>
                    <a:pt x="263" y="3398"/>
                  </a:lnTo>
                  <a:lnTo>
                    <a:pt x="256" y="3442"/>
                  </a:lnTo>
                  <a:lnTo>
                    <a:pt x="248" y="3484"/>
                  </a:lnTo>
                  <a:lnTo>
                    <a:pt x="240" y="3527"/>
                  </a:lnTo>
                  <a:lnTo>
                    <a:pt x="232" y="3569"/>
                  </a:lnTo>
                  <a:lnTo>
                    <a:pt x="224" y="3612"/>
                  </a:lnTo>
                  <a:lnTo>
                    <a:pt x="217" y="3654"/>
                  </a:lnTo>
                  <a:lnTo>
                    <a:pt x="210" y="3696"/>
                  </a:lnTo>
                  <a:lnTo>
                    <a:pt x="245" y="3664"/>
                  </a:lnTo>
                  <a:lnTo>
                    <a:pt x="280" y="3632"/>
                  </a:lnTo>
                  <a:lnTo>
                    <a:pt x="314" y="3599"/>
                  </a:lnTo>
                  <a:lnTo>
                    <a:pt x="349" y="3565"/>
                  </a:lnTo>
                  <a:lnTo>
                    <a:pt x="383" y="3529"/>
                  </a:lnTo>
                  <a:lnTo>
                    <a:pt x="418" y="3491"/>
                  </a:lnTo>
                  <a:lnTo>
                    <a:pt x="452" y="3450"/>
                  </a:lnTo>
                  <a:lnTo>
                    <a:pt x="469" y="3428"/>
                  </a:lnTo>
                  <a:lnTo>
                    <a:pt x="486" y="3406"/>
                  </a:lnTo>
                  <a:lnTo>
                    <a:pt x="503" y="3382"/>
                  </a:lnTo>
                  <a:lnTo>
                    <a:pt x="520" y="3357"/>
                  </a:lnTo>
                  <a:lnTo>
                    <a:pt x="529" y="3339"/>
                  </a:lnTo>
                  <a:lnTo>
                    <a:pt x="538" y="3318"/>
                  </a:lnTo>
                  <a:lnTo>
                    <a:pt x="546" y="3296"/>
                  </a:lnTo>
                  <a:lnTo>
                    <a:pt x="557" y="3273"/>
                  </a:lnTo>
                  <a:lnTo>
                    <a:pt x="566" y="3249"/>
                  </a:lnTo>
                  <a:lnTo>
                    <a:pt x="575" y="3224"/>
                  </a:lnTo>
                  <a:lnTo>
                    <a:pt x="586" y="3198"/>
                  </a:lnTo>
                  <a:lnTo>
                    <a:pt x="595" y="3172"/>
                  </a:lnTo>
                  <a:lnTo>
                    <a:pt x="596" y="3172"/>
                  </a:lnTo>
                  <a:lnTo>
                    <a:pt x="618" y="3113"/>
                  </a:lnTo>
                  <a:lnTo>
                    <a:pt x="640" y="3054"/>
                  </a:lnTo>
                  <a:lnTo>
                    <a:pt x="665" y="2996"/>
                  </a:lnTo>
                  <a:lnTo>
                    <a:pt x="691" y="2941"/>
                  </a:lnTo>
                  <a:lnTo>
                    <a:pt x="703" y="2914"/>
                  </a:lnTo>
                  <a:lnTo>
                    <a:pt x="717" y="2888"/>
                  </a:lnTo>
                  <a:lnTo>
                    <a:pt x="731" y="2863"/>
                  </a:lnTo>
                  <a:lnTo>
                    <a:pt x="745" y="2841"/>
                  </a:lnTo>
                  <a:lnTo>
                    <a:pt x="761" y="2818"/>
                  </a:lnTo>
                  <a:lnTo>
                    <a:pt x="776" y="2797"/>
                  </a:lnTo>
                  <a:lnTo>
                    <a:pt x="793" y="2779"/>
                  </a:lnTo>
                  <a:lnTo>
                    <a:pt x="810" y="2761"/>
                  </a:lnTo>
                  <a:lnTo>
                    <a:pt x="821" y="2664"/>
                  </a:lnTo>
                  <a:lnTo>
                    <a:pt x="835" y="2570"/>
                  </a:lnTo>
                  <a:lnTo>
                    <a:pt x="847" y="2476"/>
                  </a:lnTo>
                  <a:lnTo>
                    <a:pt x="862" y="2383"/>
                  </a:lnTo>
                  <a:lnTo>
                    <a:pt x="876" y="2292"/>
                  </a:lnTo>
                  <a:lnTo>
                    <a:pt x="891" y="2203"/>
                  </a:lnTo>
                  <a:lnTo>
                    <a:pt x="906" y="2114"/>
                  </a:lnTo>
                  <a:lnTo>
                    <a:pt x="922" y="2026"/>
                  </a:lnTo>
                  <a:lnTo>
                    <a:pt x="939" y="1940"/>
                  </a:lnTo>
                  <a:lnTo>
                    <a:pt x="956" y="1855"/>
                  </a:lnTo>
                  <a:lnTo>
                    <a:pt x="975" y="1771"/>
                  </a:lnTo>
                  <a:lnTo>
                    <a:pt x="995" y="1686"/>
                  </a:lnTo>
                  <a:lnTo>
                    <a:pt x="1014" y="1604"/>
                  </a:lnTo>
                  <a:lnTo>
                    <a:pt x="1035" y="1521"/>
                  </a:lnTo>
                  <a:lnTo>
                    <a:pt x="1056" y="1440"/>
                  </a:lnTo>
                  <a:lnTo>
                    <a:pt x="1078" y="1358"/>
                  </a:lnTo>
                  <a:lnTo>
                    <a:pt x="1092" y="1310"/>
                  </a:lnTo>
                  <a:lnTo>
                    <a:pt x="1106" y="1261"/>
                  </a:lnTo>
                  <a:lnTo>
                    <a:pt x="1120" y="1213"/>
                  </a:lnTo>
                  <a:lnTo>
                    <a:pt x="1136" y="1164"/>
                  </a:lnTo>
                  <a:lnTo>
                    <a:pt x="1150" y="1117"/>
                  </a:lnTo>
                  <a:lnTo>
                    <a:pt x="1166" y="1069"/>
                  </a:lnTo>
                  <a:lnTo>
                    <a:pt x="1181" y="1021"/>
                  </a:lnTo>
                  <a:lnTo>
                    <a:pt x="1197" y="973"/>
                  </a:lnTo>
                  <a:lnTo>
                    <a:pt x="1214" y="925"/>
                  </a:lnTo>
                  <a:lnTo>
                    <a:pt x="1230" y="877"/>
                  </a:lnTo>
                  <a:lnTo>
                    <a:pt x="1248" y="829"/>
                  </a:lnTo>
                  <a:lnTo>
                    <a:pt x="1265" y="781"/>
                  </a:lnTo>
                  <a:lnTo>
                    <a:pt x="1283" y="734"/>
                  </a:lnTo>
                  <a:lnTo>
                    <a:pt x="1301" y="686"/>
                  </a:lnTo>
                  <a:lnTo>
                    <a:pt x="1320" y="638"/>
                  </a:lnTo>
                  <a:lnTo>
                    <a:pt x="1339" y="589"/>
                  </a:lnTo>
                  <a:lnTo>
                    <a:pt x="1299" y="646"/>
                  </a:lnTo>
                  <a:lnTo>
                    <a:pt x="1260" y="704"/>
                  </a:lnTo>
                  <a:lnTo>
                    <a:pt x="1223" y="762"/>
                  </a:lnTo>
                  <a:lnTo>
                    <a:pt x="1185" y="821"/>
                  </a:lnTo>
                  <a:lnTo>
                    <a:pt x="1149" y="881"/>
                  </a:lnTo>
                  <a:lnTo>
                    <a:pt x="1113" y="942"/>
                  </a:lnTo>
                  <a:lnTo>
                    <a:pt x="1078" y="1004"/>
                  </a:lnTo>
                  <a:lnTo>
                    <a:pt x="1043" y="1067"/>
                  </a:lnTo>
                  <a:lnTo>
                    <a:pt x="1009" y="1130"/>
                  </a:lnTo>
                  <a:lnTo>
                    <a:pt x="976" y="1194"/>
                  </a:lnTo>
                  <a:lnTo>
                    <a:pt x="944" y="1259"/>
                  </a:lnTo>
                  <a:lnTo>
                    <a:pt x="912" y="1325"/>
                  </a:lnTo>
                  <a:lnTo>
                    <a:pt x="881" y="1391"/>
                  </a:lnTo>
                  <a:lnTo>
                    <a:pt x="850" y="1458"/>
                  </a:lnTo>
                  <a:lnTo>
                    <a:pt x="820" y="1526"/>
                  </a:lnTo>
                  <a:lnTo>
                    <a:pt x="792" y="1594"/>
                  </a:lnTo>
                  <a:lnTo>
                    <a:pt x="763" y="1663"/>
                  </a:lnTo>
                  <a:lnTo>
                    <a:pt x="735" y="1732"/>
                  </a:lnTo>
                  <a:lnTo>
                    <a:pt x="707" y="1803"/>
                  </a:lnTo>
                  <a:lnTo>
                    <a:pt x="681" y="1873"/>
                  </a:lnTo>
                  <a:lnTo>
                    <a:pt x="655" y="1945"/>
                  </a:lnTo>
                  <a:lnTo>
                    <a:pt x="630" y="2016"/>
                  </a:lnTo>
                  <a:lnTo>
                    <a:pt x="605" y="2088"/>
                  </a:lnTo>
                  <a:lnTo>
                    <a:pt x="580" y="2160"/>
                  </a:lnTo>
                  <a:lnTo>
                    <a:pt x="557" y="2233"/>
                  </a:lnTo>
                  <a:lnTo>
                    <a:pt x="534" y="2307"/>
                  </a:lnTo>
                  <a:lnTo>
                    <a:pt x="511" y="2380"/>
                  </a:lnTo>
                  <a:lnTo>
                    <a:pt x="490" y="2454"/>
                  </a:lnTo>
                  <a:lnTo>
                    <a:pt x="468" y="2528"/>
                  </a:lnTo>
                  <a:lnTo>
                    <a:pt x="448" y="2603"/>
                  </a:lnTo>
                  <a:lnTo>
                    <a:pt x="428" y="2678"/>
                  </a:lnTo>
                  <a:lnTo>
                    <a:pt x="408" y="2753"/>
                  </a:lnTo>
                  <a:lnTo>
                    <a:pt x="389" y="2828"/>
                  </a:lnTo>
                  <a:lnTo>
                    <a:pt x="371" y="2904"/>
                  </a:lnTo>
                  <a:lnTo>
                    <a:pt x="353" y="2979"/>
                  </a:lnTo>
                  <a:lnTo>
                    <a:pt x="335" y="3054"/>
                  </a:lnTo>
                  <a:lnTo>
                    <a:pt x="319" y="3129"/>
                  </a:lnTo>
                  <a:lnTo>
                    <a:pt x="302" y="3206"/>
                  </a:lnTo>
                  <a:lnTo>
                    <a:pt x="287" y="3281"/>
                  </a:lnTo>
                  <a:lnTo>
                    <a:pt x="273" y="33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2" name="Freeform 97"/>
            <p:cNvSpPr>
              <a:spLocks noChangeArrowheads="1"/>
            </p:cNvSpPr>
            <p:nvPr userDrawn="1"/>
          </p:nvSpPr>
          <p:spPr bwMode="auto">
            <a:xfrm>
              <a:off x="1090612" y="4143970"/>
              <a:ext cx="704850" cy="2137528"/>
            </a:xfrm>
            <a:custGeom>
              <a:avLst/>
              <a:gdLst>
                <a:gd name="T0" fmla="*/ 21 w 1569"/>
                <a:gd name="T1" fmla="*/ 3733 h 3868"/>
                <a:gd name="T2" fmla="*/ 66 w 1569"/>
                <a:gd name="T3" fmla="*/ 3460 h 3868"/>
                <a:gd name="T4" fmla="*/ 118 w 1569"/>
                <a:gd name="T5" fmla="*/ 3188 h 3868"/>
                <a:gd name="T6" fmla="*/ 177 w 1569"/>
                <a:gd name="T7" fmla="*/ 2915 h 3868"/>
                <a:gd name="T8" fmla="*/ 243 w 1569"/>
                <a:gd name="T9" fmla="*/ 2644 h 3868"/>
                <a:gd name="T10" fmla="*/ 315 w 1569"/>
                <a:gd name="T11" fmla="*/ 2377 h 3868"/>
                <a:gd name="T12" fmla="*/ 396 w 1569"/>
                <a:gd name="T13" fmla="*/ 2113 h 3868"/>
                <a:gd name="T14" fmla="*/ 483 w 1569"/>
                <a:gd name="T15" fmla="*/ 1855 h 3868"/>
                <a:gd name="T16" fmla="*/ 579 w 1569"/>
                <a:gd name="T17" fmla="*/ 1601 h 3868"/>
                <a:gd name="T18" fmla="*/ 682 w 1569"/>
                <a:gd name="T19" fmla="*/ 1355 h 3868"/>
                <a:gd name="T20" fmla="*/ 794 w 1569"/>
                <a:gd name="T21" fmla="*/ 1118 h 3868"/>
                <a:gd name="T22" fmla="*/ 914 w 1569"/>
                <a:gd name="T23" fmla="*/ 889 h 3868"/>
                <a:gd name="T24" fmla="*/ 1043 w 1569"/>
                <a:gd name="T25" fmla="*/ 670 h 3868"/>
                <a:gd name="T26" fmla="*/ 1181 w 1569"/>
                <a:gd name="T27" fmla="*/ 462 h 3868"/>
                <a:gd name="T28" fmla="*/ 1329 w 1569"/>
                <a:gd name="T29" fmla="*/ 267 h 3868"/>
                <a:gd name="T30" fmla="*/ 1486 w 1569"/>
                <a:gd name="T31" fmla="*/ 86 h 3868"/>
                <a:gd name="T32" fmla="*/ 1529 w 1569"/>
                <a:gd name="T33" fmla="*/ 83 h 3868"/>
                <a:gd name="T34" fmla="*/ 1454 w 1569"/>
                <a:gd name="T35" fmla="*/ 248 h 3868"/>
                <a:gd name="T36" fmla="*/ 1384 w 1569"/>
                <a:gd name="T37" fmla="*/ 410 h 3868"/>
                <a:gd name="T38" fmla="*/ 1319 w 1569"/>
                <a:gd name="T39" fmla="*/ 572 h 3868"/>
                <a:gd name="T40" fmla="*/ 1258 w 1569"/>
                <a:gd name="T41" fmla="*/ 732 h 3868"/>
                <a:gd name="T42" fmla="*/ 1201 w 1569"/>
                <a:gd name="T43" fmla="*/ 893 h 3868"/>
                <a:gd name="T44" fmla="*/ 1148 w 1569"/>
                <a:gd name="T45" fmla="*/ 1054 h 3868"/>
                <a:gd name="T46" fmla="*/ 1099 w 1569"/>
                <a:gd name="T47" fmla="*/ 1215 h 3868"/>
                <a:gd name="T48" fmla="*/ 1053 w 1569"/>
                <a:gd name="T49" fmla="*/ 1378 h 3868"/>
                <a:gd name="T50" fmla="*/ 1010 w 1569"/>
                <a:gd name="T51" fmla="*/ 1544 h 3868"/>
                <a:gd name="T52" fmla="*/ 971 w 1569"/>
                <a:gd name="T53" fmla="*/ 1712 h 3868"/>
                <a:gd name="T54" fmla="*/ 935 w 1569"/>
                <a:gd name="T55" fmla="*/ 1885 h 3868"/>
                <a:gd name="T56" fmla="*/ 902 w 1569"/>
                <a:gd name="T57" fmla="*/ 2061 h 3868"/>
                <a:gd name="T58" fmla="*/ 871 w 1569"/>
                <a:gd name="T59" fmla="*/ 2242 h 3868"/>
                <a:gd name="T60" fmla="*/ 844 w 1569"/>
                <a:gd name="T61" fmla="*/ 2429 h 3868"/>
                <a:gd name="T62" fmla="*/ 818 w 1569"/>
                <a:gd name="T63" fmla="*/ 2622 h 3868"/>
                <a:gd name="T64" fmla="*/ 794 w 1569"/>
                <a:gd name="T65" fmla="*/ 2729 h 3868"/>
                <a:gd name="T66" fmla="*/ 770 w 1569"/>
                <a:gd name="T67" fmla="*/ 2750 h 3868"/>
                <a:gd name="T68" fmla="*/ 749 w 1569"/>
                <a:gd name="T69" fmla="*/ 2777 h 3868"/>
                <a:gd name="T70" fmla="*/ 727 w 1569"/>
                <a:gd name="T71" fmla="*/ 2808 h 3868"/>
                <a:gd name="T72" fmla="*/ 697 w 1569"/>
                <a:gd name="T73" fmla="*/ 2862 h 3868"/>
                <a:gd name="T74" fmla="*/ 659 w 1569"/>
                <a:gd name="T75" fmla="*/ 2943 h 3868"/>
                <a:gd name="T76" fmla="*/ 607 w 1569"/>
                <a:gd name="T77" fmla="*/ 3075 h 3868"/>
                <a:gd name="T78" fmla="*/ 556 w 1569"/>
                <a:gd name="T79" fmla="*/ 3205 h 3868"/>
                <a:gd name="T80" fmla="*/ 524 w 1569"/>
                <a:gd name="T81" fmla="*/ 3281 h 3868"/>
                <a:gd name="T82" fmla="*/ 493 w 1569"/>
                <a:gd name="T83" fmla="*/ 3339 h 3868"/>
                <a:gd name="T84" fmla="*/ 461 w 1569"/>
                <a:gd name="T85" fmla="*/ 3383 h 3868"/>
                <a:gd name="T86" fmla="*/ 413 w 1569"/>
                <a:gd name="T87" fmla="*/ 3443 h 3868"/>
                <a:gd name="T88" fmla="*/ 350 w 1569"/>
                <a:gd name="T89" fmla="*/ 3514 h 3868"/>
                <a:gd name="T90" fmla="*/ 286 w 1569"/>
                <a:gd name="T91" fmla="*/ 3577 h 3868"/>
                <a:gd name="T92" fmla="*/ 191 w 1569"/>
                <a:gd name="T93" fmla="*/ 3667 h 3868"/>
                <a:gd name="T94" fmla="*/ 96 w 1569"/>
                <a:gd name="T95" fmla="*/ 3760 h 3868"/>
                <a:gd name="T96" fmla="*/ 32 w 1569"/>
                <a:gd name="T97" fmla="*/ 3830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69" h="3868">
                  <a:moveTo>
                    <a:pt x="0" y="3868"/>
                  </a:moveTo>
                  <a:lnTo>
                    <a:pt x="21" y="3733"/>
                  </a:lnTo>
                  <a:lnTo>
                    <a:pt x="42" y="3597"/>
                  </a:lnTo>
                  <a:lnTo>
                    <a:pt x="66" y="3460"/>
                  </a:lnTo>
                  <a:lnTo>
                    <a:pt x="92" y="3324"/>
                  </a:lnTo>
                  <a:lnTo>
                    <a:pt x="118" y="3188"/>
                  </a:lnTo>
                  <a:lnTo>
                    <a:pt x="147" y="3051"/>
                  </a:lnTo>
                  <a:lnTo>
                    <a:pt x="177" y="2915"/>
                  </a:lnTo>
                  <a:lnTo>
                    <a:pt x="209" y="2779"/>
                  </a:lnTo>
                  <a:lnTo>
                    <a:pt x="243" y="2644"/>
                  </a:lnTo>
                  <a:lnTo>
                    <a:pt x="278" y="2510"/>
                  </a:lnTo>
                  <a:lnTo>
                    <a:pt x="315" y="2377"/>
                  </a:lnTo>
                  <a:lnTo>
                    <a:pt x="354" y="2244"/>
                  </a:lnTo>
                  <a:lnTo>
                    <a:pt x="396" y="2113"/>
                  </a:lnTo>
                  <a:lnTo>
                    <a:pt x="439" y="1982"/>
                  </a:lnTo>
                  <a:lnTo>
                    <a:pt x="483" y="1855"/>
                  </a:lnTo>
                  <a:lnTo>
                    <a:pt x="529" y="1727"/>
                  </a:lnTo>
                  <a:lnTo>
                    <a:pt x="579" y="1601"/>
                  </a:lnTo>
                  <a:lnTo>
                    <a:pt x="629" y="1477"/>
                  </a:lnTo>
                  <a:lnTo>
                    <a:pt x="682" y="1355"/>
                  </a:lnTo>
                  <a:lnTo>
                    <a:pt x="736" y="1235"/>
                  </a:lnTo>
                  <a:lnTo>
                    <a:pt x="794" y="1118"/>
                  </a:lnTo>
                  <a:lnTo>
                    <a:pt x="853" y="1001"/>
                  </a:lnTo>
                  <a:lnTo>
                    <a:pt x="914" y="889"/>
                  </a:lnTo>
                  <a:lnTo>
                    <a:pt x="977" y="777"/>
                  </a:lnTo>
                  <a:lnTo>
                    <a:pt x="1043" y="670"/>
                  </a:lnTo>
                  <a:lnTo>
                    <a:pt x="1111" y="564"/>
                  </a:lnTo>
                  <a:lnTo>
                    <a:pt x="1181" y="462"/>
                  </a:lnTo>
                  <a:lnTo>
                    <a:pt x="1254" y="363"/>
                  </a:lnTo>
                  <a:lnTo>
                    <a:pt x="1329" y="267"/>
                  </a:lnTo>
                  <a:lnTo>
                    <a:pt x="1406" y="174"/>
                  </a:lnTo>
                  <a:lnTo>
                    <a:pt x="1486" y="86"/>
                  </a:lnTo>
                  <a:lnTo>
                    <a:pt x="1569" y="0"/>
                  </a:lnTo>
                  <a:lnTo>
                    <a:pt x="1529" y="83"/>
                  </a:lnTo>
                  <a:lnTo>
                    <a:pt x="1491" y="166"/>
                  </a:lnTo>
                  <a:lnTo>
                    <a:pt x="1454" y="248"/>
                  </a:lnTo>
                  <a:lnTo>
                    <a:pt x="1418" y="329"/>
                  </a:lnTo>
                  <a:lnTo>
                    <a:pt x="1384" y="410"/>
                  </a:lnTo>
                  <a:lnTo>
                    <a:pt x="1351" y="491"/>
                  </a:lnTo>
                  <a:lnTo>
                    <a:pt x="1319" y="572"/>
                  </a:lnTo>
                  <a:lnTo>
                    <a:pt x="1289" y="652"/>
                  </a:lnTo>
                  <a:lnTo>
                    <a:pt x="1258" y="732"/>
                  </a:lnTo>
                  <a:lnTo>
                    <a:pt x="1229" y="812"/>
                  </a:lnTo>
                  <a:lnTo>
                    <a:pt x="1201" y="893"/>
                  </a:lnTo>
                  <a:lnTo>
                    <a:pt x="1174" y="973"/>
                  </a:lnTo>
                  <a:lnTo>
                    <a:pt x="1148" y="1054"/>
                  </a:lnTo>
                  <a:lnTo>
                    <a:pt x="1123" y="1134"/>
                  </a:lnTo>
                  <a:lnTo>
                    <a:pt x="1099" y="1215"/>
                  </a:lnTo>
                  <a:lnTo>
                    <a:pt x="1075" y="1296"/>
                  </a:lnTo>
                  <a:lnTo>
                    <a:pt x="1053" y="1378"/>
                  </a:lnTo>
                  <a:lnTo>
                    <a:pt x="1031" y="1461"/>
                  </a:lnTo>
                  <a:lnTo>
                    <a:pt x="1010" y="1544"/>
                  </a:lnTo>
                  <a:lnTo>
                    <a:pt x="991" y="1628"/>
                  </a:lnTo>
                  <a:lnTo>
                    <a:pt x="971" y="1712"/>
                  </a:lnTo>
                  <a:lnTo>
                    <a:pt x="953" y="1798"/>
                  </a:lnTo>
                  <a:lnTo>
                    <a:pt x="935" y="1885"/>
                  </a:lnTo>
                  <a:lnTo>
                    <a:pt x="919" y="1972"/>
                  </a:lnTo>
                  <a:lnTo>
                    <a:pt x="902" y="2061"/>
                  </a:lnTo>
                  <a:lnTo>
                    <a:pt x="887" y="2152"/>
                  </a:lnTo>
                  <a:lnTo>
                    <a:pt x="871" y="2242"/>
                  </a:lnTo>
                  <a:lnTo>
                    <a:pt x="857" y="2335"/>
                  </a:lnTo>
                  <a:lnTo>
                    <a:pt x="844" y="2429"/>
                  </a:lnTo>
                  <a:lnTo>
                    <a:pt x="830" y="2525"/>
                  </a:lnTo>
                  <a:lnTo>
                    <a:pt x="818" y="2622"/>
                  </a:lnTo>
                  <a:lnTo>
                    <a:pt x="805" y="2721"/>
                  </a:lnTo>
                  <a:lnTo>
                    <a:pt x="794" y="2729"/>
                  </a:lnTo>
                  <a:lnTo>
                    <a:pt x="782" y="2739"/>
                  </a:lnTo>
                  <a:lnTo>
                    <a:pt x="770" y="2750"/>
                  </a:lnTo>
                  <a:lnTo>
                    <a:pt x="760" y="2764"/>
                  </a:lnTo>
                  <a:lnTo>
                    <a:pt x="749" y="2777"/>
                  </a:lnTo>
                  <a:lnTo>
                    <a:pt x="737" y="2793"/>
                  </a:lnTo>
                  <a:lnTo>
                    <a:pt x="727" y="2808"/>
                  </a:lnTo>
                  <a:lnTo>
                    <a:pt x="717" y="2826"/>
                  </a:lnTo>
                  <a:lnTo>
                    <a:pt x="697" y="2862"/>
                  </a:lnTo>
                  <a:lnTo>
                    <a:pt x="678" y="2901"/>
                  </a:lnTo>
                  <a:lnTo>
                    <a:pt x="659" y="2943"/>
                  </a:lnTo>
                  <a:lnTo>
                    <a:pt x="642" y="2987"/>
                  </a:lnTo>
                  <a:lnTo>
                    <a:pt x="607" y="3075"/>
                  </a:lnTo>
                  <a:lnTo>
                    <a:pt x="573" y="3163"/>
                  </a:lnTo>
                  <a:lnTo>
                    <a:pt x="556" y="3205"/>
                  </a:lnTo>
                  <a:lnTo>
                    <a:pt x="541" y="3244"/>
                  </a:lnTo>
                  <a:lnTo>
                    <a:pt x="524" y="3281"/>
                  </a:lnTo>
                  <a:lnTo>
                    <a:pt x="509" y="3315"/>
                  </a:lnTo>
                  <a:lnTo>
                    <a:pt x="493" y="3339"/>
                  </a:lnTo>
                  <a:lnTo>
                    <a:pt x="477" y="3362"/>
                  </a:lnTo>
                  <a:lnTo>
                    <a:pt x="461" y="3383"/>
                  </a:lnTo>
                  <a:lnTo>
                    <a:pt x="445" y="3404"/>
                  </a:lnTo>
                  <a:lnTo>
                    <a:pt x="413" y="3443"/>
                  </a:lnTo>
                  <a:lnTo>
                    <a:pt x="381" y="3479"/>
                  </a:lnTo>
                  <a:lnTo>
                    <a:pt x="350" y="3514"/>
                  </a:lnTo>
                  <a:lnTo>
                    <a:pt x="318" y="3546"/>
                  </a:lnTo>
                  <a:lnTo>
                    <a:pt x="286" y="3577"/>
                  </a:lnTo>
                  <a:lnTo>
                    <a:pt x="254" y="3608"/>
                  </a:lnTo>
                  <a:lnTo>
                    <a:pt x="191" y="3667"/>
                  </a:lnTo>
                  <a:lnTo>
                    <a:pt x="128" y="3728"/>
                  </a:lnTo>
                  <a:lnTo>
                    <a:pt x="96" y="3760"/>
                  </a:lnTo>
                  <a:lnTo>
                    <a:pt x="64" y="3794"/>
                  </a:lnTo>
                  <a:lnTo>
                    <a:pt x="32" y="3830"/>
                  </a:lnTo>
                  <a:lnTo>
                    <a:pt x="0" y="38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3" name="Freeform 98"/>
            <p:cNvSpPr>
              <a:spLocks noChangeArrowheads="1"/>
            </p:cNvSpPr>
            <p:nvPr userDrawn="1"/>
          </p:nvSpPr>
          <p:spPr bwMode="auto">
            <a:xfrm>
              <a:off x="923924" y="4704310"/>
              <a:ext cx="409575" cy="1675650"/>
            </a:xfrm>
            <a:custGeom>
              <a:avLst/>
              <a:gdLst>
                <a:gd name="T0" fmla="*/ 81 w 907"/>
                <a:gd name="T1" fmla="*/ 2822 h 3018"/>
                <a:gd name="T2" fmla="*/ 34 w 907"/>
                <a:gd name="T3" fmla="*/ 2511 h 3018"/>
                <a:gd name="T4" fmla="*/ 8 w 907"/>
                <a:gd name="T5" fmla="*/ 2184 h 3018"/>
                <a:gd name="T6" fmla="*/ 0 w 907"/>
                <a:gd name="T7" fmla="*/ 1851 h 3018"/>
                <a:gd name="T8" fmla="*/ 8 w 907"/>
                <a:gd name="T9" fmla="*/ 1521 h 3018"/>
                <a:gd name="T10" fmla="*/ 30 w 907"/>
                <a:gd name="T11" fmla="*/ 1202 h 3018"/>
                <a:gd name="T12" fmla="*/ 64 w 907"/>
                <a:gd name="T13" fmla="*/ 900 h 3018"/>
                <a:gd name="T14" fmla="*/ 105 w 907"/>
                <a:gd name="T15" fmla="*/ 626 h 3018"/>
                <a:gd name="T16" fmla="*/ 152 w 907"/>
                <a:gd name="T17" fmla="*/ 387 h 3018"/>
                <a:gd name="T18" fmla="*/ 204 w 907"/>
                <a:gd name="T19" fmla="*/ 192 h 3018"/>
                <a:gd name="T20" fmla="*/ 258 w 907"/>
                <a:gd name="T21" fmla="*/ 49 h 3018"/>
                <a:gd name="T22" fmla="*/ 271 w 907"/>
                <a:gd name="T23" fmla="*/ 28 h 3018"/>
                <a:gd name="T24" fmla="*/ 290 w 907"/>
                <a:gd name="T25" fmla="*/ 12 h 3018"/>
                <a:gd name="T26" fmla="*/ 313 w 907"/>
                <a:gd name="T27" fmla="*/ 3 h 3018"/>
                <a:gd name="T28" fmla="*/ 338 w 907"/>
                <a:gd name="T29" fmla="*/ 0 h 3018"/>
                <a:gd name="T30" fmla="*/ 363 w 907"/>
                <a:gd name="T31" fmla="*/ 4 h 3018"/>
                <a:gd name="T32" fmla="*/ 391 w 907"/>
                <a:gd name="T33" fmla="*/ 21 h 3018"/>
                <a:gd name="T34" fmla="*/ 413 w 907"/>
                <a:gd name="T35" fmla="*/ 50 h 3018"/>
                <a:gd name="T36" fmla="*/ 420 w 907"/>
                <a:gd name="T37" fmla="*/ 85 h 3018"/>
                <a:gd name="T38" fmla="*/ 420 w 907"/>
                <a:gd name="T39" fmla="*/ 86 h 3018"/>
                <a:gd name="T40" fmla="*/ 421 w 907"/>
                <a:gd name="T41" fmla="*/ 179 h 3018"/>
                <a:gd name="T42" fmla="*/ 429 w 907"/>
                <a:gd name="T43" fmla="*/ 312 h 3018"/>
                <a:gd name="T44" fmla="*/ 442 w 907"/>
                <a:gd name="T45" fmla="*/ 448 h 3018"/>
                <a:gd name="T46" fmla="*/ 480 w 907"/>
                <a:gd name="T47" fmla="*/ 730 h 3018"/>
                <a:gd name="T48" fmla="*/ 533 w 907"/>
                <a:gd name="T49" fmla="*/ 1019 h 3018"/>
                <a:gd name="T50" fmla="*/ 594 w 907"/>
                <a:gd name="T51" fmla="*/ 1314 h 3018"/>
                <a:gd name="T52" fmla="*/ 662 w 907"/>
                <a:gd name="T53" fmla="*/ 1613 h 3018"/>
                <a:gd name="T54" fmla="*/ 722 w 907"/>
                <a:gd name="T55" fmla="*/ 1881 h 3018"/>
                <a:gd name="T56" fmla="*/ 780 w 907"/>
                <a:gd name="T57" fmla="*/ 2149 h 3018"/>
                <a:gd name="T58" fmla="*/ 830 w 907"/>
                <a:gd name="T59" fmla="*/ 2414 h 3018"/>
                <a:gd name="T60" fmla="*/ 872 w 907"/>
                <a:gd name="T61" fmla="*/ 2677 h 3018"/>
                <a:gd name="T62" fmla="*/ 901 w 907"/>
                <a:gd name="T63" fmla="*/ 2933 h 3018"/>
                <a:gd name="T64" fmla="*/ 730 w 907"/>
                <a:gd name="T65" fmla="*/ 2937 h 3018"/>
                <a:gd name="T66" fmla="*/ 701 w 907"/>
                <a:gd name="T67" fmla="*/ 2687 h 3018"/>
                <a:gd name="T68" fmla="*/ 660 w 907"/>
                <a:gd name="T69" fmla="*/ 2432 h 3018"/>
                <a:gd name="T70" fmla="*/ 610 w 907"/>
                <a:gd name="T71" fmla="*/ 2174 h 3018"/>
                <a:gd name="T72" fmla="*/ 554 w 907"/>
                <a:gd name="T73" fmla="*/ 1913 h 3018"/>
                <a:gd name="T74" fmla="*/ 495 w 907"/>
                <a:gd name="T75" fmla="*/ 1651 h 3018"/>
                <a:gd name="T76" fmla="*/ 449 w 907"/>
                <a:gd name="T77" fmla="*/ 1446 h 3018"/>
                <a:gd name="T78" fmla="*/ 405 w 907"/>
                <a:gd name="T79" fmla="*/ 1242 h 3018"/>
                <a:gd name="T80" fmla="*/ 363 w 907"/>
                <a:gd name="T81" fmla="*/ 1039 h 3018"/>
                <a:gd name="T82" fmla="*/ 326 w 907"/>
                <a:gd name="T83" fmla="*/ 839 h 3018"/>
                <a:gd name="T84" fmla="*/ 295 w 907"/>
                <a:gd name="T85" fmla="*/ 642 h 3018"/>
                <a:gd name="T86" fmla="*/ 264 w 907"/>
                <a:gd name="T87" fmla="*/ 700 h 3018"/>
                <a:gd name="T88" fmla="*/ 233 w 907"/>
                <a:gd name="T89" fmla="*/ 899 h 3018"/>
                <a:gd name="T90" fmla="*/ 208 w 907"/>
                <a:gd name="T91" fmla="*/ 1112 h 3018"/>
                <a:gd name="T92" fmla="*/ 187 w 907"/>
                <a:gd name="T93" fmla="*/ 1339 h 3018"/>
                <a:gd name="T94" fmla="*/ 174 w 907"/>
                <a:gd name="T95" fmla="*/ 1575 h 3018"/>
                <a:gd name="T96" fmla="*/ 169 w 907"/>
                <a:gd name="T97" fmla="*/ 1815 h 3018"/>
                <a:gd name="T98" fmla="*/ 172 w 907"/>
                <a:gd name="T99" fmla="*/ 2057 h 3018"/>
                <a:gd name="T100" fmla="*/ 184 w 907"/>
                <a:gd name="T101" fmla="*/ 2298 h 3018"/>
                <a:gd name="T102" fmla="*/ 208 w 907"/>
                <a:gd name="T103" fmla="*/ 2534 h 3018"/>
                <a:gd name="T104" fmla="*/ 244 w 907"/>
                <a:gd name="T105" fmla="*/ 2761 h 3018"/>
                <a:gd name="T106" fmla="*/ 292 w 907"/>
                <a:gd name="T107" fmla="*/ 2976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7" h="3018">
                  <a:moveTo>
                    <a:pt x="127" y="3018"/>
                  </a:moveTo>
                  <a:lnTo>
                    <a:pt x="103" y="2922"/>
                  </a:lnTo>
                  <a:lnTo>
                    <a:pt x="81" y="2822"/>
                  </a:lnTo>
                  <a:lnTo>
                    <a:pt x="64" y="2720"/>
                  </a:lnTo>
                  <a:lnTo>
                    <a:pt x="47" y="2616"/>
                  </a:lnTo>
                  <a:lnTo>
                    <a:pt x="34" y="2511"/>
                  </a:lnTo>
                  <a:lnTo>
                    <a:pt x="24" y="2403"/>
                  </a:lnTo>
                  <a:lnTo>
                    <a:pt x="14" y="2294"/>
                  </a:lnTo>
                  <a:lnTo>
                    <a:pt x="8" y="2184"/>
                  </a:lnTo>
                  <a:lnTo>
                    <a:pt x="3" y="2074"/>
                  </a:lnTo>
                  <a:lnTo>
                    <a:pt x="1" y="1962"/>
                  </a:lnTo>
                  <a:lnTo>
                    <a:pt x="0" y="1851"/>
                  </a:lnTo>
                  <a:lnTo>
                    <a:pt x="1" y="1741"/>
                  </a:lnTo>
                  <a:lnTo>
                    <a:pt x="4" y="1630"/>
                  </a:lnTo>
                  <a:lnTo>
                    <a:pt x="8" y="1521"/>
                  </a:lnTo>
                  <a:lnTo>
                    <a:pt x="14" y="1413"/>
                  </a:lnTo>
                  <a:lnTo>
                    <a:pt x="22" y="1306"/>
                  </a:lnTo>
                  <a:lnTo>
                    <a:pt x="30" y="1202"/>
                  </a:lnTo>
                  <a:lnTo>
                    <a:pt x="40" y="1099"/>
                  </a:lnTo>
                  <a:lnTo>
                    <a:pt x="52" y="998"/>
                  </a:lnTo>
                  <a:lnTo>
                    <a:pt x="64" y="900"/>
                  </a:lnTo>
                  <a:lnTo>
                    <a:pt x="76" y="806"/>
                  </a:lnTo>
                  <a:lnTo>
                    <a:pt x="91" y="714"/>
                  </a:lnTo>
                  <a:lnTo>
                    <a:pt x="105" y="626"/>
                  </a:lnTo>
                  <a:lnTo>
                    <a:pt x="121" y="542"/>
                  </a:lnTo>
                  <a:lnTo>
                    <a:pt x="136" y="463"/>
                  </a:lnTo>
                  <a:lnTo>
                    <a:pt x="152" y="387"/>
                  </a:lnTo>
                  <a:lnTo>
                    <a:pt x="170" y="317"/>
                  </a:lnTo>
                  <a:lnTo>
                    <a:pt x="187" y="252"/>
                  </a:lnTo>
                  <a:lnTo>
                    <a:pt x="204" y="192"/>
                  </a:lnTo>
                  <a:lnTo>
                    <a:pt x="223" y="139"/>
                  </a:lnTo>
                  <a:lnTo>
                    <a:pt x="240" y="90"/>
                  </a:lnTo>
                  <a:lnTo>
                    <a:pt x="258" y="49"/>
                  </a:lnTo>
                  <a:lnTo>
                    <a:pt x="262" y="42"/>
                  </a:lnTo>
                  <a:lnTo>
                    <a:pt x="266" y="35"/>
                  </a:lnTo>
                  <a:lnTo>
                    <a:pt x="271" y="28"/>
                  </a:lnTo>
                  <a:lnTo>
                    <a:pt x="277" y="21"/>
                  </a:lnTo>
                  <a:lnTo>
                    <a:pt x="283" y="16"/>
                  </a:lnTo>
                  <a:lnTo>
                    <a:pt x="290" y="12"/>
                  </a:lnTo>
                  <a:lnTo>
                    <a:pt x="298" y="8"/>
                  </a:lnTo>
                  <a:lnTo>
                    <a:pt x="305" y="5"/>
                  </a:lnTo>
                  <a:lnTo>
                    <a:pt x="313" y="3"/>
                  </a:lnTo>
                  <a:lnTo>
                    <a:pt x="321" y="1"/>
                  </a:lnTo>
                  <a:lnTo>
                    <a:pt x="330" y="0"/>
                  </a:lnTo>
                  <a:lnTo>
                    <a:pt x="338" y="0"/>
                  </a:lnTo>
                  <a:lnTo>
                    <a:pt x="346" y="0"/>
                  </a:lnTo>
                  <a:lnTo>
                    <a:pt x="354" y="2"/>
                  </a:lnTo>
                  <a:lnTo>
                    <a:pt x="363" y="4"/>
                  </a:lnTo>
                  <a:lnTo>
                    <a:pt x="371" y="7"/>
                  </a:lnTo>
                  <a:lnTo>
                    <a:pt x="382" y="13"/>
                  </a:lnTo>
                  <a:lnTo>
                    <a:pt x="391" y="21"/>
                  </a:lnTo>
                  <a:lnTo>
                    <a:pt x="400" y="30"/>
                  </a:lnTo>
                  <a:lnTo>
                    <a:pt x="407" y="40"/>
                  </a:lnTo>
                  <a:lnTo>
                    <a:pt x="413" y="50"/>
                  </a:lnTo>
                  <a:lnTo>
                    <a:pt x="417" y="62"/>
                  </a:lnTo>
                  <a:lnTo>
                    <a:pt x="419" y="73"/>
                  </a:lnTo>
                  <a:lnTo>
                    <a:pt x="420" y="85"/>
                  </a:lnTo>
                  <a:lnTo>
                    <a:pt x="420" y="86"/>
                  </a:lnTo>
                  <a:lnTo>
                    <a:pt x="420" y="92"/>
                  </a:lnTo>
                  <a:lnTo>
                    <a:pt x="420" y="136"/>
                  </a:lnTo>
                  <a:lnTo>
                    <a:pt x="421" y="179"/>
                  </a:lnTo>
                  <a:lnTo>
                    <a:pt x="423" y="223"/>
                  </a:lnTo>
                  <a:lnTo>
                    <a:pt x="426" y="268"/>
                  </a:lnTo>
                  <a:lnTo>
                    <a:pt x="429" y="312"/>
                  </a:lnTo>
                  <a:lnTo>
                    <a:pt x="433" y="357"/>
                  </a:lnTo>
                  <a:lnTo>
                    <a:pt x="437" y="403"/>
                  </a:lnTo>
                  <a:lnTo>
                    <a:pt x="442" y="448"/>
                  </a:lnTo>
                  <a:lnTo>
                    <a:pt x="452" y="541"/>
                  </a:lnTo>
                  <a:lnTo>
                    <a:pt x="466" y="635"/>
                  </a:lnTo>
                  <a:lnTo>
                    <a:pt x="480" y="730"/>
                  </a:lnTo>
                  <a:lnTo>
                    <a:pt x="496" y="824"/>
                  </a:lnTo>
                  <a:lnTo>
                    <a:pt x="514" y="921"/>
                  </a:lnTo>
                  <a:lnTo>
                    <a:pt x="533" y="1019"/>
                  </a:lnTo>
                  <a:lnTo>
                    <a:pt x="552" y="1117"/>
                  </a:lnTo>
                  <a:lnTo>
                    <a:pt x="574" y="1215"/>
                  </a:lnTo>
                  <a:lnTo>
                    <a:pt x="594" y="1314"/>
                  </a:lnTo>
                  <a:lnTo>
                    <a:pt x="617" y="1414"/>
                  </a:lnTo>
                  <a:lnTo>
                    <a:pt x="640" y="1514"/>
                  </a:lnTo>
                  <a:lnTo>
                    <a:pt x="662" y="1613"/>
                  </a:lnTo>
                  <a:lnTo>
                    <a:pt x="682" y="1703"/>
                  </a:lnTo>
                  <a:lnTo>
                    <a:pt x="702" y="1792"/>
                  </a:lnTo>
                  <a:lnTo>
                    <a:pt x="722" y="1881"/>
                  </a:lnTo>
                  <a:lnTo>
                    <a:pt x="742" y="1971"/>
                  </a:lnTo>
                  <a:lnTo>
                    <a:pt x="760" y="2060"/>
                  </a:lnTo>
                  <a:lnTo>
                    <a:pt x="780" y="2149"/>
                  </a:lnTo>
                  <a:lnTo>
                    <a:pt x="797" y="2238"/>
                  </a:lnTo>
                  <a:lnTo>
                    <a:pt x="814" y="2326"/>
                  </a:lnTo>
                  <a:lnTo>
                    <a:pt x="830" y="2414"/>
                  </a:lnTo>
                  <a:lnTo>
                    <a:pt x="846" y="2503"/>
                  </a:lnTo>
                  <a:lnTo>
                    <a:pt x="859" y="2589"/>
                  </a:lnTo>
                  <a:lnTo>
                    <a:pt x="872" y="2677"/>
                  </a:lnTo>
                  <a:lnTo>
                    <a:pt x="884" y="2762"/>
                  </a:lnTo>
                  <a:lnTo>
                    <a:pt x="893" y="2849"/>
                  </a:lnTo>
                  <a:lnTo>
                    <a:pt x="901" y="2933"/>
                  </a:lnTo>
                  <a:lnTo>
                    <a:pt x="907" y="3018"/>
                  </a:lnTo>
                  <a:lnTo>
                    <a:pt x="736" y="3018"/>
                  </a:lnTo>
                  <a:lnTo>
                    <a:pt x="730" y="2937"/>
                  </a:lnTo>
                  <a:lnTo>
                    <a:pt x="722" y="2854"/>
                  </a:lnTo>
                  <a:lnTo>
                    <a:pt x="712" y="2772"/>
                  </a:lnTo>
                  <a:lnTo>
                    <a:pt x="701" y="2687"/>
                  </a:lnTo>
                  <a:lnTo>
                    <a:pt x="689" y="2604"/>
                  </a:lnTo>
                  <a:lnTo>
                    <a:pt x="675" y="2518"/>
                  </a:lnTo>
                  <a:lnTo>
                    <a:pt x="660" y="2432"/>
                  </a:lnTo>
                  <a:lnTo>
                    <a:pt x="645" y="2347"/>
                  </a:lnTo>
                  <a:lnTo>
                    <a:pt x="627" y="2260"/>
                  </a:lnTo>
                  <a:lnTo>
                    <a:pt x="610" y="2174"/>
                  </a:lnTo>
                  <a:lnTo>
                    <a:pt x="592" y="2087"/>
                  </a:lnTo>
                  <a:lnTo>
                    <a:pt x="574" y="2000"/>
                  </a:lnTo>
                  <a:lnTo>
                    <a:pt x="554" y="1913"/>
                  </a:lnTo>
                  <a:lnTo>
                    <a:pt x="535" y="1825"/>
                  </a:lnTo>
                  <a:lnTo>
                    <a:pt x="515" y="1739"/>
                  </a:lnTo>
                  <a:lnTo>
                    <a:pt x="495" y="1651"/>
                  </a:lnTo>
                  <a:lnTo>
                    <a:pt x="480" y="1582"/>
                  </a:lnTo>
                  <a:lnTo>
                    <a:pt x="465" y="1514"/>
                  </a:lnTo>
                  <a:lnTo>
                    <a:pt x="449" y="1446"/>
                  </a:lnTo>
                  <a:lnTo>
                    <a:pt x="434" y="1378"/>
                  </a:lnTo>
                  <a:lnTo>
                    <a:pt x="419" y="1310"/>
                  </a:lnTo>
                  <a:lnTo>
                    <a:pt x="405" y="1242"/>
                  </a:lnTo>
                  <a:lnTo>
                    <a:pt x="390" y="1174"/>
                  </a:lnTo>
                  <a:lnTo>
                    <a:pt x="376" y="1106"/>
                  </a:lnTo>
                  <a:lnTo>
                    <a:pt x="363" y="1039"/>
                  </a:lnTo>
                  <a:lnTo>
                    <a:pt x="350" y="972"/>
                  </a:lnTo>
                  <a:lnTo>
                    <a:pt x="337" y="906"/>
                  </a:lnTo>
                  <a:lnTo>
                    <a:pt x="326" y="839"/>
                  </a:lnTo>
                  <a:lnTo>
                    <a:pt x="314" y="773"/>
                  </a:lnTo>
                  <a:lnTo>
                    <a:pt x="304" y="707"/>
                  </a:lnTo>
                  <a:lnTo>
                    <a:pt x="295" y="642"/>
                  </a:lnTo>
                  <a:lnTo>
                    <a:pt x="285" y="577"/>
                  </a:lnTo>
                  <a:lnTo>
                    <a:pt x="274" y="637"/>
                  </a:lnTo>
                  <a:lnTo>
                    <a:pt x="264" y="700"/>
                  </a:lnTo>
                  <a:lnTo>
                    <a:pt x="252" y="764"/>
                  </a:lnTo>
                  <a:lnTo>
                    <a:pt x="243" y="830"/>
                  </a:lnTo>
                  <a:lnTo>
                    <a:pt x="233" y="899"/>
                  </a:lnTo>
                  <a:lnTo>
                    <a:pt x="225" y="968"/>
                  </a:lnTo>
                  <a:lnTo>
                    <a:pt x="215" y="1040"/>
                  </a:lnTo>
                  <a:lnTo>
                    <a:pt x="208" y="1112"/>
                  </a:lnTo>
                  <a:lnTo>
                    <a:pt x="200" y="1187"/>
                  </a:lnTo>
                  <a:lnTo>
                    <a:pt x="194" y="1262"/>
                  </a:lnTo>
                  <a:lnTo>
                    <a:pt x="187" y="1339"/>
                  </a:lnTo>
                  <a:lnTo>
                    <a:pt x="182" y="1417"/>
                  </a:lnTo>
                  <a:lnTo>
                    <a:pt x="178" y="1495"/>
                  </a:lnTo>
                  <a:lnTo>
                    <a:pt x="174" y="1575"/>
                  </a:lnTo>
                  <a:lnTo>
                    <a:pt x="172" y="1654"/>
                  </a:lnTo>
                  <a:lnTo>
                    <a:pt x="170" y="1735"/>
                  </a:lnTo>
                  <a:lnTo>
                    <a:pt x="169" y="1815"/>
                  </a:lnTo>
                  <a:lnTo>
                    <a:pt x="169" y="1895"/>
                  </a:lnTo>
                  <a:lnTo>
                    <a:pt x="170" y="1977"/>
                  </a:lnTo>
                  <a:lnTo>
                    <a:pt x="172" y="2057"/>
                  </a:lnTo>
                  <a:lnTo>
                    <a:pt x="175" y="2138"/>
                  </a:lnTo>
                  <a:lnTo>
                    <a:pt x="179" y="2218"/>
                  </a:lnTo>
                  <a:lnTo>
                    <a:pt x="184" y="2298"/>
                  </a:lnTo>
                  <a:lnTo>
                    <a:pt x="192" y="2378"/>
                  </a:lnTo>
                  <a:lnTo>
                    <a:pt x="199" y="2456"/>
                  </a:lnTo>
                  <a:lnTo>
                    <a:pt x="208" y="2534"/>
                  </a:lnTo>
                  <a:lnTo>
                    <a:pt x="218" y="2611"/>
                  </a:lnTo>
                  <a:lnTo>
                    <a:pt x="231" y="2686"/>
                  </a:lnTo>
                  <a:lnTo>
                    <a:pt x="244" y="2761"/>
                  </a:lnTo>
                  <a:lnTo>
                    <a:pt x="259" y="2835"/>
                  </a:lnTo>
                  <a:lnTo>
                    <a:pt x="274" y="2906"/>
                  </a:lnTo>
                  <a:lnTo>
                    <a:pt x="292" y="2976"/>
                  </a:lnTo>
                  <a:lnTo>
                    <a:pt x="304" y="3018"/>
                  </a:lnTo>
                  <a:lnTo>
                    <a:pt x="127" y="30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4" name="Freeform 99"/>
            <p:cNvSpPr>
              <a:spLocks noChangeArrowheads="1"/>
            </p:cNvSpPr>
            <p:nvPr userDrawn="1"/>
          </p:nvSpPr>
          <p:spPr bwMode="auto">
            <a:xfrm>
              <a:off x="960437" y="4756226"/>
              <a:ext cx="330200" cy="1623734"/>
            </a:xfrm>
            <a:custGeom>
              <a:avLst/>
              <a:gdLst>
                <a:gd name="T0" fmla="*/ 131 w 738"/>
                <a:gd name="T1" fmla="*/ 2933 h 2933"/>
                <a:gd name="T2" fmla="*/ 108 w 738"/>
                <a:gd name="T3" fmla="*/ 2838 h 2933"/>
                <a:gd name="T4" fmla="*/ 86 w 738"/>
                <a:gd name="T5" fmla="*/ 2740 h 2933"/>
                <a:gd name="T6" fmla="*/ 67 w 738"/>
                <a:gd name="T7" fmla="*/ 2640 h 2933"/>
                <a:gd name="T8" fmla="*/ 51 w 738"/>
                <a:gd name="T9" fmla="*/ 2538 h 2933"/>
                <a:gd name="T10" fmla="*/ 38 w 738"/>
                <a:gd name="T11" fmla="*/ 2433 h 2933"/>
                <a:gd name="T12" fmla="*/ 26 w 738"/>
                <a:gd name="T13" fmla="*/ 2327 h 2933"/>
                <a:gd name="T14" fmla="*/ 17 w 738"/>
                <a:gd name="T15" fmla="*/ 2220 h 2933"/>
                <a:gd name="T16" fmla="*/ 10 w 738"/>
                <a:gd name="T17" fmla="*/ 2111 h 2933"/>
                <a:gd name="T18" fmla="*/ 5 w 738"/>
                <a:gd name="T19" fmla="*/ 2002 h 2933"/>
                <a:gd name="T20" fmla="*/ 2 w 738"/>
                <a:gd name="T21" fmla="*/ 1893 h 2933"/>
                <a:gd name="T22" fmla="*/ 0 w 738"/>
                <a:gd name="T23" fmla="*/ 1783 h 2933"/>
                <a:gd name="T24" fmla="*/ 2 w 738"/>
                <a:gd name="T25" fmla="*/ 1673 h 2933"/>
                <a:gd name="T26" fmla="*/ 4 w 738"/>
                <a:gd name="T27" fmla="*/ 1564 h 2933"/>
                <a:gd name="T28" fmla="*/ 8 w 738"/>
                <a:gd name="T29" fmla="*/ 1456 h 2933"/>
                <a:gd name="T30" fmla="*/ 13 w 738"/>
                <a:gd name="T31" fmla="*/ 1350 h 2933"/>
                <a:gd name="T32" fmla="*/ 20 w 738"/>
                <a:gd name="T33" fmla="*/ 1243 h 2933"/>
                <a:gd name="T34" fmla="*/ 28 w 738"/>
                <a:gd name="T35" fmla="*/ 1139 h 2933"/>
                <a:gd name="T36" fmla="*/ 39 w 738"/>
                <a:gd name="T37" fmla="*/ 1038 h 2933"/>
                <a:gd name="T38" fmla="*/ 49 w 738"/>
                <a:gd name="T39" fmla="*/ 938 h 2933"/>
                <a:gd name="T40" fmla="*/ 60 w 738"/>
                <a:gd name="T41" fmla="*/ 841 h 2933"/>
                <a:gd name="T42" fmla="*/ 74 w 738"/>
                <a:gd name="T43" fmla="*/ 748 h 2933"/>
                <a:gd name="T44" fmla="*/ 87 w 738"/>
                <a:gd name="T45" fmla="*/ 657 h 2933"/>
                <a:gd name="T46" fmla="*/ 101 w 738"/>
                <a:gd name="T47" fmla="*/ 570 h 2933"/>
                <a:gd name="T48" fmla="*/ 116 w 738"/>
                <a:gd name="T49" fmla="*/ 487 h 2933"/>
                <a:gd name="T50" fmla="*/ 132 w 738"/>
                <a:gd name="T51" fmla="*/ 408 h 2933"/>
                <a:gd name="T52" fmla="*/ 148 w 738"/>
                <a:gd name="T53" fmla="*/ 334 h 2933"/>
                <a:gd name="T54" fmla="*/ 164 w 738"/>
                <a:gd name="T55" fmla="*/ 264 h 2933"/>
                <a:gd name="T56" fmla="*/ 182 w 738"/>
                <a:gd name="T57" fmla="*/ 200 h 2933"/>
                <a:gd name="T58" fmla="*/ 199 w 738"/>
                <a:gd name="T59" fmla="*/ 141 h 2933"/>
                <a:gd name="T60" fmla="*/ 216 w 738"/>
                <a:gd name="T61" fmla="*/ 88 h 2933"/>
                <a:gd name="T62" fmla="*/ 233 w 738"/>
                <a:gd name="T63" fmla="*/ 40 h 2933"/>
                <a:gd name="T64" fmla="*/ 251 w 738"/>
                <a:gd name="T65" fmla="*/ 0 h 2933"/>
                <a:gd name="T66" fmla="*/ 252 w 738"/>
                <a:gd name="T67" fmla="*/ 84 h 2933"/>
                <a:gd name="T68" fmla="*/ 256 w 738"/>
                <a:gd name="T69" fmla="*/ 168 h 2933"/>
                <a:gd name="T70" fmla="*/ 261 w 738"/>
                <a:gd name="T71" fmla="*/ 254 h 2933"/>
                <a:gd name="T72" fmla="*/ 269 w 738"/>
                <a:gd name="T73" fmla="*/ 340 h 2933"/>
                <a:gd name="T74" fmla="*/ 279 w 738"/>
                <a:gd name="T75" fmla="*/ 428 h 2933"/>
                <a:gd name="T76" fmla="*/ 290 w 738"/>
                <a:gd name="T77" fmla="*/ 517 h 2933"/>
                <a:gd name="T78" fmla="*/ 303 w 738"/>
                <a:gd name="T79" fmla="*/ 606 h 2933"/>
                <a:gd name="T80" fmla="*/ 318 w 738"/>
                <a:gd name="T81" fmla="*/ 697 h 2933"/>
                <a:gd name="T82" fmla="*/ 334 w 738"/>
                <a:gd name="T83" fmla="*/ 788 h 2933"/>
                <a:gd name="T84" fmla="*/ 351 w 738"/>
                <a:gd name="T85" fmla="*/ 880 h 2933"/>
                <a:gd name="T86" fmla="*/ 369 w 738"/>
                <a:gd name="T87" fmla="*/ 972 h 2933"/>
                <a:gd name="T88" fmla="*/ 388 w 738"/>
                <a:gd name="T89" fmla="*/ 1065 h 2933"/>
                <a:gd name="T90" fmla="*/ 428 w 738"/>
                <a:gd name="T91" fmla="*/ 1253 h 2933"/>
                <a:gd name="T92" fmla="*/ 470 w 738"/>
                <a:gd name="T93" fmla="*/ 1441 h 2933"/>
                <a:gd name="T94" fmla="*/ 513 w 738"/>
                <a:gd name="T95" fmla="*/ 1631 h 2933"/>
                <a:gd name="T96" fmla="*/ 556 w 738"/>
                <a:gd name="T97" fmla="*/ 1821 h 2933"/>
                <a:gd name="T98" fmla="*/ 576 w 738"/>
                <a:gd name="T99" fmla="*/ 1917 h 2933"/>
                <a:gd name="T100" fmla="*/ 597 w 738"/>
                <a:gd name="T101" fmla="*/ 2010 h 2933"/>
                <a:gd name="T102" fmla="*/ 616 w 738"/>
                <a:gd name="T103" fmla="*/ 2105 h 2933"/>
                <a:gd name="T104" fmla="*/ 635 w 738"/>
                <a:gd name="T105" fmla="*/ 2199 h 2933"/>
                <a:gd name="T106" fmla="*/ 652 w 738"/>
                <a:gd name="T107" fmla="*/ 2293 h 2933"/>
                <a:gd name="T108" fmla="*/ 670 w 738"/>
                <a:gd name="T109" fmla="*/ 2387 h 2933"/>
                <a:gd name="T110" fmla="*/ 684 w 738"/>
                <a:gd name="T111" fmla="*/ 2479 h 2933"/>
                <a:gd name="T112" fmla="*/ 699 w 738"/>
                <a:gd name="T113" fmla="*/ 2571 h 2933"/>
                <a:gd name="T114" fmla="*/ 711 w 738"/>
                <a:gd name="T115" fmla="*/ 2663 h 2933"/>
                <a:gd name="T116" fmla="*/ 723 w 738"/>
                <a:gd name="T117" fmla="*/ 2754 h 2933"/>
                <a:gd name="T118" fmla="*/ 731 w 738"/>
                <a:gd name="T119" fmla="*/ 2844 h 2933"/>
                <a:gd name="T120" fmla="*/ 738 w 738"/>
                <a:gd name="T121" fmla="*/ 2933 h 2933"/>
                <a:gd name="T122" fmla="*/ 131 w 738"/>
                <a:gd name="T123" fmla="*/ 2933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8" h="2933">
                  <a:moveTo>
                    <a:pt x="131" y="2933"/>
                  </a:moveTo>
                  <a:lnTo>
                    <a:pt x="108" y="2838"/>
                  </a:lnTo>
                  <a:lnTo>
                    <a:pt x="86" y="2740"/>
                  </a:lnTo>
                  <a:lnTo>
                    <a:pt x="67" y="2640"/>
                  </a:lnTo>
                  <a:lnTo>
                    <a:pt x="51" y="2538"/>
                  </a:lnTo>
                  <a:lnTo>
                    <a:pt x="38" y="2433"/>
                  </a:lnTo>
                  <a:lnTo>
                    <a:pt x="26" y="2327"/>
                  </a:lnTo>
                  <a:lnTo>
                    <a:pt x="17" y="2220"/>
                  </a:lnTo>
                  <a:lnTo>
                    <a:pt x="10" y="2111"/>
                  </a:lnTo>
                  <a:lnTo>
                    <a:pt x="5" y="2002"/>
                  </a:lnTo>
                  <a:lnTo>
                    <a:pt x="2" y="1893"/>
                  </a:lnTo>
                  <a:lnTo>
                    <a:pt x="0" y="1783"/>
                  </a:lnTo>
                  <a:lnTo>
                    <a:pt x="2" y="1673"/>
                  </a:lnTo>
                  <a:lnTo>
                    <a:pt x="4" y="1564"/>
                  </a:lnTo>
                  <a:lnTo>
                    <a:pt x="8" y="1456"/>
                  </a:lnTo>
                  <a:lnTo>
                    <a:pt x="13" y="1350"/>
                  </a:lnTo>
                  <a:lnTo>
                    <a:pt x="20" y="1243"/>
                  </a:lnTo>
                  <a:lnTo>
                    <a:pt x="28" y="1139"/>
                  </a:lnTo>
                  <a:lnTo>
                    <a:pt x="39" y="1038"/>
                  </a:lnTo>
                  <a:lnTo>
                    <a:pt x="49" y="938"/>
                  </a:lnTo>
                  <a:lnTo>
                    <a:pt x="60" y="841"/>
                  </a:lnTo>
                  <a:lnTo>
                    <a:pt x="74" y="748"/>
                  </a:lnTo>
                  <a:lnTo>
                    <a:pt x="87" y="657"/>
                  </a:lnTo>
                  <a:lnTo>
                    <a:pt x="101" y="570"/>
                  </a:lnTo>
                  <a:lnTo>
                    <a:pt x="116" y="487"/>
                  </a:lnTo>
                  <a:lnTo>
                    <a:pt x="132" y="408"/>
                  </a:lnTo>
                  <a:lnTo>
                    <a:pt x="148" y="334"/>
                  </a:lnTo>
                  <a:lnTo>
                    <a:pt x="164" y="264"/>
                  </a:lnTo>
                  <a:lnTo>
                    <a:pt x="182" y="200"/>
                  </a:lnTo>
                  <a:lnTo>
                    <a:pt x="199" y="141"/>
                  </a:lnTo>
                  <a:lnTo>
                    <a:pt x="216" y="88"/>
                  </a:lnTo>
                  <a:lnTo>
                    <a:pt x="233" y="40"/>
                  </a:lnTo>
                  <a:lnTo>
                    <a:pt x="251" y="0"/>
                  </a:lnTo>
                  <a:lnTo>
                    <a:pt x="252" y="84"/>
                  </a:lnTo>
                  <a:lnTo>
                    <a:pt x="256" y="168"/>
                  </a:lnTo>
                  <a:lnTo>
                    <a:pt x="261" y="254"/>
                  </a:lnTo>
                  <a:lnTo>
                    <a:pt x="269" y="340"/>
                  </a:lnTo>
                  <a:lnTo>
                    <a:pt x="279" y="428"/>
                  </a:lnTo>
                  <a:lnTo>
                    <a:pt x="290" y="517"/>
                  </a:lnTo>
                  <a:lnTo>
                    <a:pt x="303" y="606"/>
                  </a:lnTo>
                  <a:lnTo>
                    <a:pt x="318" y="697"/>
                  </a:lnTo>
                  <a:lnTo>
                    <a:pt x="334" y="788"/>
                  </a:lnTo>
                  <a:lnTo>
                    <a:pt x="351" y="880"/>
                  </a:lnTo>
                  <a:lnTo>
                    <a:pt x="369" y="972"/>
                  </a:lnTo>
                  <a:lnTo>
                    <a:pt x="388" y="1065"/>
                  </a:lnTo>
                  <a:lnTo>
                    <a:pt x="428" y="1253"/>
                  </a:lnTo>
                  <a:lnTo>
                    <a:pt x="470" y="1441"/>
                  </a:lnTo>
                  <a:lnTo>
                    <a:pt x="513" y="1631"/>
                  </a:lnTo>
                  <a:lnTo>
                    <a:pt x="556" y="1821"/>
                  </a:lnTo>
                  <a:lnTo>
                    <a:pt x="576" y="1917"/>
                  </a:lnTo>
                  <a:lnTo>
                    <a:pt x="597" y="2010"/>
                  </a:lnTo>
                  <a:lnTo>
                    <a:pt x="616" y="2105"/>
                  </a:lnTo>
                  <a:lnTo>
                    <a:pt x="635" y="2199"/>
                  </a:lnTo>
                  <a:lnTo>
                    <a:pt x="652" y="2293"/>
                  </a:lnTo>
                  <a:lnTo>
                    <a:pt x="670" y="2387"/>
                  </a:lnTo>
                  <a:lnTo>
                    <a:pt x="684" y="2479"/>
                  </a:lnTo>
                  <a:lnTo>
                    <a:pt x="699" y="2571"/>
                  </a:lnTo>
                  <a:lnTo>
                    <a:pt x="711" y="2663"/>
                  </a:lnTo>
                  <a:lnTo>
                    <a:pt x="723" y="2754"/>
                  </a:lnTo>
                  <a:lnTo>
                    <a:pt x="731" y="2844"/>
                  </a:lnTo>
                  <a:lnTo>
                    <a:pt x="738" y="2933"/>
                  </a:lnTo>
                  <a:lnTo>
                    <a:pt x="131" y="29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5" name="Freeform 100"/>
            <p:cNvSpPr>
              <a:spLocks noChangeArrowheads="1"/>
            </p:cNvSpPr>
            <p:nvPr userDrawn="1"/>
          </p:nvSpPr>
          <p:spPr bwMode="auto">
            <a:xfrm>
              <a:off x="1544637" y="6025496"/>
              <a:ext cx="179387" cy="354464"/>
            </a:xfrm>
            <a:custGeom>
              <a:avLst/>
              <a:gdLst>
                <a:gd name="T0" fmla="*/ 0 w 403"/>
                <a:gd name="T1" fmla="*/ 638 h 638"/>
                <a:gd name="T2" fmla="*/ 11 w 403"/>
                <a:gd name="T3" fmla="*/ 599 h 638"/>
                <a:gd name="T4" fmla="*/ 23 w 403"/>
                <a:gd name="T5" fmla="*/ 560 h 638"/>
                <a:gd name="T6" fmla="*/ 35 w 403"/>
                <a:gd name="T7" fmla="*/ 520 h 638"/>
                <a:gd name="T8" fmla="*/ 47 w 403"/>
                <a:gd name="T9" fmla="*/ 482 h 638"/>
                <a:gd name="T10" fmla="*/ 61 w 403"/>
                <a:gd name="T11" fmla="*/ 443 h 638"/>
                <a:gd name="T12" fmla="*/ 75 w 403"/>
                <a:gd name="T13" fmla="*/ 405 h 638"/>
                <a:gd name="T14" fmla="*/ 90 w 403"/>
                <a:gd name="T15" fmla="*/ 368 h 638"/>
                <a:gd name="T16" fmla="*/ 104 w 403"/>
                <a:gd name="T17" fmla="*/ 331 h 638"/>
                <a:gd name="T18" fmla="*/ 120 w 403"/>
                <a:gd name="T19" fmla="*/ 294 h 638"/>
                <a:gd name="T20" fmla="*/ 136 w 403"/>
                <a:gd name="T21" fmla="*/ 257 h 638"/>
                <a:gd name="T22" fmla="*/ 152 w 403"/>
                <a:gd name="T23" fmla="*/ 221 h 638"/>
                <a:gd name="T24" fmla="*/ 170 w 403"/>
                <a:gd name="T25" fmla="*/ 184 h 638"/>
                <a:gd name="T26" fmla="*/ 187 w 403"/>
                <a:gd name="T27" fmla="*/ 148 h 638"/>
                <a:gd name="T28" fmla="*/ 206 w 403"/>
                <a:gd name="T29" fmla="*/ 112 h 638"/>
                <a:gd name="T30" fmla="*/ 226 w 403"/>
                <a:gd name="T31" fmla="*/ 77 h 638"/>
                <a:gd name="T32" fmla="*/ 245 w 403"/>
                <a:gd name="T33" fmla="*/ 43 h 638"/>
                <a:gd name="T34" fmla="*/ 249 w 403"/>
                <a:gd name="T35" fmla="*/ 36 h 638"/>
                <a:gd name="T36" fmla="*/ 255 w 403"/>
                <a:gd name="T37" fmla="*/ 29 h 638"/>
                <a:gd name="T38" fmla="*/ 261 w 403"/>
                <a:gd name="T39" fmla="*/ 23 h 638"/>
                <a:gd name="T40" fmla="*/ 268 w 403"/>
                <a:gd name="T41" fmla="*/ 17 h 638"/>
                <a:gd name="T42" fmla="*/ 274 w 403"/>
                <a:gd name="T43" fmla="*/ 12 h 638"/>
                <a:gd name="T44" fmla="*/ 281 w 403"/>
                <a:gd name="T45" fmla="*/ 9 h 638"/>
                <a:gd name="T46" fmla="*/ 288 w 403"/>
                <a:gd name="T47" fmla="*/ 5 h 638"/>
                <a:gd name="T48" fmla="*/ 297 w 403"/>
                <a:gd name="T49" fmla="*/ 3 h 638"/>
                <a:gd name="T50" fmla="*/ 305 w 403"/>
                <a:gd name="T51" fmla="*/ 1 h 638"/>
                <a:gd name="T52" fmla="*/ 313 w 403"/>
                <a:gd name="T53" fmla="*/ 0 h 638"/>
                <a:gd name="T54" fmla="*/ 320 w 403"/>
                <a:gd name="T55" fmla="*/ 0 h 638"/>
                <a:gd name="T56" fmla="*/ 330 w 403"/>
                <a:gd name="T57" fmla="*/ 1 h 638"/>
                <a:gd name="T58" fmla="*/ 337 w 403"/>
                <a:gd name="T59" fmla="*/ 2 h 638"/>
                <a:gd name="T60" fmla="*/ 345 w 403"/>
                <a:gd name="T61" fmla="*/ 4 h 638"/>
                <a:gd name="T62" fmla="*/ 353 w 403"/>
                <a:gd name="T63" fmla="*/ 7 h 638"/>
                <a:gd name="T64" fmla="*/ 362 w 403"/>
                <a:gd name="T65" fmla="*/ 11 h 638"/>
                <a:gd name="T66" fmla="*/ 372 w 403"/>
                <a:gd name="T67" fmla="*/ 18 h 638"/>
                <a:gd name="T68" fmla="*/ 381 w 403"/>
                <a:gd name="T69" fmla="*/ 28 h 638"/>
                <a:gd name="T70" fmla="*/ 389 w 403"/>
                <a:gd name="T71" fmla="*/ 38 h 638"/>
                <a:gd name="T72" fmla="*/ 396 w 403"/>
                <a:gd name="T73" fmla="*/ 49 h 638"/>
                <a:gd name="T74" fmla="*/ 400 w 403"/>
                <a:gd name="T75" fmla="*/ 62 h 638"/>
                <a:gd name="T76" fmla="*/ 403 w 403"/>
                <a:gd name="T77" fmla="*/ 74 h 638"/>
                <a:gd name="T78" fmla="*/ 403 w 403"/>
                <a:gd name="T79" fmla="*/ 86 h 638"/>
                <a:gd name="T80" fmla="*/ 402 w 403"/>
                <a:gd name="T81" fmla="*/ 100 h 638"/>
                <a:gd name="T82" fmla="*/ 395 w 403"/>
                <a:gd name="T83" fmla="*/ 170 h 638"/>
                <a:gd name="T84" fmla="*/ 388 w 403"/>
                <a:gd name="T85" fmla="*/ 240 h 638"/>
                <a:gd name="T86" fmla="*/ 383 w 403"/>
                <a:gd name="T87" fmla="*/ 308 h 638"/>
                <a:gd name="T88" fmla="*/ 379 w 403"/>
                <a:gd name="T89" fmla="*/ 375 h 638"/>
                <a:gd name="T90" fmla="*/ 376 w 403"/>
                <a:gd name="T91" fmla="*/ 442 h 638"/>
                <a:gd name="T92" fmla="*/ 373 w 403"/>
                <a:gd name="T93" fmla="*/ 508 h 638"/>
                <a:gd name="T94" fmla="*/ 372 w 403"/>
                <a:gd name="T95" fmla="*/ 573 h 638"/>
                <a:gd name="T96" fmla="*/ 371 w 403"/>
                <a:gd name="T97" fmla="*/ 638 h 638"/>
                <a:gd name="T98" fmla="*/ 202 w 403"/>
                <a:gd name="T99" fmla="*/ 638 h 638"/>
                <a:gd name="T100" fmla="*/ 202 w 403"/>
                <a:gd name="T101" fmla="*/ 616 h 638"/>
                <a:gd name="T102" fmla="*/ 202 w 403"/>
                <a:gd name="T103" fmla="*/ 595 h 638"/>
                <a:gd name="T104" fmla="*/ 203 w 403"/>
                <a:gd name="T105" fmla="*/ 572 h 638"/>
                <a:gd name="T106" fmla="*/ 203 w 403"/>
                <a:gd name="T107" fmla="*/ 550 h 638"/>
                <a:gd name="T108" fmla="*/ 196 w 403"/>
                <a:gd name="T109" fmla="*/ 572 h 638"/>
                <a:gd name="T110" fmla="*/ 189 w 403"/>
                <a:gd name="T111" fmla="*/ 594 h 638"/>
                <a:gd name="T112" fmla="*/ 182 w 403"/>
                <a:gd name="T113" fmla="*/ 616 h 638"/>
                <a:gd name="T114" fmla="*/ 175 w 403"/>
                <a:gd name="T115" fmla="*/ 638 h 638"/>
                <a:gd name="T116" fmla="*/ 0 w 403"/>
                <a:gd name="T117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3" h="638">
                  <a:moveTo>
                    <a:pt x="0" y="638"/>
                  </a:moveTo>
                  <a:lnTo>
                    <a:pt x="11" y="599"/>
                  </a:lnTo>
                  <a:lnTo>
                    <a:pt x="23" y="560"/>
                  </a:lnTo>
                  <a:lnTo>
                    <a:pt x="35" y="520"/>
                  </a:lnTo>
                  <a:lnTo>
                    <a:pt x="47" y="482"/>
                  </a:lnTo>
                  <a:lnTo>
                    <a:pt x="61" y="443"/>
                  </a:lnTo>
                  <a:lnTo>
                    <a:pt x="75" y="405"/>
                  </a:lnTo>
                  <a:lnTo>
                    <a:pt x="90" y="368"/>
                  </a:lnTo>
                  <a:lnTo>
                    <a:pt x="104" y="331"/>
                  </a:lnTo>
                  <a:lnTo>
                    <a:pt x="120" y="294"/>
                  </a:lnTo>
                  <a:lnTo>
                    <a:pt x="136" y="257"/>
                  </a:lnTo>
                  <a:lnTo>
                    <a:pt x="152" y="221"/>
                  </a:lnTo>
                  <a:lnTo>
                    <a:pt x="170" y="184"/>
                  </a:lnTo>
                  <a:lnTo>
                    <a:pt x="187" y="148"/>
                  </a:lnTo>
                  <a:lnTo>
                    <a:pt x="206" y="112"/>
                  </a:lnTo>
                  <a:lnTo>
                    <a:pt x="226" y="77"/>
                  </a:lnTo>
                  <a:lnTo>
                    <a:pt x="245" y="43"/>
                  </a:lnTo>
                  <a:lnTo>
                    <a:pt x="249" y="36"/>
                  </a:lnTo>
                  <a:lnTo>
                    <a:pt x="255" y="29"/>
                  </a:lnTo>
                  <a:lnTo>
                    <a:pt x="261" y="23"/>
                  </a:lnTo>
                  <a:lnTo>
                    <a:pt x="268" y="17"/>
                  </a:lnTo>
                  <a:lnTo>
                    <a:pt x="274" y="12"/>
                  </a:lnTo>
                  <a:lnTo>
                    <a:pt x="281" y="9"/>
                  </a:lnTo>
                  <a:lnTo>
                    <a:pt x="288" y="5"/>
                  </a:lnTo>
                  <a:lnTo>
                    <a:pt x="297" y="3"/>
                  </a:lnTo>
                  <a:lnTo>
                    <a:pt x="305" y="1"/>
                  </a:lnTo>
                  <a:lnTo>
                    <a:pt x="313" y="0"/>
                  </a:lnTo>
                  <a:lnTo>
                    <a:pt x="320" y="0"/>
                  </a:lnTo>
                  <a:lnTo>
                    <a:pt x="330" y="1"/>
                  </a:lnTo>
                  <a:lnTo>
                    <a:pt x="337" y="2"/>
                  </a:lnTo>
                  <a:lnTo>
                    <a:pt x="345" y="4"/>
                  </a:lnTo>
                  <a:lnTo>
                    <a:pt x="353" y="7"/>
                  </a:lnTo>
                  <a:lnTo>
                    <a:pt x="362" y="11"/>
                  </a:lnTo>
                  <a:lnTo>
                    <a:pt x="372" y="18"/>
                  </a:lnTo>
                  <a:lnTo>
                    <a:pt x="381" y="28"/>
                  </a:lnTo>
                  <a:lnTo>
                    <a:pt x="389" y="38"/>
                  </a:lnTo>
                  <a:lnTo>
                    <a:pt x="396" y="49"/>
                  </a:lnTo>
                  <a:lnTo>
                    <a:pt x="400" y="62"/>
                  </a:lnTo>
                  <a:lnTo>
                    <a:pt x="403" y="74"/>
                  </a:lnTo>
                  <a:lnTo>
                    <a:pt x="403" y="86"/>
                  </a:lnTo>
                  <a:lnTo>
                    <a:pt x="402" y="100"/>
                  </a:lnTo>
                  <a:lnTo>
                    <a:pt x="395" y="170"/>
                  </a:lnTo>
                  <a:lnTo>
                    <a:pt x="388" y="240"/>
                  </a:lnTo>
                  <a:lnTo>
                    <a:pt x="383" y="308"/>
                  </a:lnTo>
                  <a:lnTo>
                    <a:pt x="379" y="375"/>
                  </a:lnTo>
                  <a:lnTo>
                    <a:pt x="376" y="442"/>
                  </a:lnTo>
                  <a:lnTo>
                    <a:pt x="373" y="508"/>
                  </a:lnTo>
                  <a:lnTo>
                    <a:pt x="372" y="573"/>
                  </a:lnTo>
                  <a:lnTo>
                    <a:pt x="371" y="638"/>
                  </a:lnTo>
                  <a:lnTo>
                    <a:pt x="202" y="638"/>
                  </a:lnTo>
                  <a:lnTo>
                    <a:pt x="202" y="616"/>
                  </a:lnTo>
                  <a:lnTo>
                    <a:pt x="202" y="595"/>
                  </a:lnTo>
                  <a:lnTo>
                    <a:pt x="203" y="572"/>
                  </a:lnTo>
                  <a:lnTo>
                    <a:pt x="203" y="550"/>
                  </a:lnTo>
                  <a:lnTo>
                    <a:pt x="196" y="572"/>
                  </a:lnTo>
                  <a:lnTo>
                    <a:pt x="189" y="594"/>
                  </a:lnTo>
                  <a:lnTo>
                    <a:pt x="182" y="616"/>
                  </a:lnTo>
                  <a:lnTo>
                    <a:pt x="175" y="638"/>
                  </a:lnTo>
                  <a:lnTo>
                    <a:pt x="0" y="6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6" name="Freeform 101"/>
            <p:cNvSpPr>
              <a:spLocks noChangeArrowheads="1"/>
            </p:cNvSpPr>
            <p:nvPr userDrawn="1"/>
          </p:nvSpPr>
          <p:spPr bwMode="auto">
            <a:xfrm>
              <a:off x="1579562" y="6070251"/>
              <a:ext cx="107950" cy="309709"/>
            </a:xfrm>
            <a:custGeom>
              <a:avLst/>
              <a:gdLst>
                <a:gd name="T0" fmla="*/ 0 w 230"/>
                <a:gd name="T1" fmla="*/ 553 h 553"/>
                <a:gd name="T2" fmla="*/ 11 w 230"/>
                <a:gd name="T3" fmla="*/ 517 h 553"/>
                <a:gd name="T4" fmla="*/ 21 w 230"/>
                <a:gd name="T5" fmla="*/ 480 h 553"/>
                <a:gd name="T6" fmla="*/ 34 w 230"/>
                <a:gd name="T7" fmla="*/ 444 h 553"/>
                <a:gd name="T8" fmla="*/ 45 w 230"/>
                <a:gd name="T9" fmla="*/ 408 h 553"/>
                <a:gd name="T10" fmla="*/ 58 w 230"/>
                <a:gd name="T11" fmla="*/ 373 h 553"/>
                <a:gd name="T12" fmla="*/ 71 w 230"/>
                <a:gd name="T13" fmla="*/ 338 h 553"/>
                <a:gd name="T14" fmla="*/ 85 w 230"/>
                <a:gd name="T15" fmla="*/ 303 h 553"/>
                <a:gd name="T16" fmla="*/ 98 w 230"/>
                <a:gd name="T17" fmla="*/ 267 h 553"/>
                <a:gd name="T18" fmla="*/ 113 w 230"/>
                <a:gd name="T19" fmla="*/ 233 h 553"/>
                <a:gd name="T20" fmla="*/ 128 w 230"/>
                <a:gd name="T21" fmla="*/ 199 h 553"/>
                <a:gd name="T22" fmla="*/ 144 w 230"/>
                <a:gd name="T23" fmla="*/ 165 h 553"/>
                <a:gd name="T24" fmla="*/ 160 w 230"/>
                <a:gd name="T25" fmla="*/ 131 h 553"/>
                <a:gd name="T26" fmla="*/ 177 w 230"/>
                <a:gd name="T27" fmla="*/ 98 h 553"/>
                <a:gd name="T28" fmla="*/ 194 w 230"/>
                <a:gd name="T29" fmla="*/ 65 h 553"/>
                <a:gd name="T30" fmla="*/ 212 w 230"/>
                <a:gd name="T31" fmla="*/ 32 h 553"/>
                <a:gd name="T32" fmla="*/ 230 w 230"/>
                <a:gd name="T33" fmla="*/ 0 h 553"/>
                <a:gd name="T34" fmla="*/ 223 w 230"/>
                <a:gd name="T35" fmla="*/ 73 h 553"/>
                <a:gd name="T36" fmla="*/ 217 w 230"/>
                <a:gd name="T37" fmla="*/ 144 h 553"/>
                <a:gd name="T38" fmla="*/ 212 w 230"/>
                <a:gd name="T39" fmla="*/ 214 h 553"/>
                <a:gd name="T40" fmla="*/ 207 w 230"/>
                <a:gd name="T41" fmla="*/ 284 h 553"/>
                <a:gd name="T42" fmla="*/ 204 w 230"/>
                <a:gd name="T43" fmla="*/ 352 h 553"/>
                <a:gd name="T44" fmla="*/ 200 w 230"/>
                <a:gd name="T45" fmla="*/ 420 h 553"/>
                <a:gd name="T46" fmla="*/ 199 w 230"/>
                <a:gd name="T47" fmla="*/ 487 h 553"/>
                <a:gd name="T48" fmla="*/ 198 w 230"/>
                <a:gd name="T49" fmla="*/ 553 h 553"/>
                <a:gd name="T50" fmla="*/ 0 w 230"/>
                <a:gd name="T51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0" h="553">
                  <a:moveTo>
                    <a:pt x="0" y="553"/>
                  </a:moveTo>
                  <a:lnTo>
                    <a:pt x="11" y="517"/>
                  </a:lnTo>
                  <a:lnTo>
                    <a:pt x="21" y="480"/>
                  </a:lnTo>
                  <a:lnTo>
                    <a:pt x="34" y="444"/>
                  </a:lnTo>
                  <a:lnTo>
                    <a:pt x="45" y="408"/>
                  </a:lnTo>
                  <a:lnTo>
                    <a:pt x="58" y="373"/>
                  </a:lnTo>
                  <a:lnTo>
                    <a:pt x="71" y="338"/>
                  </a:lnTo>
                  <a:lnTo>
                    <a:pt x="85" y="303"/>
                  </a:lnTo>
                  <a:lnTo>
                    <a:pt x="98" y="267"/>
                  </a:lnTo>
                  <a:lnTo>
                    <a:pt x="113" y="233"/>
                  </a:lnTo>
                  <a:lnTo>
                    <a:pt x="128" y="199"/>
                  </a:lnTo>
                  <a:lnTo>
                    <a:pt x="144" y="165"/>
                  </a:lnTo>
                  <a:lnTo>
                    <a:pt x="160" y="131"/>
                  </a:lnTo>
                  <a:lnTo>
                    <a:pt x="177" y="98"/>
                  </a:lnTo>
                  <a:lnTo>
                    <a:pt x="194" y="65"/>
                  </a:lnTo>
                  <a:lnTo>
                    <a:pt x="212" y="32"/>
                  </a:lnTo>
                  <a:lnTo>
                    <a:pt x="230" y="0"/>
                  </a:lnTo>
                  <a:lnTo>
                    <a:pt x="223" y="73"/>
                  </a:lnTo>
                  <a:lnTo>
                    <a:pt x="217" y="144"/>
                  </a:lnTo>
                  <a:lnTo>
                    <a:pt x="212" y="214"/>
                  </a:lnTo>
                  <a:lnTo>
                    <a:pt x="207" y="284"/>
                  </a:lnTo>
                  <a:lnTo>
                    <a:pt x="204" y="352"/>
                  </a:lnTo>
                  <a:lnTo>
                    <a:pt x="200" y="420"/>
                  </a:lnTo>
                  <a:lnTo>
                    <a:pt x="199" y="487"/>
                  </a:lnTo>
                  <a:lnTo>
                    <a:pt x="198" y="553"/>
                  </a:lnTo>
                  <a:lnTo>
                    <a:pt x="0" y="55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7" name="Freeform 102"/>
            <p:cNvSpPr>
              <a:spLocks noChangeArrowheads="1"/>
            </p:cNvSpPr>
            <p:nvPr userDrawn="1"/>
          </p:nvSpPr>
          <p:spPr bwMode="auto">
            <a:xfrm>
              <a:off x="1155699" y="6354897"/>
              <a:ext cx="63500" cy="25063"/>
            </a:xfrm>
            <a:custGeom>
              <a:avLst/>
              <a:gdLst>
                <a:gd name="T0" fmla="*/ 0 w 146"/>
                <a:gd name="T1" fmla="*/ 43 h 43"/>
                <a:gd name="T2" fmla="*/ 7 w 146"/>
                <a:gd name="T3" fmla="*/ 33 h 43"/>
                <a:gd name="T4" fmla="*/ 16 w 146"/>
                <a:gd name="T5" fmla="*/ 22 h 43"/>
                <a:gd name="T6" fmla="*/ 26 w 146"/>
                <a:gd name="T7" fmla="*/ 15 h 43"/>
                <a:gd name="T8" fmla="*/ 37 w 146"/>
                <a:gd name="T9" fmla="*/ 9 h 43"/>
                <a:gd name="T10" fmla="*/ 48 w 146"/>
                <a:gd name="T11" fmla="*/ 4 h 43"/>
                <a:gd name="T12" fmla="*/ 61 w 146"/>
                <a:gd name="T13" fmla="*/ 1 h 43"/>
                <a:gd name="T14" fmla="*/ 68 w 146"/>
                <a:gd name="T15" fmla="*/ 1 h 43"/>
                <a:gd name="T16" fmla="*/ 74 w 146"/>
                <a:gd name="T17" fmla="*/ 0 h 43"/>
                <a:gd name="T18" fmla="*/ 81 w 146"/>
                <a:gd name="T19" fmla="*/ 1 h 43"/>
                <a:gd name="T20" fmla="*/ 88 w 146"/>
                <a:gd name="T21" fmla="*/ 2 h 43"/>
                <a:gd name="T22" fmla="*/ 97 w 146"/>
                <a:gd name="T23" fmla="*/ 4 h 43"/>
                <a:gd name="T24" fmla="*/ 106 w 146"/>
                <a:gd name="T25" fmla="*/ 7 h 43"/>
                <a:gd name="T26" fmla="*/ 114 w 146"/>
                <a:gd name="T27" fmla="*/ 11 h 43"/>
                <a:gd name="T28" fmla="*/ 122 w 146"/>
                <a:gd name="T29" fmla="*/ 16 h 43"/>
                <a:gd name="T30" fmla="*/ 129 w 146"/>
                <a:gd name="T31" fmla="*/ 22 h 43"/>
                <a:gd name="T32" fmla="*/ 136 w 146"/>
                <a:gd name="T33" fmla="*/ 29 h 43"/>
                <a:gd name="T34" fmla="*/ 141 w 146"/>
                <a:gd name="T35" fmla="*/ 36 h 43"/>
                <a:gd name="T36" fmla="*/ 146 w 146"/>
                <a:gd name="T37" fmla="*/ 43 h 43"/>
                <a:gd name="T38" fmla="*/ 0 w 146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6" h="43">
                  <a:moveTo>
                    <a:pt x="0" y="43"/>
                  </a:moveTo>
                  <a:lnTo>
                    <a:pt x="7" y="33"/>
                  </a:lnTo>
                  <a:lnTo>
                    <a:pt x="16" y="22"/>
                  </a:lnTo>
                  <a:lnTo>
                    <a:pt x="26" y="15"/>
                  </a:lnTo>
                  <a:lnTo>
                    <a:pt x="37" y="9"/>
                  </a:lnTo>
                  <a:lnTo>
                    <a:pt x="48" y="4"/>
                  </a:lnTo>
                  <a:lnTo>
                    <a:pt x="61" y="1"/>
                  </a:lnTo>
                  <a:lnTo>
                    <a:pt x="68" y="1"/>
                  </a:lnTo>
                  <a:lnTo>
                    <a:pt x="74" y="0"/>
                  </a:lnTo>
                  <a:lnTo>
                    <a:pt x="81" y="1"/>
                  </a:lnTo>
                  <a:lnTo>
                    <a:pt x="88" y="2"/>
                  </a:lnTo>
                  <a:lnTo>
                    <a:pt x="97" y="4"/>
                  </a:lnTo>
                  <a:lnTo>
                    <a:pt x="106" y="7"/>
                  </a:lnTo>
                  <a:lnTo>
                    <a:pt x="114" y="11"/>
                  </a:lnTo>
                  <a:lnTo>
                    <a:pt x="122" y="16"/>
                  </a:lnTo>
                  <a:lnTo>
                    <a:pt x="129" y="22"/>
                  </a:lnTo>
                  <a:lnTo>
                    <a:pt x="136" y="29"/>
                  </a:lnTo>
                  <a:lnTo>
                    <a:pt x="141" y="36"/>
                  </a:lnTo>
                  <a:lnTo>
                    <a:pt x="146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8" name="Freeform 103"/>
            <p:cNvSpPr>
              <a:spLocks noChangeArrowheads="1"/>
            </p:cNvSpPr>
            <p:nvPr userDrawn="1"/>
          </p:nvSpPr>
          <p:spPr bwMode="auto">
            <a:xfrm>
              <a:off x="6604000" y="2137129"/>
              <a:ext cx="358775" cy="470828"/>
            </a:xfrm>
            <a:custGeom>
              <a:avLst/>
              <a:gdLst>
                <a:gd name="T0" fmla="*/ 340 w 805"/>
                <a:gd name="T1" fmla="*/ 850 h 850"/>
                <a:gd name="T2" fmla="*/ 805 w 805"/>
                <a:gd name="T3" fmla="*/ 638 h 850"/>
                <a:gd name="T4" fmla="*/ 594 w 805"/>
                <a:gd name="T5" fmla="*/ 384 h 850"/>
                <a:gd name="T6" fmla="*/ 466 w 805"/>
                <a:gd name="T7" fmla="*/ 0 h 850"/>
                <a:gd name="T8" fmla="*/ 382 w 805"/>
                <a:gd name="T9" fmla="*/ 596 h 850"/>
                <a:gd name="T10" fmla="*/ 0 w 805"/>
                <a:gd name="T11" fmla="*/ 850 h 850"/>
                <a:gd name="T12" fmla="*/ 340 w 805"/>
                <a:gd name="T13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5" h="850">
                  <a:moveTo>
                    <a:pt x="340" y="850"/>
                  </a:moveTo>
                  <a:lnTo>
                    <a:pt x="805" y="638"/>
                  </a:lnTo>
                  <a:lnTo>
                    <a:pt x="594" y="384"/>
                  </a:lnTo>
                  <a:lnTo>
                    <a:pt x="466" y="0"/>
                  </a:lnTo>
                  <a:lnTo>
                    <a:pt x="382" y="596"/>
                  </a:lnTo>
                  <a:lnTo>
                    <a:pt x="0" y="850"/>
                  </a:lnTo>
                  <a:lnTo>
                    <a:pt x="340" y="8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19" name="Freeform 104"/>
            <p:cNvSpPr>
              <a:spLocks noChangeArrowheads="1"/>
            </p:cNvSpPr>
            <p:nvPr userDrawn="1"/>
          </p:nvSpPr>
          <p:spPr bwMode="auto">
            <a:xfrm>
              <a:off x="6604000" y="2137129"/>
              <a:ext cx="358775" cy="470828"/>
            </a:xfrm>
            <a:custGeom>
              <a:avLst/>
              <a:gdLst>
                <a:gd name="T0" fmla="*/ 340 w 805"/>
                <a:gd name="T1" fmla="*/ 850 h 850"/>
                <a:gd name="T2" fmla="*/ 805 w 805"/>
                <a:gd name="T3" fmla="*/ 638 h 850"/>
                <a:gd name="T4" fmla="*/ 594 w 805"/>
                <a:gd name="T5" fmla="*/ 384 h 850"/>
                <a:gd name="T6" fmla="*/ 466 w 805"/>
                <a:gd name="T7" fmla="*/ 0 h 850"/>
                <a:gd name="T8" fmla="*/ 382 w 805"/>
                <a:gd name="T9" fmla="*/ 596 h 850"/>
                <a:gd name="T10" fmla="*/ 0 w 805"/>
                <a:gd name="T11" fmla="*/ 850 h 850"/>
                <a:gd name="T12" fmla="*/ 340 w 805"/>
                <a:gd name="T13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5" h="850">
                  <a:moveTo>
                    <a:pt x="340" y="850"/>
                  </a:moveTo>
                  <a:lnTo>
                    <a:pt x="805" y="638"/>
                  </a:lnTo>
                  <a:lnTo>
                    <a:pt x="594" y="384"/>
                  </a:lnTo>
                  <a:lnTo>
                    <a:pt x="466" y="0"/>
                  </a:lnTo>
                  <a:lnTo>
                    <a:pt x="382" y="596"/>
                  </a:lnTo>
                  <a:lnTo>
                    <a:pt x="0" y="850"/>
                  </a:lnTo>
                  <a:lnTo>
                    <a:pt x="340" y="8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20" name="Freeform 105"/>
            <p:cNvSpPr>
              <a:spLocks noChangeArrowheads="1"/>
            </p:cNvSpPr>
            <p:nvPr userDrawn="1"/>
          </p:nvSpPr>
          <p:spPr bwMode="auto">
            <a:xfrm>
              <a:off x="2600324" y="3051933"/>
              <a:ext cx="3808414" cy="3328027"/>
            </a:xfrm>
            <a:custGeom>
              <a:avLst/>
              <a:gdLst>
                <a:gd name="T0" fmla="*/ 4660 w 8456"/>
                <a:gd name="T1" fmla="*/ 22 h 6004"/>
                <a:gd name="T2" fmla="*/ 5284 w 8456"/>
                <a:gd name="T3" fmla="*/ 134 h 6004"/>
                <a:gd name="T4" fmla="*/ 5874 w 8456"/>
                <a:gd name="T5" fmla="*/ 333 h 6004"/>
                <a:gd name="T6" fmla="*/ 6420 w 8456"/>
                <a:gd name="T7" fmla="*/ 615 h 6004"/>
                <a:gd name="T8" fmla="*/ 6917 w 8456"/>
                <a:gd name="T9" fmla="*/ 968 h 6004"/>
                <a:gd name="T10" fmla="*/ 7357 w 8456"/>
                <a:gd name="T11" fmla="*/ 1390 h 6004"/>
                <a:gd name="T12" fmla="*/ 7734 w 8456"/>
                <a:gd name="T13" fmla="*/ 1870 h 6004"/>
                <a:gd name="T14" fmla="*/ 8039 w 8456"/>
                <a:gd name="T15" fmla="*/ 2402 h 6004"/>
                <a:gd name="T16" fmla="*/ 8266 w 8456"/>
                <a:gd name="T17" fmla="*/ 2980 h 6004"/>
                <a:gd name="T18" fmla="*/ 8407 w 8456"/>
                <a:gd name="T19" fmla="*/ 3595 h 6004"/>
                <a:gd name="T20" fmla="*/ 8456 w 8456"/>
                <a:gd name="T21" fmla="*/ 4240 h 6004"/>
                <a:gd name="T22" fmla="*/ 8452 w 8456"/>
                <a:gd name="T23" fmla="*/ 4417 h 6004"/>
                <a:gd name="T24" fmla="*/ 8442 w 8456"/>
                <a:gd name="T25" fmla="*/ 4591 h 6004"/>
                <a:gd name="T26" fmla="*/ 8424 w 8456"/>
                <a:gd name="T27" fmla="*/ 4763 h 6004"/>
                <a:gd name="T28" fmla="*/ 8399 w 8456"/>
                <a:gd name="T29" fmla="*/ 4933 h 6004"/>
                <a:gd name="T30" fmla="*/ 8369 w 8456"/>
                <a:gd name="T31" fmla="*/ 5101 h 6004"/>
                <a:gd name="T32" fmla="*/ 8330 w 8456"/>
                <a:gd name="T33" fmla="*/ 5267 h 6004"/>
                <a:gd name="T34" fmla="*/ 8286 w 8456"/>
                <a:gd name="T35" fmla="*/ 5430 h 6004"/>
                <a:gd name="T36" fmla="*/ 8237 w 8456"/>
                <a:gd name="T37" fmla="*/ 5591 h 6004"/>
                <a:gd name="T38" fmla="*/ 8180 w 8456"/>
                <a:gd name="T39" fmla="*/ 5748 h 6004"/>
                <a:gd name="T40" fmla="*/ 8117 w 8456"/>
                <a:gd name="T41" fmla="*/ 5903 h 6004"/>
                <a:gd name="T42" fmla="*/ 383 w 8456"/>
                <a:gd name="T43" fmla="*/ 6004 h 6004"/>
                <a:gd name="T44" fmla="*/ 317 w 8456"/>
                <a:gd name="T45" fmla="*/ 5851 h 6004"/>
                <a:gd name="T46" fmla="*/ 256 w 8456"/>
                <a:gd name="T47" fmla="*/ 5696 h 6004"/>
                <a:gd name="T48" fmla="*/ 202 w 8456"/>
                <a:gd name="T49" fmla="*/ 5537 h 6004"/>
                <a:gd name="T50" fmla="*/ 153 w 8456"/>
                <a:gd name="T51" fmla="*/ 5376 h 6004"/>
                <a:gd name="T52" fmla="*/ 112 w 8456"/>
                <a:gd name="T53" fmla="*/ 5212 h 6004"/>
                <a:gd name="T54" fmla="*/ 76 w 8456"/>
                <a:gd name="T55" fmla="*/ 5045 h 6004"/>
                <a:gd name="T56" fmla="*/ 47 w 8456"/>
                <a:gd name="T57" fmla="*/ 4876 h 6004"/>
                <a:gd name="T58" fmla="*/ 26 w 8456"/>
                <a:gd name="T59" fmla="*/ 4706 h 6004"/>
                <a:gd name="T60" fmla="*/ 10 w 8456"/>
                <a:gd name="T61" fmla="*/ 4533 h 6004"/>
                <a:gd name="T62" fmla="*/ 2 w 8456"/>
                <a:gd name="T63" fmla="*/ 4358 h 6004"/>
                <a:gd name="T64" fmla="*/ 6 w 8456"/>
                <a:gd name="T65" fmla="*/ 4022 h 6004"/>
                <a:gd name="T66" fmla="*/ 86 w 8456"/>
                <a:gd name="T67" fmla="*/ 3386 h 6004"/>
                <a:gd name="T68" fmla="*/ 256 w 8456"/>
                <a:gd name="T69" fmla="*/ 2783 h 6004"/>
                <a:gd name="T70" fmla="*/ 511 w 8456"/>
                <a:gd name="T71" fmla="*/ 2220 h 6004"/>
                <a:gd name="T72" fmla="*/ 840 w 8456"/>
                <a:gd name="T73" fmla="*/ 1703 h 6004"/>
                <a:gd name="T74" fmla="*/ 1239 w 8456"/>
                <a:gd name="T75" fmla="*/ 1243 h 6004"/>
                <a:gd name="T76" fmla="*/ 1698 w 8456"/>
                <a:gd name="T77" fmla="*/ 843 h 6004"/>
                <a:gd name="T78" fmla="*/ 2212 w 8456"/>
                <a:gd name="T79" fmla="*/ 513 h 6004"/>
                <a:gd name="T80" fmla="*/ 2775 w 8456"/>
                <a:gd name="T81" fmla="*/ 258 h 6004"/>
                <a:gd name="T82" fmla="*/ 3376 w 8456"/>
                <a:gd name="T83" fmla="*/ 87 h 6004"/>
                <a:gd name="T84" fmla="*/ 4011 w 8456"/>
                <a:gd name="T85" fmla="*/ 7 h 6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6" h="6004">
                  <a:moveTo>
                    <a:pt x="4228" y="0"/>
                  </a:moveTo>
                  <a:lnTo>
                    <a:pt x="4445" y="7"/>
                  </a:lnTo>
                  <a:lnTo>
                    <a:pt x="4660" y="22"/>
                  </a:lnTo>
                  <a:lnTo>
                    <a:pt x="4872" y="50"/>
                  </a:lnTo>
                  <a:lnTo>
                    <a:pt x="5080" y="87"/>
                  </a:lnTo>
                  <a:lnTo>
                    <a:pt x="5284" y="134"/>
                  </a:lnTo>
                  <a:lnTo>
                    <a:pt x="5485" y="191"/>
                  </a:lnTo>
                  <a:lnTo>
                    <a:pt x="5681" y="258"/>
                  </a:lnTo>
                  <a:lnTo>
                    <a:pt x="5874" y="333"/>
                  </a:lnTo>
                  <a:lnTo>
                    <a:pt x="6060" y="419"/>
                  </a:lnTo>
                  <a:lnTo>
                    <a:pt x="6243" y="513"/>
                  </a:lnTo>
                  <a:lnTo>
                    <a:pt x="6420" y="615"/>
                  </a:lnTo>
                  <a:lnTo>
                    <a:pt x="6592" y="725"/>
                  </a:lnTo>
                  <a:lnTo>
                    <a:pt x="6758" y="843"/>
                  </a:lnTo>
                  <a:lnTo>
                    <a:pt x="6917" y="968"/>
                  </a:lnTo>
                  <a:lnTo>
                    <a:pt x="7071" y="1102"/>
                  </a:lnTo>
                  <a:lnTo>
                    <a:pt x="7217" y="1243"/>
                  </a:lnTo>
                  <a:lnTo>
                    <a:pt x="7357" y="1390"/>
                  </a:lnTo>
                  <a:lnTo>
                    <a:pt x="7490" y="1544"/>
                  </a:lnTo>
                  <a:lnTo>
                    <a:pt x="7616" y="1703"/>
                  </a:lnTo>
                  <a:lnTo>
                    <a:pt x="7734" y="1870"/>
                  </a:lnTo>
                  <a:lnTo>
                    <a:pt x="7843" y="2042"/>
                  </a:lnTo>
                  <a:lnTo>
                    <a:pt x="7945" y="2220"/>
                  </a:lnTo>
                  <a:lnTo>
                    <a:pt x="8039" y="2402"/>
                  </a:lnTo>
                  <a:lnTo>
                    <a:pt x="8123" y="2590"/>
                  </a:lnTo>
                  <a:lnTo>
                    <a:pt x="8200" y="2783"/>
                  </a:lnTo>
                  <a:lnTo>
                    <a:pt x="8266" y="2980"/>
                  </a:lnTo>
                  <a:lnTo>
                    <a:pt x="8322" y="3181"/>
                  </a:lnTo>
                  <a:lnTo>
                    <a:pt x="8370" y="3386"/>
                  </a:lnTo>
                  <a:lnTo>
                    <a:pt x="8407" y="3595"/>
                  </a:lnTo>
                  <a:lnTo>
                    <a:pt x="8433" y="3806"/>
                  </a:lnTo>
                  <a:lnTo>
                    <a:pt x="8450" y="4022"/>
                  </a:lnTo>
                  <a:lnTo>
                    <a:pt x="8456" y="4240"/>
                  </a:lnTo>
                  <a:lnTo>
                    <a:pt x="8455" y="4299"/>
                  </a:lnTo>
                  <a:lnTo>
                    <a:pt x="8454" y="4358"/>
                  </a:lnTo>
                  <a:lnTo>
                    <a:pt x="8452" y="4417"/>
                  </a:lnTo>
                  <a:lnTo>
                    <a:pt x="8449" y="4474"/>
                  </a:lnTo>
                  <a:lnTo>
                    <a:pt x="8446" y="4533"/>
                  </a:lnTo>
                  <a:lnTo>
                    <a:pt x="8442" y="4591"/>
                  </a:lnTo>
                  <a:lnTo>
                    <a:pt x="8437" y="4648"/>
                  </a:lnTo>
                  <a:lnTo>
                    <a:pt x="8430" y="4706"/>
                  </a:lnTo>
                  <a:lnTo>
                    <a:pt x="8424" y="4763"/>
                  </a:lnTo>
                  <a:lnTo>
                    <a:pt x="8416" y="4820"/>
                  </a:lnTo>
                  <a:lnTo>
                    <a:pt x="8408" y="4876"/>
                  </a:lnTo>
                  <a:lnTo>
                    <a:pt x="8399" y="4933"/>
                  </a:lnTo>
                  <a:lnTo>
                    <a:pt x="8389" y="4990"/>
                  </a:lnTo>
                  <a:lnTo>
                    <a:pt x="8379" y="5045"/>
                  </a:lnTo>
                  <a:lnTo>
                    <a:pt x="8369" y="5101"/>
                  </a:lnTo>
                  <a:lnTo>
                    <a:pt x="8356" y="5157"/>
                  </a:lnTo>
                  <a:lnTo>
                    <a:pt x="8344" y="5212"/>
                  </a:lnTo>
                  <a:lnTo>
                    <a:pt x="8330" y="5267"/>
                  </a:lnTo>
                  <a:lnTo>
                    <a:pt x="8316" y="5322"/>
                  </a:lnTo>
                  <a:lnTo>
                    <a:pt x="8302" y="5376"/>
                  </a:lnTo>
                  <a:lnTo>
                    <a:pt x="8286" y="5430"/>
                  </a:lnTo>
                  <a:lnTo>
                    <a:pt x="8271" y="5483"/>
                  </a:lnTo>
                  <a:lnTo>
                    <a:pt x="8253" y="5537"/>
                  </a:lnTo>
                  <a:lnTo>
                    <a:pt x="8237" y="5591"/>
                  </a:lnTo>
                  <a:lnTo>
                    <a:pt x="8218" y="5643"/>
                  </a:lnTo>
                  <a:lnTo>
                    <a:pt x="8200" y="5696"/>
                  </a:lnTo>
                  <a:lnTo>
                    <a:pt x="8180" y="5748"/>
                  </a:lnTo>
                  <a:lnTo>
                    <a:pt x="8160" y="5800"/>
                  </a:lnTo>
                  <a:lnTo>
                    <a:pt x="8139" y="5851"/>
                  </a:lnTo>
                  <a:lnTo>
                    <a:pt x="8117" y="5903"/>
                  </a:lnTo>
                  <a:lnTo>
                    <a:pt x="8096" y="5953"/>
                  </a:lnTo>
                  <a:lnTo>
                    <a:pt x="8073" y="6004"/>
                  </a:lnTo>
                  <a:lnTo>
                    <a:pt x="383" y="6004"/>
                  </a:lnTo>
                  <a:lnTo>
                    <a:pt x="360" y="5953"/>
                  </a:lnTo>
                  <a:lnTo>
                    <a:pt x="338" y="5903"/>
                  </a:lnTo>
                  <a:lnTo>
                    <a:pt x="317" y="5851"/>
                  </a:lnTo>
                  <a:lnTo>
                    <a:pt x="296" y="5800"/>
                  </a:lnTo>
                  <a:lnTo>
                    <a:pt x="276" y="5748"/>
                  </a:lnTo>
                  <a:lnTo>
                    <a:pt x="256" y="5696"/>
                  </a:lnTo>
                  <a:lnTo>
                    <a:pt x="238" y="5643"/>
                  </a:lnTo>
                  <a:lnTo>
                    <a:pt x="219" y="5591"/>
                  </a:lnTo>
                  <a:lnTo>
                    <a:pt x="202" y="5537"/>
                  </a:lnTo>
                  <a:lnTo>
                    <a:pt x="185" y="5483"/>
                  </a:lnTo>
                  <a:lnTo>
                    <a:pt x="169" y="5430"/>
                  </a:lnTo>
                  <a:lnTo>
                    <a:pt x="153" y="5376"/>
                  </a:lnTo>
                  <a:lnTo>
                    <a:pt x="139" y="5322"/>
                  </a:lnTo>
                  <a:lnTo>
                    <a:pt x="126" y="5267"/>
                  </a:lnTo>
                  <a:lnTo>
                    <a:pt x="112" y="5212"/>
                  </a:lnTo>
                  <a:lnTo>
                    <a:pt x="100" y="5157"/>
                  </a:lnTo>
                  <a:lnTo>
                    <a:pt x="87" y="5101"/>
                  </a:lnTo>
                  <a:lnTo>
                    <a:pt x="76" y="5045"/>
                  </a:lnTo>
                  <a:lnTo>
                    <a:pt x="66" y="4990"/>
                  </a:lnTo>
                  <a:lnTo>
                    <a:pt x="56" y="4933"/>
                  </a:lnTo>
                  <a:lnTo>
                    <a:pt x="47" y="4876"/>
                  </a:lnTo>
                  <a:lnTo>
                    <a:pt x="39" y="4820"/>
                  </a:lnTo>
                  <a:lnTo>
                    <a:pt x="32" y="4763"/>
                  </a:lnTo>
                  <a:lnTo>
                    <a:pt x="26" y="4706"/>
                  </a:lnTo>
                  <a:lnTo>
                    <a:pt x="19" y="4648"/>
                  </a:lnTo>
                  <a:lnTo>
                    <a:pt x="14" y="4591"/>
                  </a:lnTo>
                  <a:lnTo>
                    <a:pt x="10" y="4533"/>
                  </a:lnTo>
                  <a:lnTo>
                    <a:pt x="6" y="4474"/>
                  </a:lnTo>
                  <a:lnTo>
                    <a:pt x="4" y="4417"/>
                  </a:lnTo>
                  <a:lnTo>
                    <a:pt x="2" y="4358"/>
                  </a:lnTo>
                  <a:lnTo>
                    <a:pt x="1" y="4299"/>
                  </a:lnTo>
                  <a:lnTo>
                    <a:pt x="0" y="4240"/>
                  </a:lnTo>
                  <a:lnTo>
                    <a:pt x="6" y="4022"/>
                  </a:lnTo>
                  <a:lnTo>
                    <a:pt x="21" y="3806"/>
                  </a:lnTo>
                  <a:lnTo>
                    <a:pt x="48" y="3595"/>
                  </a:lnTo>
                  <a:lnTo>
                    <a:pt x="86" y="3386"/>
                  </a:lnTo>
                  <a:lnTo>
                    <a:pt x="133" y="3181"/>
                  </a:lnTo>
                  <a:lnTo>
                    <a:pt x="190" y="2980"/>
                  </a:lnTo>
                  <a:lnTo>
                    <a:pt x="256" y="2783"/>
                  </a:lnTo>
                  <a:lnTo>
                    <a:pt x="333" y="2590"/>
                  </a:lnTo>
                  <a:lnTo>
                    <a:pt x="417" y="2402"/>
                  </a:lnTo>
                  <a:lnTo>
                    <a:pt x="511" y="2220"/>
                  </a:lnTo>
                  <a:lnTo>
                    <a:pt x="612" y="2042"/>
                  </a:lnTo>
                  <a:lnTo>
                    <a:pt x="722" y="1870"/>
                  </a:lnTo>
                  <a:lnTo>
                    <a:pt x="840" y="1703"/>
                  </a:lnTo>
                  <a:lnTo>
                    <a:pt x="966" y="1544"/>
                  </a:lnTo>
                  <a:lnTo>
                    <a:pt x="1099" y="1390"/>
                  </a:lnTo>
                  <a:lnTo>
                    <a:pt x="1239" y="1243"/>
                  </a:lnTo>
                  <a:lnTo>
                    <a:pt x="1385" y="1102"/>
                  </a:lnTo>
                  <a:lnTo>
                    <a:pt x="1539" y="968"/>
                  </a:lnTo>
                  <a:lnTo>
                    <a:pt x="1698" y="843"/>
                  </a:lnTo>
                  <a:lnTo>
                    <a:pt x="1864" y="725"/>
                  </a:lnTo>
                  <a:lnTo>
                    <a:pt x="2036" y="615"/>
                  </a:lnTo>
                  <a:lnTo>
                    <a:pt x="2212" y="513"/>
                  </a:lnTo>
                  <a:lnTo>
                    <a:pt x="2395" y="419"/>
                  </a:lnTo>
                  <a:lnTo>
                    <a:pt x="2582" y="333"/>
                  </a:lnTo>
                  <a:lnTo>
                    <a:pt x="2775" y="258"/>
                  </a:lnTo>
                  <a:lnTo>
                    <a:pt x="2970" y="191"/>
                  </a:lnTo>
                  <a:lnTo>
                    <a:pt x="3171" y="134"/>
                  </a:lnTo>
                  <a:lnTo>
                    <a:pt x="3376" y="87"/>
                  </a:lnTo>
                  <a:lnTo>
                    <a:pt x="3584" y="50"/>
                  </a:lnTo>
                  <a:lnTo>
                    <a:pt x="3795" y="22"/>
                  </a:lnTo>
                  <a:lnTo>
                    <a:pt x="4011" y="7"/>
                  </a:lnTo>
                  <a:lnTo>
                    <a:pt x="422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  <p:sp>
          <p:nvSpPr>
            <p:cNvPr id="221" name="Freeform 106"/>
            <p:cNvSpPr>
              <a:spLocks noChangeArrowheads="1"/>
            </p:cNvSpPr>
            <p:nvPr userDrawn="1"/>
          </p:nvSpPr>
          <p:spPr bwMode="auto">
            <a:xfrm>
              <a:off x="2860674" y="3461895"/>
              <a:ext cx="3297238" cy="2919855"/>
            </a:xfrm>
            <a:custGeom>
              <a:avLst/>
              <a:gdLst>
                <a:gd name="T0" fmla="*/ 3664 w 7328"/>
                <a:gd name="T1" fmla="*/ 0 h 5258"/>
                <a:gd name="T2" fmla="*/ 4525 w 7328"/>
                <a:gd name="T3" fmla="*/ 2675 h 5258"/>
                <a:gd name="T4" fmla="*/ 7328 w 7328"/>
                <a:gd name="T5" fmla="*/ 2669 h 5258"/>
                <a:gd name="T6" fmla="*/ 5058 w 7328"/>
                <a:gd name="T7" fmla="*/ 4317 h 5258"/>
                <a:gd name="T8" fmla="*/ 5365 w 7328"/>
                <a:gd name="T9" fmla="*/ 5258 h 5258"/>
                <a:gd name="T10" fmla="*/ 1963 w 7328"/>
                <a:gd name="T11" fmla="*/ 5258 h 5258"/>
                <a:gd name="T12" fmla="*/ 2270 w 7328"/>
                <a:gd name="T13" fmla="*/ 4317 h 5258"/>
                <a:gd name="T14" fmla="*/ 0 w 7328"/>
                <a:gd name="T15" fmla="*/ 2669 h 5258"/>
                <a:gd name="T16" fmla="*/ 2803 w 7328"/>
                <a:gd name="T17" fmla="*/ 2675 h 5258"/>
                <a:gd name="T18" fmla="*/ 3664 w 7328"/>
                <a:gd name="T19" fmla="*/ 0 h 5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28" h="5258">
                  <a:moveTo>
                    <a:pt x="3664" y="0"/>
                  </a:moveTo>
                  <a:lnTo>
                    <a:pt x="4525" y="2675"/>
                  </a:lnTo>
                  <a:lnTo>
                    <a:pt x="7328" y="2669"/>
                  </a:lnTo>
                  <a:lnTo>
                    <a:pt x="5058" y="4317"/>
                  </a:lnTo>
                  <a:lnTo>
                    <a:pt x="5365" y="5258"/>
                  </a:lnTo>
                  <a:lnTo>
                    <a:pt x="1963" y="5258"/>
                  </a:lnTo>
                  <a:lnTo>
                    <a:pt x="2270" y="4317"/>
                  </a:lnTo>
                  <a:lnTo>
                    <a:pt x="0" y="2669"/>
                  </a:lnTo>
                  <a:lnTo>
                    <a:pt x="2803" y="2675"/>
                  </a:lnTo>
                  <a:lnTo>
                    <a:pt x="36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eaLnBrk="0" latinLnBrk="1" hangingPunct="0">
                <a:defRPr/>
              </a:pPr>
              <a:endParaRPr lang="en-US" sz="1800" b="1" i="1">
                <a:latin typeface="Serif" charset="0"/>
                <a:cs typeface="Arial" pitchFamily="34" charset="0"/>
              </a:endParaRPr>
            </a:p>
          </p:txBody>
        </p:sp>
      </p:grpSp>
      <p:sp>
        <p:nvSpPr>
          <p:cNvPr id="16491" name="Rectangle 1131"/>
          <p:cNvSpPr>
            <a:spLocks noChangeArrowheads="1"/>
          </p:cNvSpPr>
          <p:nvPr/>
        </p:nvSpPr>
        <p:spPr bwMode="auto">
          <a:xfrm>
            <a:off x="0" y="0"/>
            <a:ext cx="9144000" cy="976313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6492" name="Rectangle 1132"/>
          <p:cNvSpPr>
            <a:spLocks noChangeArrowheads="1"/>
          </p:cNvSpPr>
          <p:nvPr/>
        </p:nvSpPr>
        <p:spPr bwMode="auto">
          <a:xfrm>
            <a:off x="4425950" y="6524625"/>
            <a:ext cx="339725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 eaLnBrk="0" latinLnBrk="1" hangingPunct="0">
              <a:defRPr/>
            </a:pPr>
            <a:fld id="{A44A30B9-7627-4C24-BA9E-A3AE757EB2A7}" type="slidenum">
              <a:rPr lang="en-GB" sz="1000">
                <a:latin typeface="Arial" pitchFamily="34" charset="0"/>
                <a:cs typeface="Arial" pitchFamily="34" charset="0"/>
              </a:rPr>
              <a:pPr algn="ctr" eaLnBrk="0" latinLnBrk="1" hangingPunct="0">
                <a:defRPr/>
              </a:pPr>
              <a:t>‹Nº›</a:t>
            </a:fld>
            <a:endParaRPr lang="en-GB" sz="1000" b="1" i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6493" name="Line 1133"/>
          <p:cNvSpPr>
            <a:spLocks noChangeShapeType="1"/>
          </p:cNvSpPr>
          <p:nvPr/>
        </p:nvSpPr>
        <p:spPr bwMode="auto">
          <a:xfrm>
            <a:off x="0" y="6524625"/>
            <a:ext cx="91440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sp>
        <p:nvSpPr>
          <p:cNvPr id="16494" name="Line 1134"/>
          <p:cNvSpPr>
            <a:spLocks noChangeShapeType="1"/>
          </p:cNvSpPr>
          <p:nvPr/>
        </p:nvSpPr>
        <p:spPr bwMode="auto">
          <a:xfrm>
            <a:off x="0" y="965200"/>
            <a:ext cx="91408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latinLnBrk="1" hangingPunct="0">
              <a:defRPr/>
            </a:pPr>
            <a:endParaRPr lang="en-US" sz="1800" b="1" i="1">
              <a:latin typeface="Serif" charset="0"/>
              <a:cs typeface="Arial" pitchFamily="34" charset="0"/>
            </a:endParaRPr>
          </a:p>
        </p:txBody>
      </p:sp>
      <p:pic>
        <p:nvPicPr>
          <p:cNvPr id="63495" name="Picture 1135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077200" y="-3175"/>
            <a:ext cx="977900" cy="97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6" name="Rectangle 1136"/>
          <p:cNvSpPr>
            <a:spLocks noGrp="1" noChangeArrowheads="1"/>
          </p:cNvSpPr>
          <p:nvPr>
            <p:ph type="title" sz="quarter"/>
          </p:nvPr>
        </p:nvSpPr>
        <p:spPr bwMode="auto">
          <a:xfrm>
            <a:off x="466725" y="269875"/>
            <a:ext cx="7199313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63497" name="Rectangle 1137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504825" y="1508125"/>
            <a:ext cx="4008438" cy="230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63498" name="Rectangle 1138"/>
          <p:cNvSpPr>
            <a:spLocks noGrp="1" noChangeArrowheads="1"/>
          </p:cNvSpPr>
          <p:nvPr>
            <p:ph type="body" sz="quarter" idx="2"/>
          </p:nvPr>
        </p:nvSpPr>
        <p:spPr bwMode="auto">
          <a:xfrm>
            <a:off x="4664075" y="1508125"/>
            <a:ext cx="4010025" cy="230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63499" name="Rectangle 113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04825" y="3962400"/>
            <a:ext cx="4008438" cy="230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63500" name="Rectangle 1140"/>
          <p:cNvSpPr>
            <a:spLocks noGrp="1" noChangeArrowheads="1"/>
          </p:cNvSpPr>
          <p:nvPr>
            <p:ph type="body" sz="quarter" idx="4"/>
          </p:nvPr>
        </p:nvSpPr>
        <p:spPr bwMode="auto">
          <a:xfrm>
            <a:off x="4664075" y="3962400"/>
            <a:ext cx="4010025" cy="230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0" r:id="rId2"/>
    <p:sldLayoutId id="2147483779" r:id="rId3"/>
    <p:sldLayoutId id="2147483778" r:id="rId4"/>
    <p:sldLayoutId id="2147483777" r:id="rId5"/>
    <p:sldLayoutId id="2147483776" r:id="rId6"/>
    <p:sldLayoutId id="2147483775" r:id="rId7"/>
    <p:sldLayoutId id="2147483774" r:id="rId8"/>
    <p:sldLayoutId id="2147483773" r:id="rId9"/>
    <p:sldLayoutId id="2147483772" r:id="rId10"/>
    <p:sldLayoutId id="2147483771" r:id="rId11"/>
    <p:sldLayoutId id="2147483770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eaLnBrk="0" fontAlgn="base" latinLnBrk="1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230188" indent="-230188" algn="l" rtl="0" eaLnBrk="0" fontAlgn="base" latinLnBrk="1" hangingPunct="0">
        <a:spcBef>
          <a:spcPct val="50000"/>
        </a:spcBef>
        <a:spcAft>
          <a:spcPct val="0"/>
        </a:spcAft>
        <a:buClr>
          <a:schemeClr val="accent1"/>
        </a:buClr>
        <a:buFont typeface="Wingdings 2" pitchFamily="18" charset="2"/>
        <a:buChar char=""/>
        <a:defRPr kumimoji="1" sz="1600">
          <a:solidFill>
            <a:srgbClr val="000000"/>
          </a:solidFill>
          <a:latin typeface="+mn-lt"/>
          <a:ea typeface="+mn-ea"/>
          <a:cs typeface="+mn-cs"/>
        </a:defRPr>
      </a:lvl1pPr>
      <a:lvl2pPr marL="800100" indent="-228600" algn="l" rtl="0" eaLnBrk="0" fontAlgn="base" latinLnBrk="1" hangingPunct="0">
        <a:spcBef>
          <a:spcPct val="50000"/>
        </a:spcBef>
        <a:spcAft>
          <a:spcPct val="0"/>
        </a:spcAft>
        <a:buClr>
          <a:schemeClr val="accent1"/>
        </a:buClr>
        <a:buFont typeface="Arial" charset="0"/>
        <a:buChar char="–"/>
        <a:defRPr kumimoji="1" sz="1600">
          <a:solidFill>
            <a:srgbClr val="1C1C1C"/>
          </a:solidFill>
          <a:latin typeface="+mn-lt"/>
          <a:cs typeface="+mn-cs"/>
        </a:defRPr>
      </a:lvl2pPr>
      <a:lvl3pPr marL="1257300" indent="-168275" algn="l" rtl="0" eaLnBrk="0" fontAlgn="base" latinLnBrk="1" hangingPunct="0"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kumimoji="1" sz="1600">
          <a:solidFill>
            <a:srgbClr val="1C1C1C"/>
          </a:solidFill>
          <a:latin typeface="+mn-lt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5pPr>
      <a:lvl6pPr marL="25146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6pPr>
      <a:lvl7pPr marL="29718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7pPr>
      <a:lvl8pPr marL="34290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8pPr>
      <a:lvl9pPr marL="3886200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–"/>
        <a:defRPr kumimoji="1" sz="2400">
          <a:solidFill>
            <a:srgbClr val="1C1C1C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8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chart" Target="../charts/chart21.xml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Relationship Id="rId6" Type="http://schemas.openxmlformats.org/officeDocument/2006/relationships/image" Target="../media/image28.png"/><Relationship Id="rId11" Type="http://schemas.openxmlformats.org/officeDocument/2006/relationships/chart" Target="../charts/chart22.xml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jpeg"/><Relationship Id="rId3" Type="http://schemas.openxmlformats.org/officeDocument/2006/relationships/image" Target="../media/image34.jpeg"/><Relationship Id="rId7" Type="http://schemas.openxmlformats.org/officeDocument/2006/relationships/image" Target="../media/image36.jpe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chart" Target="../charts/chart30.xml"/><Relationship Id="rId10" Type="http://schemas.openxmlformats.org/officeDocument/2006/relationships/image" Target="../media/image39.png"/><Relationship Id="rId4" Type="http://schemas.openxmlformats.org/officeDocument/2006/relationships/chart" Target="../charts/chart29.xml"/><Relationship Id="rId9" Type="http://schemas.openxmlformats.org/officeDocument/2006/relationships/image" Target="../media/image38.gi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chart" Target="../charts/chart34.xml"/><Relationship Id="rId3" Type="http://schemas.openxmlformats.org/officeDocument/2006/relationships/chart" Target="../charts/chart31.xml"/><Relationship Id="rId7" Type="http://schemas.openxmlformats.org/officeDocument/2006/relationships/image" Target="../media/image44.png"/><Relationship Id="rId12" Type="http://schemas.openxmlformats.org/officeDocument/2006/relationships/image" Target="../media/image4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chart" Target="../charts/chart33.xml"/><Relationship Id="rId10" Type="http://schemas.openxmlformats.org/officeDocument/2006/relationships/image" Target="../media/image47.png"/><Relationship Id="rId4" Type="http://schemas.openxmlformats.org/officeDocument/2006/relationships/chart" Target="../charts/chart32.xml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chart" Target="../charts/chart3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image" Target="../media/image29.png"/><Relationship Id="rId11" Type="http://schemas.openxmlformats.org/officeDocument/2006/relationships/image" Target="../media/image33.png"/><Relationship Id="rId5" Type="http://schemas.openxmlformats.org/officeDocument/2006/relationships/image" Target="../media/image28.png"/><Relationship Id="rId10" Type="http://schemas.openxmlformats.org/officeDocument/2006/relationships/chart" Target="../charts/chart41.xml"/><Relationship Id="rId4" Type="http://schemas.openxmlformats.org/officeDocument/2006/relationships/image" Target="../media/image27.png"/><Relationship Id="rId9" Type="http://schemas.openxmlformats.org/officeDocument/2006/relationships/image" Target="../media/image54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6" Type="http://schemas.openxmlformats.org/officeDocument/2006/relationships/image" Target="../media/image7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7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acienda.gov.py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chart" Target="../charts/chart43.xml"/><Relationship Id="rId4" Type="http://schemas.openxmlformats.org/officeDocument/2006/relationships/image" Target="../media/image5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9.jpeg"/><Relationship Id="rId7" Type="http://schemas.openxmlformats.org/officeDocument/2006/relationships/image" Target="../media/image62.png"/><Relationship Id="rId2" Type="http://schemas.openxmlformats.org/officeDocument/2006/relationships/hyperlink" Target="http://images.google.com/imgres?imgurl=http://luduran.files.wordpress.com/2008/02/energia2.jpg&amp;imgrefurl=http://luduran.wordpress.com/2008/02/27/la-energia-es-el-tema-politico-de-2008/&amp;usg=__kgkPz1Wk1rZQLQkKUd4ieew8trs=&amp;h=547&amp;w=865&amp;sz=112&amp;hl=es&amp;start=24&amp;um=1&amp;tbnid=VP1u4oDCDoe1WM:&amp;tbnh=92&amp;tbnw=145&amp;prev=/images?q=energia&amp;ndsp=18&amp;hl=es&amp;rls=com.microsoft:*:IE-SearchBox&amp;rlz=1I7ADBF_es&amp;sa=N&amp;start=18&amp;um=1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jpeg"/><Relationship Id="rId10" Type="http://schemas.openxmlformats.org/officeDocument/2006/relationships/image" Target="../media/image65.png"/><Relationship Id="rId4" Type="http://schemas.openxmlformats.org/officeDocument/2006/relationships/hyperlink" Target="http://images.google.com/imgres?imgurl=http://1.bp.blogspot.com/_kdKWRjTUu0E/Sj4ao3MVURI/AAAAAAAAAoU/lT8wEYLgSKI/s400/vista-puerto.jpg&amp;imgrefurl=http://chiquipuertos.blogspot.com/&amp;usg=__FWchP1iHsVWWVYcJnpDxU2kwhUQ=&amp;h=264&amp;w=400&amp;sz=17&amp;hl=es&amp;start=9&amp;um=1&amp;tbnid=6pMVOLc0NtR_SM:&amp;tbnh=82&amp;tbnw=124&amp;prev=/images?q=hidrovia+maquinaria&amp;hl=es&amp;lr=&amp;rls=com.microsoft:*:IE-SearchBox&amp;rlz=1I7ADBF_es&amp;um=1" TargetMode="External"/><Relationship Id="rId9" Type="http://schemas.openxmlformats.org/officeDocument/2006/relationships/image" Target="../media/image6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chart" Target="../charts/chart10.xml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chart" Target="../charts/chart9.xml"/><Relationship Id="rId10" Type="http://schemas.openxmlformats.org/officeDocument/2006/relationships/image" Target="../media/image12.jpeg"/><Relationship Id="rId4" Type="http://schemas.openxmlformats.org/officeDocument/2006/relationships/chart" Target="../charts/chart8.xml"/><Relationship Id="rId9" Type="http://schemas.openxmlformats.org/officeDocument/2006/relationships/image" Target="../media/image11.jpeg"/><Relationship Id="rId14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5.wmf"/><Relationship Id="rId18" Type="http://schemas.openxmlformats.org/officeDocument/2006/relationships/image" Target="../media/image19.wmf"/><Relationship Id="rId3" Type="http://schemas.openxmlformats.org/officeDocument/2006/relationships/tags" Target="../tags/tag17.xml"/><Relationship Id="rId21" Type="http://schemas.openxmlformats.org/officeDocument/2006/relationships/image" Target="../media/image22.png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8.wmf"/><Relationship Id="rId2" Type="http://schemas.openxmlformats.org/officeDocument/2006/relationships/tags" Target="../tags/tag16.xml"/><Relationship Id="rId16" Type="http://schemas.openxmlformats.org/officeDocument/2006/relationships/image" Target="../media/image6.png"/><Relationship Id="rId20" Type="http://schemas.openxmlformats.org/officeDocument/2006/relationships/image" Target="../media/image21.jpe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image" Target="../media/image17.png"/><Relationship Id="rId23" Type="http://schemas.openxmlformats.org/officeDocument/2006/relationships/image" Target="../media/image24.jpeg"/><Relationship Id="rId10" Type="http://schemas.openxmlformats.org/officeDocument/2006/relationships/tags" Target="../tags/tag24.xml"/><Relationship Id="rId19" Type="http://schemas.openxmlformats.org/officeDocument/2006/relationships/image" Target="../media/image20.wmf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16.wmf"/><Relationship Id="rId22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5" Type="http://schemas.openxmlformats.org/officeDocument/2006/relationships/oleObject" Target="../embeddings/oleObject1.bin"/><Relationship Id="rId4" Type="http://schemas.openxmlformats.org/officeDocument/2006/relationships/chart" Target="../charts/char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514600" y="1905000"/>
            <a:ext cx="6629400" cy="28194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Paraguay: </a:t>
            </a: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País de </a:t>
            </a:r>
            <a:r>
              <a:rPr kumimoji="0" lang="en-GB" sz="2800" b="1" dirty="0" err="1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Oportunidades</a:t>
            </a:r>
            <a:endParaRPr kumimoji="0" lang="en-GB" sz="2800" b="1" dirty="0" smtClean="0">
              <a:solidFill>
                <a:schemeClr val="accent3"/>
              </a:solidFill>
              <a:latin typeface="+mj-lt"/>
              <a:cs typeface="Arial" pitchFamily="34" charset="0"/>
            </a:endParaRP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endParaRPr kumimoji="0" lang="en-GB" sz="2800" b="1" dirty="0">
              <a:solidFill>
                <a:schemeClr val="accent3"/>
              </a:solidFill>
              <a:latin typeface="+mj-lt"/>
              <a:cs typeface="Arial" pitchFamily="34" charset="0"/>
            </a:endParaRP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Horacio Cartes </a:t>
            </a: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Presidente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Constitucional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de la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República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del Paraguay</a:t>
            </a:r>
          </a:p>
        </p:txBody>
      </p:sp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1400" y="2419350"/>
            <a:ext cx="14351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4325" y="228600"/>
            <a:ext cx="7686675" cy="565150"/>
          </a:xfrm>
        </p:spPr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Resultados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Sociales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Moderados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</a:t>
            </a:r>
            <a:endParaRPr kumimoji="0" lang="en-GB" sz="2300" dirty="0">
              <a:solidFill>
                <a:schemeClr val="accent3"/>
              </a:solidFill>
              <a:ea typeface="+mn-ea"/>
            </a:endParaRPr>
          </a:p>
        </p:txBody>
      </p:sp>
      <p:sp>
        <p:nvSpPr>
          <p:cNvPr id="30725" name="AutoShape 5"/>
          <p:cNvSpPr>
            <a:spLocks noChangeArrowheads="1"/>
          </p:cNvSpPr>
          <p:nvPr/>
        </p:nvSpPr>
        <p:spPr bwMode="auto">
          <a:xfrm>
            <a:off x="4794250" y="1524000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Tas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Nacional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Pobrez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Total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0726" name="AutoShape 6"/>
          <p:cNvSpPr>
            <a:spLocks noChangeArrowheads="1"/>
          </p:cNvSpPr>
          <p:nvPr/>
        </p:nvSpPr>
        <p:spPr bwMode="auto">
          <a:xfrm>
            <a:off x="466725" y="15240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Evolución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PIB per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cápit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(% 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crec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.)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3" name="1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457689"/>
              </p:ext>
            </p:extLst>
          </p:nvPr>
        </p:nvGraphicFramePr>
        <p:xfrm>
          <a:off x="4729163" y="1882775"/>
          <a:ext cx="4075112" cy="176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2103" name="10 Rectángulo"/>
          <p:cNvSpPr>
            <a:spLocks noChangeArrowheads="1"/>
          </p:cNvSpPr>
          <p:nvPr/>
        </p:nvSpPr>
        <p:spPr bwMode="auto">
          <a:xfrm>
            <a:off x="179388" y="6586875"/>
            <a:ext cx="1991251" cy="19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latinLnBrk="1" hangingPunct="0"/>
            <a:r>
              <a:rPr lang="en-US" sz="1000" i="1" baseline="30000" dirty="0">
                <a:solidFill>
                  <a:srgbClr val="000000"/>
                </a:solidFill>
              </a:rPr>
              <a:t>Source: Central Bank of </a:t>
            </a:r>
            <a:r>
              <a:rPr lang="en-US" sz="1000" i="1" baseline="30000" dirty="0" smtClean="0">
                <a:solidFill>
                  <a:srgbClr val="000000"/>
                </a:solidFill>
              </a:rPr>
              <a:t>Paraguay</a:t>
            </a:r>
            <a:endParaRPr lang="en-US" sz="1000" i="1" baseline="30000" dirty="0">
              <a:solidFill>
                <a:srgbClr val="000000"/>
              </a:solidFill>
            </a:endParaRPr>
          </a:p>
        </p:txBody>
      </p:sp>
      <p:graphicFrame>
        <p:nvGraphicFramePr>
          <p:cNvPr id="2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030142"/>
              </p:ext>
            </p:extLst>
          </p:nvPr>
        </p:nvGraphicFramePr>
        <p:xfrm>
          <a:off x="293688" y="2014538"/>
          <a:ext cx="4075112" cy="1624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4730750" y="3756025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Variación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Salarios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(%)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403225" y="3756025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Tas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Desempleo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Abierto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5" name="1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8868737"/>
              </p:ext>
            </p:extLst>
          </p:nvPr>
        </p:nvGraphicFramePr>
        <p:xfrm>
          <a:off x="4665663" y="4229100"/>
          <a:ext cx="4075112" cy="165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16898"/>
              </p:ext>
            </p:extLst>
          </p:nvPr>
        </p:nvGraphicFramePr>
        <p:xfrm>
          <a:off x="230188" y="4244975"/>
          <a:ext cx="4075112" cy="162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718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5689694"/>
              </p:ext>
            </p:extLst>
          </p:nvPr>
        </p:nvGraphicFramePr>
        <p:xfrm>
          <a:off x="330498" y="1651494"/>
          <a:ext cx="8339138" cy="405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AutoShape 4"/>
          <p:cNvSpPr>
            <a:spLocks noChangeArrowheads="1"/>
          </p:cNvSpPr>
          <p:nvPr/>
        </p:nvSpPr>
        <p:spPr bwMode="auto">
          <a:xfrm>
            <a:off x="678161" y="1295400"/>
            <a:ext cx="7991475" cy="457200"/>
          </a:xfrm>
          <a:prstGeom prst="roundRect">
            <a:avLst>
              <a:gd name="adj" fmla="val 22125"/>
            </a:avLst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US" sz="2000" b="1" kern="0" dirty="0" err="1" smtClean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Crecimiento</a:t>
            </a:r>
            <a:r>
              <a:rPr kumimoji="0" lang="en-US" sz="2000" b="1" kern="0" dirty="0" smtClean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 </a:t>
            </a:r>
            <a:r>
              <a:rPr kumimoji="0" lang="en-US" sz="2000" b="1" kern="0" dirty="0" err="1" smtClean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económico</a:t>
            </a:r>
            <a:r>
              <a:rPr kumimoji="0" lang="en-US" sz="2000" b="1" kern="0" dirty="0" smtClean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 del PIB y </a:t>
            </a:r>
            <a:r>
              <a:rPr kumimoji="0" lang="en-US" sz="2000" b="1" kern="0" dirty="0" err="1" smtClean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Agricultura</a:t>
            </a:r>
            <a:r>
              <a:rPr kumimoji="0" lang="en-US" sz="2000" b="1" kern="0" dirty="0" smtClean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 (%) </a:t>
            </a:r>
            <a:r>
              <a:rPr kumimoji="0" lang="en-US" sz="2000" b="1" kern="0" baseline="30000" dirty="0">
                <a:solidFill>
                  <a:srgbClr val="009999"/>
                </a:solidFill>
                <a:latin typeface="Calibri"/>
                <a:ea typeface="ＭＳ Ｐゴシック" charset="-128"/>
                <a:cs typeface="+mn-cs"/>
              </a:rPr>
              <a:t>(1)</a:t>
            </a:r>
          </a:p>
        </p:txBody>
      </p:sp>
      <p:sp>
        <p:nvSpPr>
          <p:cNvPr id="7172" name="16 Rectángulo"/>
          <p:cNvSpPr>
            <a:spLocks noChangeArrowheads="1"/>
          </p:cNvSpPr>
          <p:nvPr/>
        </p:nvSpPr>
        <p:spPr bwMode="auto">
          <a:xfrm>
            <a:off x="304800" y="6488113"/>
            <a:ext cx="277653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kumimoji="0" lang="en-US" sz="900" i="1" baseline="30000" dirty="0">
                <a:solidFill>
                  <a:prstClr val="black"/>
                </a:solidFill>
                <a:latin typeface="Calibri" pitchFamily="34" charset="0"/>
                <a:ea typeface="ＭＳ Ｐゴシック" charset="-128"/>
                <a:cs typeface="+mn-cs"/>
              </a:rPr>
              <a:t>(1)</a:t>
            </a:r>
            <a:r>
              <a:rPr kumimoji="0" lang="en-US" sz="900" i="1" dirty="0">
                <a:solidFill>
                  <a:prstClr val="black"/>
                </a:solidFill>
                <a:latin typeface="Calibri" pitchFamily="34" charset="0"/>
                <a:ea typeface="ＭＳ Ｐゴシック" charset="-128"/>
                <a:cs typeface="+mn-cs"/>
              </a:rPr>
              <a:t> Central Bank´s Estimations for </a:t>
            </a:r>
            <a:r>
              <a:rPr kumimoji="0" lang="en-US" sz="900" i="1" dirty="0" smtClean="0">
                <a:solidFill>
                  <a:prstClr val="black"/>
                </a:solidFill>
                <a:latin typeface="Calibri" pitchFamily="34" charset="0"/>
                <a:ea typeface="ＭＳ Ｐゴシック" charset="-128"/>
                <a:cs typeface="+mn-cs"/>
              </a:rPr>
              <a:t>2013 </a:t>
            </a:r>
            <a:r>
              <a:rPr kumimoji="0" lang="en-US" sz="900" i="1" dirty="0">
                <a:solidFill>
                  <a:prstClr val="black"/>
                </a:solidFill>
                <a:latin typeface="Calibri" pitchFamily="34" charset="0"/>
                <a:ea typeface="ＭＳ Ｐゴシック" charset="-128"/>
                <a:cs typeface="+mn-cs"/>
              </a:rPr>
              <a:t>GDP</a:t>
            </a:r>
          </a:p>
          <a:p>
            <a:pPr eaLnBrk="0" latinLnBrk="1" hangingPunct="0"/>
            <a:r>
              <a:rPr kumimoji="0" lang="en-US" sz="900" i="1" dirty="0">
                <a:solidFill>
                  <a:prstClr val="black"/>
                </a:solidFill>
                <a:latin typeface="Calibri" pitchFamily="34" charset="0"/>
                <a:ea typeface="ＭＳ Ｐゴシック" charset="-128"/>
                <a:cs typeface="+mn-cs"/>
              </a:rPr>
              <a:t>Source: Paraguayan Central Bank and Finance Ministry</a:t>
            </a:r>
            <a:endParaRPr kumimoji="0" lang="en-US" sz="1400" i="1" dirty="0">
              <a:solidFill>
                <a:prstClr val="black"/>
              </a:solidFill>
              <a:latin typeface="Calibri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" name="9 Título"/>
          <p:cNvSpPr>
            <a:spLocks noGrp="1"/>
          </p:cNvSpPr>
          <p:nvPr>
            <p:ph type="title"/>
          </p:nvPr>
        </p:nvSpPr>
        <p:spPr>
          <a:xfrm>
            <a:off x="1197969" y="188640"/>
            <a:ext cx="7920879" cy="576064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>
                <a:ea typeface="+mj-ea"/>
              </a:rPr>
              <a:t>El </a:t>
            </a:r>
            <a:r>
              <a:rPr lang="en-US" dirty="0" err="1"/>
              <a:t>D</a:t>
            </a:r>
            <a:r>
              <a:rPr lang="en-US" dirty="0" err="1" smtClean="0">
                <a:ea typeface="+mj-ea"/>
              </a:rPr>
              <a:t>esafío</a:t>
            </a:r>
            <a:r>
              <a:rPr lang="en-US" dirty="0" smtClean="0">
                <a:ea typeface="+mj-ea"/>
              </a:rPr>
              <a:t>: </a:t>
            </a:r>
            <a:r>
              <a:rPr lang="en-US" dirty="0" err="1" smtClean="0">
                <a:ea typeface="+mj-ea"/>
              </a:rPr>
              <a:t>Reducir</a:t>
            </a:r>
            <a:r>
              <a:rPr lang="en-US" dirty="0" smtClean="0">
                <a:ea typeface="+mj-ea"/>
              </a:rPr>
              <a:t> la </a:t>
            </a:r>
            <a:r>
              <a:rPr lang="en-US" dirty="0" err="1" smtClean="0">
                <a:ea typeface="+mj-ea"/>
              </a:rPr>
              <a:t>volatilidad</a:t>
            </a:r>
            <a:r>
              <a:rPr lang="en-US" dirty="0" smtClean="0">
                <a:ea typeface="+mj-ea"/>
              </a:rPr>
              <a:t> del </a:t>
            </a:r>
            <a:r>
              <a:rPr lang="en-US" dirty="0" err="1" smtClean="0">
                <a:ea typeface="+mj-ea"/>
              </a:rPr>
              <a:t>crecimiento</a:t>
            </a:r>
            <a:endParaRPr lang="en-US" dirty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91064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líticas</a:t>
            </a:r>
            <a:r>
              <a:rPr lang="en-US" dirty="0" smtClean="0"/>
              <a:t> </a:t>
            </a:r>
            <a:r>
              <a:rPr lang="en-US" dirty="0" err="1" smtClean="0"/>
              <a:t>Macrofiscales</a:t>
            </a:r>
            <a:r>
              <a:rPr lang="en-US" dirty="0" smtClean="0"/>
              <a:t> </a:t>
            </a:r>
            <a:r>
              <a:rPr lang="en-US" dirty="0" err="1" smtClean="0"/>
              <a:t>Esenciales</a:t>
            </a:r>
            <a:endParaRPr lang="es-PY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295400"/>
            <a:ext cx="8382000" cy="5105400"/>
          </a:xfrm>
        </p:spPr>
        <p:txBody>
          <a:bodyPr/>
          <a:lstStyle/>
          <a:p>
            <a:r>
              <a:rPr lang="en-US" sz="2400" dirty="0" err="1" smtClean="0"/>
              <a:t>Restablecimiento</a:t>
            </a:r>
            <a:r>
              <a:rPr lang="en-US" sz="2400" dirty="0" smtClean="0"/>
              <a:t> del </a:t>
            </a:r>
            <a:r>
              <a:rPr lang="en-US" sz="2400" dirty="0" err="1" smtClean="0"/>
              <a:t>Equilibrio</a:t>
            </a:r>
            <a:r>
              <a:rPr lang="en-US" sz="2400" dirty="0" smtClean="0"/>
              <a:t> Fiscal</a:t>
            </a:r>
          </a:p>
          <a:p>
            <a:r>
              <a:rPr lang="en-US" sz="2400" dirty="0" smtClean="0"/>
              <a:t>Mayor </a:t>
            </a:r>
            <a:r>
              <a:rPr lang="en-US" sz="2400" dirty="0" err="1" smtClean="0"/>
              <a:t>Inversión</a:t>
            </a:r>
            <a:r>
              <a:rPr lang="en-US" sz="2400" dirty="0" smtClean="0"/>
              <a:t> Social y </a:t>
            </a:r>
            <a:r>
              <a:rPr lang="en-US" sz="2400" dirty="0" err="1" smtClean="0"/>
              <a:t>Productiva</a:t>
            </a:r>
            <a:endParaRPr lang="en-US" sz="2400" dirty="0" smtClean="0"/>
          </a:p>
          <a:p>
            <a:r>
              <a:rPr lang="en-US" sz="2400" dirty="0" err="1" smtClean="0"/>
              <a:t>Deuda</a:t>
            </a:r>
            <a:r>
              <a:rPr lang="en-US" sz="2400" dirty="0" smtClean="0"/>
              <a:t> </a:t>
            </a:r>
            <a:r>
              <a:rPr lang="en-US" sz="2400" dirty="0" err="1" smtClean="0"/>
              <a:t>Pública</a:t>
            </a:r>
            <a:r>
              <a:rPr lang="en-US" sz="2400" dirty="0" smtClean="0"/>
              <a:t> </a:t>
            </a:r>
            <a:r>
              <a:rPr lang="en-US" sz="2400" dirty="0" err="1" smtClean="0"/>
              <a:t>Sostenible</a:t>
            </a:r>
            <a:endParaRPr lang="en-US" sz="2400" dirty="0" smtClean="0"/>
          </a:p>
          <a:p>
            <a:r>
              <a:rPr lang="es-PY" sz="2400" dirty="0" smtClean="0"/>
              <a:t>Restructuración </a:t>
            </a:r>
            <a:r>
              <a:rPr lang="es-PY" sz="2400" dirty="0"/>
              <a:t>y desburocratización </a:t>
            </a:r>
            <a:r>
              <a:rPr lang="es-PY" sz="2400" dirty="0" smtClean="0"/>
              <a:t>de </a:t>
            </a:r>
            <a:r>
              <a:rPr lang="es-PY" sz="2400" dirty="0"/>
              <a:t>la </a:t>
            </a:r>
            <a:r>
              <a:rPr lang="es-PY" sz="2400" dirty="0" smtClean="0"/>
              <a:t>gestión pública</a:t>
            </a:r>
          </a:p>
          <a:p>
            <a:r>
              <a:rPr lang="en-US" sz="2400" dirty="0" err="1" smtClean="0"/>
              <a:t>Incentivos</a:t>
            </a:r>
            <a:r>
              <a:rPr lang="en-US" sz="2400" dirty="0" smtClean="0"/>
              <a:t> </a:t>
            </a:r>
            <a:r>
              <a:rPr lang="en-US" sz="2400" dirty="0" err="1"/>
              <a:t>O</a:t>
            </a:r>
            <a:r>
              <a:rPr lang="en-US" sz="2400" dirty="0" err="1" smtClean="0"/>
              <a:t>rientados</a:t>
            </a:r>
            <a:r>
              <a:rPr lang="en-US" sz="2400" dirty="0" smtClean="0"/>
              <a:t> al Mercado</a:t>
            </a:r>
            <a:endParaRPr lang="es-PY" sz="2400" dirty="0" smtClean="0"/>
          </a:p>
          <a:p>
            <a:r>
              <a:rPr lang="en-US" sz="2400" dirty="0" err="1" smtClean="0"/>
              <a:t>Impulsar</a:t>
            </a:r>
            <a:r>
              <a:rPr lang="en-US" sz="2400" dirty="0" smtClean="0"/>
              <a:t> y </a:t>
            </a:r>
            <a:r>
              <a:rPr lang="en-US" sz="2400" dirty="0" err="1" smtClean="0"/>
              <a:t>asegurar</a:t>
            </a:r>
            <a:r>
              <a:rPr lang="en-US" sz="2400" dirty="0" smtClean="0"/>
              <a:t> el </a:t>
            </a:r>
            <a:r>
              <a:rPr lang="en-US" sz="2400" dirty="0" err="1" smtClean="0"/>
              <a:t>financiamiento</a:t>
            </a:r>
            <a:r>
              <a:rPr lang="en-US" sz="2400" dirty="0" smtClean="0"/>
              <a:t> en </a:t>
            </a:r>
            <a:r>
              <a:rPr lang="en-US" sz="2400" dirty="0" err="1" smtClean="0"/>
              <a:t>inversiones</a:t>
            </a:r>
            <a:r>
              <a:rPr lang="en-US" sz="2400" dirty="0" smtClean="0"/>
              <a:t> </a:t>
            </a:r>
            <a:r>
              <a:rPr lang="en-US" sz="2400" dirty="0" err="1" smtClean="0"/>
              <a:t>que</a:t>
            </a:r>
            <a:r>
              <a:rPr lang="en-US" sz="2400" dirty="0" smtClean="0"/>
              <a:t> </a:t>
            </a:r>
            <a:r>
              <a:rPr lang="en-US" sz="2400" dirty="0" err="1" smtClean="0"/>
              <a:t>generen</a:t>
            </a:r>
            <a:r>
              <a:rPr lang="en-US" sz="2400" dirty="0" smtClean="0"/>
              <a:t> </a:t>
            </a:r>
            <a:r>
              <a:rPr lang="en-US" sz="2400" dirty="0" err="1" smtClean="0"/>
              <a:t>empleo</a:t>
            </a:r>
            <a:r>
              <a:rPr lang="en-US" sz="2400" dirty="0" smtClean="0"/>
              <a:t> y </a:t>
            </a:r>
            <a:r>
              <a:rPr lang="en-US" sz="2400" dirty="0" err="1" smtClean="0"/>
              <a:t>fomenten</a:t>
            </a:r>
            <a:r>
              <a:rPr lang="en-US" sz="2400" dirty="0" smtClean="0"/>
              <a:t> </a:t>
            </a:r>
            <a:r>
              <a:rPr lang="en-US" sz="2400" dirty="0" err="1" smtClean="0"/>
              <a:t>las</a:t>
            </a:r>
            <a:r>
              <a:rPr lang="en-US" sz="2400" dirty="0" smtClean="0"/>
              <a:t> PYMES</a:t>
            </a:r>
          </a:p>
          <a:p>
            <a:r>
              <a:rPr lang="en-US" sz="2400" dirty="0" err="1" smtClean="0"/>
              <a:t>Reducir</a:t>
            </a:r>
            <a:r>
              <a:rPr lang="en-US" sz="2400" dirty="0" smtClean="0"/>
              <a:t> </a:t>
            </a:r>
            <a:r>
              <a:rPr lang="en-US" sz="2400" dirty="0" err="1" smtClean="0"/>
              <a:t>las</a:t>
            </a:r>
            <a:r>
              <a:rPr lang="en-US" sz="2400" dirty="0" smtClean="0"/>
              <a:t> </a:t>
            </a:r>
            <a:r>
              <a:rPr lang="en-US" sz="2400" dirty="0" err="1" smtClean="0"/>
              <a:t>volatilidades</a:t>
            </a:r>
            <a:r>
              <a:rPr lang="en-US" sz="2400" dirty="0" smtClean="0"/>
              <a:t> del sector </a:t>
            </a:r>
            <a:r>
              <a:rPr lang="en-US" sz="2400" dirty="0" err="1" smtClean="0"/>
              <a:t>agropecuario</a:t>
            </a:r>
            <a:r>
              <a:rPr lang="en-US" sz="2400" dirty="0" smtClean="0"/>
              <a:t> </a:t>
            </a:r>
            <a:r>
              <a:rPr lang="en-US" sz="2400" dirty="0" err="1" smtClean="0"/>
              <a:t>mediante</a:t>
            </a:r>
            <a:r>
              <a:rPr lang="en-US" sz="2400" dirty="0" smtClean="0"/>
              <a:t> </a:t>
            </a:r>
            <a:r>
              <a:rPr lang="en-US" sz="2400" dirty="0" err="1" smtClean="0"/>
              <a:t>acceso</a:t>
            </a:r>
            <a:r>
              <a:rPr lang="en-US" sz="2400" dirty="0" smtClean="0"/>
              <a:t> a </a:t>
            </a:r>
            <a:r>
              <a:rPr lang="en-US" sz="2400" dirty="0" err="1" smtClean="0"/>
              <a:t>tecnologías</a:t>
            </a:r>
            <a:endParaRPr lang="es-PY" sz="2400" dirty="0"/>
          </a:p>
        </p:txBody>
      </p:sp>
    </p:spTree>
    <p:extLst>
      <p:ext uri="{BB962C8B-B14F-4D97-AF65-F5344CB8AC3E}">
        <p14:creationId xmlns:p14="http://schemas.microsoft.com/office/powerpoint/2010/main" val="319844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590800" y="1905000"/>
            <a:ext cx="5715000" cy="28194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Roland Holst </a:t>
            </a: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Director Banco Central del Paraguay</a:t>
            </a:r>
          </a:p>
        </p:txBody>
      </p:sp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1400" y="2419350"/>
            <a:ext cx="14351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8030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425450"/>
            <a:ext cx="7199313" cy="565150"/>
          </a:xfrm>
        </p:spPr>
        <p:txBody>
          <a:bodyPr anchor="ctr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GB" sz="2300" dirty="0" err="1">
                <a:solidFill>
                  <a:schemeClr val="accent3"/>
                </a:solidFill>
              </a:rPr>
              <a:t>Estabilidad</a:t>
            </a:r>
            <a:r>
              <a:rPr lang="en-GB" sz="2300" dirty="0">
                <a:solidFill>
                  <a:schemeClr val="accent3"/>
                </a:solidFill>
              </a:rPr>
              <a:t> de </a:t>
            </a:r>
            <a:r>
              <a:rPr lang="en-GB" sz="2300" dirty="0" err="1">
                <a:solidFill>
                  <a:schemeClr val="accent3"/>
                </a:solidFill>
              </a:rPr>
              <a:t>las</a:t>
            </a:r>
            <a:r>
              <a:rPr lang="en-GB" sz="2300" dirty="0">
                <a:solidFill>
                  <a:schemeClr val="accent3"/>
                </a:solidFill>
              </a:rPr>
              <a:t> Variables </a:t>
            </a:r>
            <a:r>
              <a:rPr lang="en-GB" sz="2300" dirty="0" err="1">
                <a:solidFill>
                  <a:schemeClr val="accent3"/>
                </a:solidFill>
              </a:rPr>
              <a:t>Macroeconómicas</a:t>
            </a:r>
            <a:endParaRPr kumimoji="0" lang="en-GB" sz="2300" dirty="0">
              <a:solidFill>
                <a:schemeClr val="accent3"/>
              </a:solidFill>
              <a:ea typeface="+mn-ea"/>
            </a:endParaRPr>
          </a:p>
        </p:txBody>
      </p:sp>
      <p:sp>
        <p:nvSpPr>
          <p:cNvPr id="15365" name="AutoShape 5"/>
          <p:cNvSpPr>
            <a:spLocks noChangeArrowheads="1"/>
          </p:cNvSpPr>
          <p:nvPr/>
        </p:nvSpPr>
        <p:spPr bwMode="auto">
          <a:xfrm>
            <a:off x="466725" y="4333050"/>
            <a:ext cx="8208963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lang="en-US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Tipo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de </a:t>
            </a:r>
            <a:r>
              <a:rPr lang="en-US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Cambio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</a:t>
            </a:r>
            <a:r>
              <a:rPr lang="en-US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Estable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(</a:t>
            </a:r>
            <a:r>
              <a:rPr lang="en-US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Gs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</a:t>
            </a:r>
            <a:r>
              <a:rPr lang="en-US" sz="1200" b="1" kern="0" dirty="0" smtClean="0">
                <a:solidFill>
                  <a:schemeClr val="accent3"/>
                </a:solidFill>
                <a:latin typeface="+mn-lt"/>
                <a:cs typeface="Arial" pitchFamily="34" charset="0"/>
              </a:rPr>
              <a:t>/US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$, </a:t>
            </a:r>
            <a:r>
              <a:rPr lang="en-US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promedio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)</a:t>
            </a:r>
            <a:endParaRPr lang="en-GB" sz="1200" b="1" kern="0" dirty="0">
              <a:solidFill>
                <a:schemeClr val="accent3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366" name="Rectangle 6"/>
          <p:cNvSpPr>
            <a:spLocks noChangeArrowheads="1"/>
          </p:cNvSpPr>
          <p:nvPr/>
        </p:nvSpPr>
        <p:spPr bwMode="auto">
          <a:xfrm>
            <a:off x="457200" y="1020763"/>
            <a:ext cx="8077200" cy="823302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marL="228600" indent="-228600" eaLnBrk="0" latinLnBrk="1" hangingPunct="0">
              <a:lnSpc>
                <a:spcPts val="15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latin typeface="+mn-lt"/>
                <a:cs typeface="Arial" pitchFamily="34" charset="0"/>
              </a:rPr>
              <a:t>El </a:t>
            </a:r>
            <a:r>
              <a:rPr lang="en-US" sz="1200" dirty="0" err="1">
                <a:latin typeface="+mn-lt"/>
                <a:cs typeface="Arial" pitchFamily="34" charset="0"/>
              </a:rPr>
              <a:t>Banco</a:t>
            </a:r>
            <a:r>
              <a:rPr lang="en-US" sz="1200" dirty="0">
                <a:latin typeface="+mn-lt"/>
                <a:cs typeface="Arial" pitchFamily="34" charset="0"/>
              </a:rPr>
              <a:t> Central del Paraguay ha </a:t>
            </a:r>
            <a:r>
              <a:rPr lang="en-US" sz="1200" dirty="0" err="1">
                <a:latin typeface="+mn-lt"/>
                <a:cs typeface="Arial" pitchFamily="34" charset="0"/>
              </a:rPr>
              <a:t>adoptado</a:t>
            </a:r>
            <a:r>
              <a:rPr lang="en-US" sz="1200" dirty="0">
                <a:latin typeface="+mn-lt"/>
                <a:cs typeface="Arial" pitchFamily="34" charset="0"/>
              </a:rPr>
              <a:t> un </a:t>
            </a:r>
            <a:r>
              <a:rPr lang="es-PY" sz="1200" dirty="0">
                <a:latin typeface="+mn-lt"/>
                <a:cs typeface="Arial" pitchFamily="34" charset="0"/>
              </a:rPr>
              <a:t>régimen de metas de la inflación. </a:t>
            </a:r>
          </a:p>
          <a:p>
            <a:pPr marL="228600" indent="-228600" eaLnBrk="0" latinLnBrk="1" hangingPunct="0">
              <a:lnSpc>
                <a:spcPts val="15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n-US" sz="1200" dirty="0" err="1">
                <a:latin typeface="+mn-lt"/>
                <a:cs typeface="Arial" pitchFamily="34" charset="0"/>
              </a:rPr>
              <a:t>Tasas</a:t>
            </a:r>
            <a:r>
              <a:rPr lang="en-US" sz="1200" dirty="0">
                <a:latin typeface="+mn-lt"/>
                <a:cs typeface="Arial" pitchFamily="34" charset="0"/>
              </a:rPr>
              <a:t> de </a:t>
            </a:r>
            <a:r>
              <a:rPr lang="en-US" sz="1200" dirty="0" err="1">
                <a:latin typeface="+mn-lt"/>
                <a:cs typeface="Arial" pitchFamily="34" charset="0"/>
              </a:rPr>
              <a:t>inflación</a:t>
            </a:r>
            <a:r>
              <a:rPr lang="en-US" sz="1200" dirty="0">
                <a:latin typeface="+mn-lt"/>
                <a:cs typeface="Arial" pitchFamily="34" charset="0"/>
              </a:rPr>
              <a:t> </a:t>
            </a:r>
            <a:r>
              <a:rPr lang="en-US" sz="1200" dirty="0" err="1">
                <a:latin typeface="+mn-lt"/>
                <a:cs typeface="Arial" pitchFamily="34" charset="0"/>
              </a:rPr>
              <a:t>persistentemente</a:t>
            </a:r>
            <a:r>
              <a:rPr lang="en-US" sz="1200" dirty="0">
                <a:latin typeface="+mn-lt"/>
                <a:cs typeface="Arial" pitchFamily="34" charset="0"/>
              </a:rPr>
              <a:t> </a:t>
            </a:r>
            <a:r>
              <a:rPr lang="en-US" sz="1200" dirty="0" err="1">
                <a:latin typeface="+mn-lt"/>
                <a:cs typeface="Arial" pitchFamily="34" charset="0"/>
              </a:rPr>
              <a:t>bajas</a:t>
            </a:r>
            <a:r>
              <a:rPr lang="en-US" sz="1200" dirty="0">
                <a:latin typeface="+mn-lt"/>
                <a:cs typeface="Arial" pitchFamily="34" charset="0"/>
              </a:rPr>
              <a:t>.</a:t>
            </a:r>
          </a:p>
          <a:p>
            <a:pPr marL="228600" indent="-228600" eaLnBrk="0" latinLnBrk="1" hangingPunct="0">
              <a:lnSpc>
                <a:spcPts val="15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PY" sz="1200" dirty="0">
                <a:latin typeface="+mn-lt"/>
                <a:cs typeface="Arial" pitchFamily="34" charset="0"/>
              </a:rPr>
              <a:t>El “guaraní” es una de las monedas más antiguas de América Latina.</a:t>
            </a:r>
            <a:endParaRPr lang="en-US" sz="1200" dirty="0">
              <a:latin typeface="+mn-lt"/>
              <a:cs typeface="Arial" pitchFamily="34" charset="0"/>
            </a:endParaRPr>
          </a:p>
        </p:txBody>
      </p:sp>
      <p:sp>
        <p:nvSpPr>
          <p:cNvPr id="15367" name="AutoShape 7"/>
          <p:cNvSpPr>
            <a:spLocks noChangeArrowheads="1"/>
          </p:cNvSpPr>
          <p:nvPr/>
        </p:nvSpPr>
        <p:spPr bwMode="auto">
          <a:xfrm>
            <a:off x="4787900" y="2057400"/>
            <a:ext cx="3887788" cy="358775"/>
          </a:xfrm>
          <a:prstGeom prst="roundRect">
            <a:avLst>
              <a:gd name="adj" fmla="val 2256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Tasas</a:t>
            </a:r>
            <a:r>
              <a:rPr lang="en-US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de IRM(*)</a:t>
            </a:r>
            <a:endParaRPr lang="en-GB" sz="1200" b="1" kern="0" dirty="0">
              <a:solidFill>
                <a:schemeClr val="accent3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368" name="AutoShape 8"/>
          <p:cNvSpPr>
            <a:spLocks noChangeArrowheads="1"/>
          </p:cNvSpPr>
          <p:nvPr/>
        </p:nvSpPr>
        <p:spPr bwMode="auto">
          <a:xfrm>
            <a:off x="466725" y="2057400"/>
            <a:ext cx="3889375" cy="358775"/>
          </a:xfrm>
          <a:prstGeom prst="roundRect">
            <a:avLst>
              <a:gd name="adj" fmla="val 2256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GB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Tasas</a:t>
            </a:r>
            <a:r>
              <a:rPr lang="en-GB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de </a:t>
            </a:r>
            <a:r>
              <a:rPr lang="en-GB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Inflación</a:t>
            </a:r>
            <a:r>
              <a:rPr lang="en-GB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(</a:t>
            </a:r>
            <a:r>
              <a:rPr lang="en-GB" sz="1200" b="1" kern="0" dirty="0" err="1">
                <a:solidFill>
                  <a:schemeClr val="accent3"/>
                </a:solidFill>
                <a:latin typeface="+mn-lt"/>
                <a:cs typeface="Arial" pitchFamily="34" charset="0"/>
              </a:rPr>
              <a:t>Variación</a:t>
            </a:r>
            <a:r>
              <a:rPr lang="en-GB" sz="1200" b="1" kern="0" dirty="0">
                <a:solidFill>
                  <a:schemeClr val="accent3"/>
                </a:solidFill>
                <a:latin typeface="+mn-lt"/>
                <a:cs typeface="Arial" pitchFamily="34" charset="0"/>
              </a:rPr>
              <a:t> del IPC%)</a:t>
            </a:r>
          </a:p>
        </p:txBody>
      </p:sp>
      <p:graphicFrame>
        <p:nvGraphicFramePr>
          <p:cNvPr id="4" name="1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914391"/>
              </p:ext>
            </p:extLst>
          </p:nvPr>
        </p:nvGraphicFramePr>
        <p:xfrm>
          <a:off x="488950" y="4800600"/>
          <a:ext cx="8197850" cy="1636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9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0721596"/>
              </p:ext>
            </p:extLst>
          </p:nvPr>
        </p:nvGraphicFramePr>
        <p:xfrm>
          <a:off x="75406" y="2416175"/>
          <a:ext cx="4495800" cy="1916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9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6084176"/>
              </p:ext>
            </p:extLst>
          </p:nvPr>
        </p:nvGraphicFramePr>
        <p:xfrm>
          <a:off x="4724399" y="2362200"/>
          <a:ext cx="3951289" cy="197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10 Rectángulo"/>
          <p:cNvSpPr>
            <a:spLocks noChangeArrowheads="1"/>
          </p:cNvSpPr>
          <p:nvPr/>
        </p:nvSpPr>
        <p:spPr bwMode="auto">
          <a:xfrm>
            <a:off x="304800" y="6510675"/>
            <a:ext cx="1513556" cy="19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lang="es-PY" sz="1000" i="1" baseline="30000" dirty="0"/>
              <a:t>Fuente: Banco Central del </a:t>
            </a:r>
            <a:r>
              <a:rPr lang="es-PY" sz="1000" i="1" baseline="30000" dirty="0" smtClean="0"/>
              <a:t>Paraguay</a:t>
            </a:r>
            <a:endParaRPr lang="en-US" sz="1000" i="1" baseline="30000" dirty="0"/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295072" y="6656680"/>
            <a:ext cx="1381328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latinLnBrk="1" hangingPunct="0"/>
            <a:r>
              <a:rPr lang="en-US" sz="1000" i="1" baseline="30000" dirty="0" smtClean="0"/>
              <a:t>* </a:t>
            </a:r>
            <a:r>
              <a:rPr lang="en-US" sz="1000" i="1" baseline="30000" dirty="0" err="1" smtClean="0"/>
              <a:t>Promedio</a:t>
            </a:r>
            <a:r>
              <a:rPr lang="en-US" sz="1000" i="1" baseline="30000" dirty="0" smtClean="0"/>
              <a:t> </a:t>
            </a:r>
            <a:r>
              <a:rPr lang="en-US" sz="1000" i="1" baseline="30000" dirty="0" err="1" smtClean="0"/>
              <a:t>ponderado</a:t>
            </a:r>
            <a:r>
              <a:rPr lang="en-US" sz="1000" i="1" baseline="30000" dirty="0"/>
              <a:t>.</a:t>
            </a:r>
            <a:endParaRPr lang="en-US" sz="1000" i="1" baseline="30000" dirty="0" smtClean="0"/>
          </a:p>
          <a:p>
            <a:pPr eaLnBrk="0" latinLnBrk="1" hangingPunct="0"/>
            <a:r>
              <a:rPr lang="en-US" sz="1000" i="1" baseline="30000" dirty="0" smtClean="0"/>
              <a:t>** TCN de </a:t>
            </a:r>
            <a:r>
              <a:rPr lang="en-US" sz="1000" i="1" baseline="30000" dirty="0" err="1" smtClean="0"/>
              <a:t>julio</a:t>
            </a:r>
            <a:r>
              <a:rPr lang="en-US" sz="1000" i="1" baseline="30000" dirty="0" smtClean="0"/>
              <a:t> 2013.</a:t>
            </a:r>
            <a:endParaRPr lang="en-US" sz="1000" i="1" baseline="30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317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269875"/>
            <a:ext cx="7458075" cy="565150"/>
          </a:xfrm>
        </p:spPr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Aumento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de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las</a:t>
            </a:r>
            <a:r>
              <a:rPr kumimoji="0" lang="en-GB" sz="2300" dirty="0">
                <a:solidFill>
                  <a:schemeClr val="accent3"/>
                </a:solidFill>
                <a:ea typeface="+mn-ea"/>
              </a:rPr>
              <a:t>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Reservas</a:t>
            </a:r>
            <a:r>
              <a:rPr kumimoji="0" lang="en-GB" sz="2300" dirty="0">
                <a:solidFill>
                  <a:schemeClr val="accent3"/>
                </a:solidFill>
                <a:ea typeface="+mn-ea"/>
              </a:rPr>
              <a:t>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Internacionales</a:t>
            </a:r>
            <a:r>
              <a:rPr kumimoji="0" lang="en-GB" sz="2300" dirty="0">
                <a:solidFill>
                  <a:schemeClr val="accent3"/>
                </a:solidFill>
                <a:ea typeface="+mn-ea"/>
              </a:rPr>
              <a:t>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Netas</a:t>
            </a:r>
            <a:endParaRPr kumimoji="0" lang="en-GB" sz="2300" dirty="0">
              <a:solidFill>
                <a:schemeClr val="accent3"/>
              </a:solidFill>
              <a:ea typeface="+mn-ea"/>
            </a:endParaRPr>
          </a:p>
        </p:txBody>
      </p:sp>
      <p:sp>
        <p:nvSpPr>
          <p:cNvPr id="20484" name="AutoShape 4"/>
          <p:cNvSpPr>
            <a:spLocks noChangeArrowheads="1"/>
          </p:cNvSpPr>
          <p:nvPr/>
        </p:nvSpPr>
        <p:spPr bwMode="auto">
          <a:xfrm>
            <a:off x="4787900" y="1981200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Reserva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Internacionale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Neta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del 2012 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/ 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PIB</a:t>
            </a:r>
            <a:endParaRPr lang="en-GB" sz="1200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0485" name="AutoShape 5"/>
          <p:cNvSpPr>
            <a:spLocks noChangeArrowheads="1"/>
          </p:cNvSpPr>
          <p:nvPr/>
        </p:nvSpPr>
        <p:spPr bwMode="auto">
          <a:xfrm>
            <a:off x="466725" y="19812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/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Reserva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Internacionales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Netas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  (U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$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bn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)</a:t>
            </a:r>
          </a:p>
        </p:txBody>
      </p:sp>
      <p:sp>
        <p:nvSpPr>
          <p:cNvPr id="20486" name="Rectangle 6"/>
          <p:cNvSpPr>
            <a:spLocks noChangeArrowheads="1"/>
          </p:cNvSpPr>
          <p:nvPr/>
        </p:nvSpPr>
        <p:spPr bwMode="auto">
          <a:xfrm>
            <a:off x="539750" y="1143000"/>
            <a:ext cx="8135938" cy="464038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marL="180975" indent="-180975" fontAlgn="auto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s-PY" sz="1200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La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acumulación de reservas por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superávits comerciales en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el país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proporcionan al Paraguay un importante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amortiguador frente a posibles shocks externos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.</a:t>
            </a:r>
            <a:endParaRPr kumimoji="0" lang="en-GB" sz="12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5477" name="Freeform 8"/>
          <p:cNvSpPr>
            <a:spLocks noChangeArrowheads="1"/>
          </p:cNvSpPr>
          <p:nvPr/>
        </p:nvSpPr>
        <p:spPr bwMode="auto">
          <a:xfrm rot="-5400000">
            <a:off x="3787776" y="3667125"/>
            <a:ext cx="1670050" cy="288925"/>
          </a:xfrm>
          <a:custGeom>
            <a:avLst/>
            <a:gdLst>
              <a:gd name="T0" fmla="*/ 842389 w 5216"/>
              <a:gd name="T1" fmla="*/ 288925 h 363"/>
              <a:gd name="T2" fmla="*/ 0 w 5216"/>
              <a:gd name="T3" fmla="*/ 0 h 363"/>
              <a:gd name="T4" fmla="*/ 1670050 w 5216"/>
              <a:gd name="T5" fmla="*/ 0 h 363"/>
              <a:gd name="T6" fmla="*/ 842389 w 5216"/>
              <a:gd name="T7" fmla="*/ 288925 h 363"/>
              <a:gd name="T8" fmla="*/ 0 60000 65536"/>
              <a:gd name="T9" fmla="*/ 0 60000 65536"/>
              <a:gd name="T10" fmla="*/ 0 60000 65536"/>
              <a:gd name="T11" fmla="*/ 0 60000 65536"/>
              <a:gd name="T12" fmla="*/ 0 w 5216"/>
              <a:gd name="T13" fmla="*/ 0 h 363"/>
              <a:gd name="T14" fmla="*/ 5216 w 5216"/>
              <a:gd name="T15" fmla="*/ 363 h 3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216" h="363">
                <a:moveTo>
                  <a:pt x="2631" y="363"/>
                </a:moveTo>
                <a:lnTo>
                  <a:pt x="0" y="0"/>
                </a:lnTo>
                <a:lnTo>
                  <a:pt x="5216" y="0"/>
                </a:lnTo>
                <a:lnTo>
                  <a:pt x="2631" y="363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latinLnBrk="1" hangingPunct="0"/>
            <a:endParaRPr lang="en-US" b="1" i="1"/>
          </a:p>
        </p:txBody>
      </p:sp>
      <p:graphicFrame>
        <p:nvGraphicFramePr>
          <p:cNvPr id="2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0454434"/>
              </p:ext>
            </p:extLst>
          </p:nvPr>
        </p:nvGraphicFramePr>
        <p:xfrm>
          <a:off x="517525" y="2717800"/>
          <a:ext cx="3859213" cy="3402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5479" name="10 Imagen" descr="uruguay.png"/>
          <p:cNvPicPr preferRelativeResize="0">
            <a:picLocks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47154" y="5867400"/>
            <a:ext cx="2746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0" name="11 Imagen" descr="argentina.png"/>
          <p:cNvPicPr preferRelativeResize="0"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500269" y="5867398"/>
            <a:ext cx="2746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1" name="12 Imagen" descr="brasil.png"/>
          <p:cNvPicPr preferRelativeResize="0">
            <a:picLocks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12661" y="5867400"/>
            <a:ext cx="2746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2" name="13 Imagen" descr="chile.png"/>
          <p:cNvPicPr preferRelativeResize="0"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023629" y="5867400"/>
            <a:ext cx="2746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3" name="14 Imagen" descr="colombia.png"/>
          <p:cNvPicPr preferRelativeResize="0">
            <a:picLocks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16081" y="5867399"/>
            <a:ext cx="2730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4" name="15 Imagen" descr="Paraguay.png"/>
          <p:cNvPicPr preferRelativeResize="0"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536185" y="5867400"/>
            <a:ext cx="2730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5" name="21 Imagen" descr="perú.jpg"/>
          <p:cNvPicPr preferRelativeResize="0">
            <a:picLocks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558122" y="5867400"/>
            <a:ext cx="2746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86" name="16 Rectángulo"/>
          <p:cNvSpPr>
            <a:spLocks noChangeArrowheads="1"/>
          </p:cNvSpPr>
          <p:nvPr/>
        </p:nvSpPr>
        <p:spPr bwMode="auto">
          <a:xfrm>
            <a:off x="285750" y="6586875"/>
            <a:ext cx="1513556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lang="es-PY" sz="1000" i="1" baseline="30000" dirty="0" smtClean="0"/>
              <a:t>Fuente</a:t>
            </a:r>
            <a:r>
              <a:rPr lang="es-PY" sz="1000" i="1" baseline="30000" dirty="0"/>
              <a:t>: Banco Central del Paraguay</a:t>
            </a:r>
            <a:endParaRPr lang="en-US" sz="1000" i="1" baseline="30000" dirty="0"/>
          </a:p>
          <a:p>
            <a:pPr eaLnBrk="0" latinLnBrk="1" hangingPunct="0"/>
            <a:endParaRPr lang="en-US" sz="1000" i="1" baseline="30000" dirty="0"/>
          </a:p>
        </p:txBody>
      </p:sp>
      <p:graphicFrame>
        <p:nvGraphicFramePr>
          <p:cNvPr id="3" name="2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8308294"/>
              </p:ext>
            </p:extLst>
          </p:nvPr>
        </p:nvGraphicFramePr>
        <p:xfrm>
          <a:off x="4818063" y="2449513"/>
          <a:ext cx="4160837" cy="3392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105488" name="Picture 4" descr="https://www.cia.gov/library/publications/the-world-factbook/graphics/flags/large/bl-lgflag.gif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070678" y="5867400"/>
            <a:ext cx="2730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16 Rectángulo"/>
          <p:cNvSpPr/>
          <p:nvPr/>
        </p:nvSpPr>
        <p:spPr>
          <a:xfrm>
            <a:off x="7667625" y="4156075"/>
            <a:ext cx="10534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latinLnBrk="1" hangingPunct="0">
              <a:defRPr/>
            </a:pPr>
            <a:r>
              <a:rPr lang="en-US" sz="1400" b="1" baseline="30000" dirty="0" err="1" smtClean="0">
                <a:solidFill>
                  <a:srgbClr val="006600"/>
                </a:solidFill>
                <a:latin typeface="+mj-lt"/>
                <a:cs typeface="Arial" pitchFamily="34" charset="0"/>
              </a:rPr>
              <a:t>Promedio</a:t>
            </a:r>
            <a:r>
              <a:rPr lang="en-US" sz="1400" b="1" baseline="30000" dirty="0" smtClean="0">
                <a:solidFill>
                  <a:srgbClr val="006600"/>
                </a:solidFill>
                <a:latin typeface="+mj-lt"/>
                <a:cs typeface="Arial" pitchFamily="34" charset="0"/>
              </a:rPr>
              <a:t>: </a:t>
            </a:r>
            <a:r>
              <a:rPr lang="en-US" sz="1400" b="1" baseline="30000" dirty="0">
                <a:solidFill>
                  <a:srgbClr val="006600"/>
                </a:solidFill>
                <a:latin typeface="+mj-lt"/>
                <a:cs typeface="Arial" pitchFamily="34" charset="0"/>
              </a:rPr>
              <a:t>22%</a:t>
            </a:r>
            <a:endParaRPr lang="en-US" sz="1400" b="1" dirty="0">
              <a:solidFill>
                <a:srgbClr val="0066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16 Rectángulo"/>
          <p:cNvSpPr>
            <a:spLocks noChangeArrowheads="1"/>
          </p:cNvSpPr>
          <p:nvPr/>
        </p:nvSpPr>
        <p:spPr bwMode="auto">
          <a:xfrm>
            <a:off x="5020992" y="6586874"/>
            <a:ext cx="1595309" cy="19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lang="en-US" sz="1000" i="1" baseline="30000" dirty="0" err="1" smtClean="0"/>
              <a:t>Fuente</a:t>
            </a:r>
            <a:r>
              <a:rPr lang="en-US" sz="1000" i="1" baseline="30000" dirty="0" smtClean="0"/>
              <a:t>: The Economist Intelligence Unit</a:t>
            </a:r>
            <a:endParaRPr lang="en-US" sz="1000" i="1" baseline="30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598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325362"/>
            <a:ext cx="8305800" cy="5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kumimoji="0" lang="es-PY" sz="2300" b="1" dirty="0" smtClean="0">
                <a:solidFill>
                  <a:schemeClr val="accent3"/>
                </a:solidFill>
                <a:latin typeface="+mj-lt"/>
                <a:cs typeface="+mj-cs"/>
              </a:rPr>
              <a:t>Inflación en Distintos </a:t>
            </a:r>
            <a:r>
              <a:rPr kumimoji="0" lang="es-PY" sz="2300" b="1" dirty="0">
                <a:solidFill>
                  <a:schemeClr val="accent3"/>
                </a:solidFill>
                <a:latin typeface="+mj-lt"/>
                <a:cs typeface="+mj-cs"/>
              </a:rPr>
              <a:t>Regímenes de Política Monetaria</a:t>
            </a:r>
          </a:p>
        </p:txBody>
      </p:sp>
      <p:graphicFrame>
        <p:nvGraphicFramePr>
          <p:cNvPr id="20" name="19 Gráfico"/>
          <p:cNvGraphicFramePr/>
          <p:nvPr>
            <p:extLst>
              <p:ext uri="{D42A27DB-BD31-4B8C-83A1-F6EECF244321}">
                <p14:modId xmlns:p14="http://schemas.microsoft.com/office/powerpoint/2010/main" val="490768364"/>
              </p:ext>
            </p:extLst>
          </p:nvPr>
        </p:nvGraphicFramePr>
        <p:xfrm>
          <a:off x="395536" y="1397000"/>
          <a:ext cx="8352928" cy="5056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20 Rectángulo"/>
          <p:cNvSpPr/>
          <p:nvPr/>
        </p:nvSpPr>
        <p:spPr>
          <a:xfrm>
            <a:off x="7620000" y="1916022"/>
            <a:ext cx="1056456" cy="3494180"/>
          </a:xfrm>
          <a:prstGeom prst="rect">
            <a:avLst/>
          </a:prstGeom>
          <a:gradFill flip="none" rotWithShape="1">
            <a:gsLst>
              <a:gs pos="0">
                <a:srgbClr val="FFFF00">
                  <a:alpha val="30000"/>
                </a:srgbClr>
              </a:gs>
              <a:gs pos="50000">
                <a:srgbClr val="FFFF00">
                  <a:alpha val="30000"/>
                </a:srgbClr>
              </a:gs>
              <a:gs pos="100000">
                <a:srgbClr val="FFFF00">
                  <a:alpha val="3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Y"/>
          </a:p>
        </p:txBody>
      </p:sp>
      <p:sp>
        <p:nvSpPr>
          <p:cNvPr id="22" name="21 Rectángulo"/>
          <p:cNvSpPr/>
          <p:nvPr/>
        </p:nvSpPr>
        <p:spPr>
          <a:xfrm>
            <a:off x="4716016" y="1916832"/>
            <a:ext cx="2903984" cy="3493369"/>
          </a:xfrm>
          <a:prstGeom prst="rect">
            <a:avLst/>
          </a:prstGeom>
          <a:gradFill flip="none" rotWithShape="1">
            <a:gsLst>
              <a:gs pos="0">
                <a:schemeClr val="accent5">
                  <a:alpha val="20000"/>
                </a:schemeClr>
              </a:gs>
              <a:gs pos="50000">
                <a:schemeClr val="accent5">
                  <a:alpha val="20000"/>
                </a:schemeClr>
              </a:gs>
              <a:gs pos="100000">
                <a:schemeClr val="accent5">
                  <a:alpha val="2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Y"/>
          </a:p>
        </p:txBody>
      </p:sp>
      <p:sp>
        <p:nvSpPr>
          <p:cNvPr id="23" name="22 Rectángulo"/>
          <p:cNvSpPr/>
          <p:nvPr/>
        </p:nvSpPr>
        <p:spPr>
          <a:xfrm>
            <a:off x="827583" y="1916833"/>
            <a:ext cx="3888433" cy="3493368"/>
          </a:xfrm>
          <a:prstGeom prst="rect">
            <a:avLst/>
          </a:prstGeom>
          <a:gradFill flip="none" rotWithShape="1">
            <a:gsLst>
              <a:gs pos="0">
                <a:srgbClr val="009900">
                  <a:alpha val="20000"/>
                </a:srgbClr>
              </a:gs>
              <a:gs pos="50000">
                <a:srgbClr val="009900">
                  <a:alpha val="20000"/>
                </a:srgbClr>
              </a:gs>
              <a:gs pos="100000">
                <a:srgbClr val="009900">
                  <a:alpha val="2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Y"/>
          </a:p>
        </p:txBody>
      </p:sp>
      <p:sp>
        <p:nvSpPr>
          <p:cNvPr id="24" name="23 Abrir llave"/>
          <p:cNvSpPr/>
          <p:nvPr/>
        </p:nvSpPr>
        <p:spPr>
          <a:xfrm rot="5400000">
            <a:off x="8042516" y="1315166"/>
            <a:ext cx="144025" cy="989058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Y" sz="2000"/>
          </a:p>
        </p:txBody>
      </p:sp>
      <p:sp>
        <p:nvSpPr>
          <p:cNvPr id="25" name="24 CuadroTexto"/>
          <p:cNvSpPr txBox="1"/>
          <p:nvPr/>
        </p:nvSpPr>
        <p:spPr>
          <a:xfrm>
            <a:off x="5562600" y="983159"/>
            <a:ext cx="137276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Y" sz="1100" dirty="0" smtClean="0">
                <a:solidFill>
                  <a:srgbClr val="002060"/>
                </a:solidFill>
                <a:latin typeface="+mn-lt"/>
              </a:rPr>
              <a:t>Período </a:t>
            </a:r>
            <a:r>
              <a:rPr lang="es-PY" sz="1100" dirty="0">
                <a:solidFill>
                  <a:srgbClr val="002060"/>
                </a:solidFill>
                <a:latin typeface="+mn-lt"/>
              </a:rPr>
              <a:t>Experimental del Esquema de Metas de Inflación</a:t>
            </a:r>
          </a:p>
        </p:txBody>
      </p:sp>
      <p:sp>
        <p:nvSpPr>
          <p:cNvPr id="26" name="25 Abrir llave"/>
          <p:cNvSpPr/>
          <p:nvPr/>
        </p:nvSpPr>
        <p:spPr>
          <a:xfrm rot="5400000">
            <a:off x="6131604" y="340404"/>
            <a:ext cx="72807" cy="2903984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Y" sz="2000"/>
          </a:p>
        </p:txBody>
      </p:sp>
      <p:sp>
        <p:nvSpPr>
          <p:cNvPr id="27" name="26 CuadroTexto"/>
          <p:cNvSpPr txBox="1"/>
          <p:nvPr/>
        </p:nvSpPr>
        <p:spPr>
          <a:xfrm>
            <a:off x="7414009" y="1195225"/>
            <a:ext cx="15213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Y" sz="1100" dirty="0">
                <a:solidFill>
                  <a:srgbClr val="002060"/>
                </a:solidFill>
                <a:latin typeface="+mn-lt"/>
              </a:rPr>
              <a:t>Inicio del Esquema de Metas de Inflación</a:t>
            </a:r>
          </a:p>
        </p:txBody>
      </p:sp>
      <p:sp>
        <p:nvSpPr>
          <p:cNvPr id="28" name="27 CuadroTexto"/>
          <p:cNvSpPr txBox="1"/>
          <p:nvPr/>
        </p:nvSpPr>
        <p:spPr>
          <a:xfrm>
            <a:off x="2076847" y="1025762"/>
            <a:ext cx="141958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Y" sz="1100" dirty="0">
                <a:solidFill>
                  <a:srgbClr val="002060"/>
                </a:solidFill>
                <a:latin typeface="+mn-lt"/>
              </a:rPr>
              <a:t>Esquema de Agregados Monetarios</a:t>
            </a:r>
          </a:p>
        </p:txBody>
      </p:sp>
      <p:sp>
        <p:nvSpPr>
          <p:cNvPr id="29" name="28 Abrir llave"/>
          <p:cNvSpPr/>
          <p:nvPr/>
        </p:nvSpPr>
        <p:spPr>
          <a:xfrm rot="5400000">
            <a:off x="2746442" y="-124751"/>
            <a:ext cx="80396" cy="3858752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Y" sz="2000"/>
          </a:p>
        </p:txBody>
      </p:sp>
      <p:sp>
        <p:nvSpPr>
          <p:cNvPr id="30" name="29 CuadroTexto"/>
          <p:cNvSpPr txBox="1"/>
          <p:nvPr/>
        </p:nvSpPr>
        <p:spPr>
          <a:xfrm>
            <a:off x="6084168" y="1988840"/>
            <a:ext cx="5309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Y" sz="900" dirty="0" smtClean="0">
                <a:solidFill>
                  <a:srgbClr val="002060"/>
                </a:solidFill>
                <a:latin typeface="+mn-lt"/>
              </a:rPr>
              <a:t>7 años</a:t>
            </a:r>
            <a:endParaRPr lang="es-PY" sz="9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7620000" y="2235061"/>
            <a:ext cx="108876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Y" sz="900" dirty="0" smtClean="0">
                <a:solidFill>
                  <a:srgbClr val="002060"/>
                </a:solidFill>
                <a:latin typeface="+mn-lt"/>
              </a:rPr>
              <a:t>2 años y 2 meses</a:t>
            </a:r>
            <a:endParaRPr lang="es-PY" sz="900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002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uadroTexto"/>
          <p:cNvSpPr txBox="1"/>
          <p:nvPr/>
        </p:nvSpPr>
        <p:spPr>
          <a:xfrm>
            <a:off x="-184720" y="119534"/>
            <a:ext cx="8490520" cy="789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ctr" eaLnBrk="0" hangingPunct="0">
              <a:defRPr/>
            </a:pPr>
            <a:r>
              <a:rPr kumimoji="0" lang="es-PY" sz="1800" b="1" dirty="0" smtClean="0">
                <a:solidFill>
                  <a:schemeClr val="accent3"/>
                </a:solidFill>
                <a:latin typeface="+mj-lt"/>
                <a:cs typeface="+mj-cs"/>
              </a:rPr>
              <a:t>Resultados </a:t>
            </a:r>
            <a:r>
              <a:rPr kumimoji="0" lang="es-PY" sz="1800" b="1" dirty="0">
                <a:solidFill>
                  <a:schemeClr val="accent3"/>
                </a:solidFill>
                <a:latin typeface="+mj-lt"/>
                <a:cs typeface="+mj-cs"/>
              </a:rPr>
              <a:t>de </a:t>
            </a:r>
            <a:r>
              <a:rPr kumimoji="0" lang="es-PY" sz="1800" b="1" dirty="0" smtClean="0">
                <a:solidFill>
                  <a:schemeClr val="accent3"/>
                </a:solidFill>
                <a:latin typeface="+mj-lt"/>
                <a:cs typeface="+mj-cs"/>
              </a:rPr>
              <a:t>la </a:t>
            </a:r>
            <a:r>
              <a:rPr kumimoji="0" lang="es-PY" sz="1800" b="1" dirty="0">
                <a:solidFill>
                  <a:schemeClr val="accent3"/>
                </a:solidFill>
                <a:latin typeface="+mj-lt"/>
                <a:cs typeface="+mj-cs"/>
              </a:rPr>
              <a:t>Inflación Baja, Estable y Predecible</a:t>
            </a:r>
          </a:p>
          <a:p>
            <a:pPr algn="ctr" eaLnBrk="0" hangingPunct="0">
              <a:defRPr/>
            </a:pPr>
            <a:r>
              <a:rPr kumimoji="0" lang="es-PY" sz="1800" b="1" dirty="0">
                <a:solidFill>
                  <a:schemeClr val="accent3"/>
                </a:solidFill>
                <a:latin typeface="+mj-lt"/>
                <a:cs typeface="+mj-cs"/>
              </a:rPr>
              <a:t> </a:t>
            </a:r>
            <a:r>
              <a:rPr kumimoji="0" lang="es-ES" sz="1800" b="1" dirty="0">
                <a:solidFill>
                  <a:schemeClr val="accent3"/>
                </a:solidFill>
                <a:latin typeface="+mj-lt"/>
                <a:cs typeface="+mj-cs"/>
              </a:rPr>
              <a:t>Reducción de las tasas Corporativas de Préstamos - Nominales y Reales </a:t>
            </a:r>
            <a:endParaRPr kumimoji="0" lang="es-PY" sz="1800" b="1" dirty="0">
              <a:solidFill>
                <a:schemeClr val="accent3"/>
              </a:solidFill>
              <a:latin typeface="+mj-lt"/>
              <a:cs typeface="+mj-cs"/>
            </a:endParaRPr>
          </a:p>
        </p:txBody>
      </p:sp>
      <p:graphicFrame>
        <p:nvGraphicFramePr>
          <p:cNvPr id="22" name="21 Gráfico"/>
          <p:cNvGraphicFramePr/>
          <p:nvPr>
            <p:extLst>
              <p:ext uri="{D42A27DB-BD31-4B8C-83A1-F6EECF244321}">
                <p14:modId xmlns:p14="http://schemas.microsoft.com/office/powerpoint/2010/main" val="3187031330"/>
              </p:ext>
            </p:extLst>
          </p:nvPr>
        </p:nvGraphicFramePr>
        <p:xfrm>
          <a:off x="251520" y="1124744"/>
          <a:ext cx="864096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3840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228462" y="486544"/>
            <a:ext cx="8305938" cy="504056"/>
          </a:xfrm>
          <a:prstGeom prst="rect">
            <a:avLst/>
          </a:prstGeom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 err="1" smtClean="0">
                <a:solidFill>
                  <a:schemeClr val="bg1"/>
                </a:solidFill>
                <a:latin typeface="+mj-lt"/>
                <a:cs typeface="Aharoni" pitchFamily="2" charset="-79"/>
              </a:rPr>
              <a:t>Curva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cs typeface="Aharoni" pitchFamily="2" charset="-79"/>
              </a:rPr>
              <a:t> de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cs typeface="Aharoni" pitchFamily="2" charset="-79"/>
              </a:rPr>
              <a:t>Rendimientos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cs typeface="Aharoni" pitchFamily="2" charset="-79"/>
              </a:rPr>
              <a:t> de los Títulos del BCP</a:t>
            </a:r>
            <a:endParaRPr lang="en-US" sz="2000" b="1" dirty="0">
              <a:solidFill>
                <a:schemeClr val="bg1"/>
              </a:solidFill>
              <a:latin typeface="+mj-lt"/>
              <a:cs typeface="Aharoni" pitchFamily="2" charset="-79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279880773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9539631"/>
              </p:ext>
            </p:extLst>
          </p:nvPr>
        </p:nvGraphicFramePr>
        <p:xfrm>
          <a:off x="609600" y="1219200"/>
          <a:ext cx="8077200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89495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-228600" y="304800"/>
            <a:ext cx="8712967" cy="86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s-ES" sz="2000" b="1" dirty="0" smtClean="0">
                <a:solidFill>
                  <a:schemeClr val="bg1"/>
                </a:solidFill>
                <a:ea typeface="+mn-ea"/>
                <a:cs typeface="Aharoni" pitchFamily="2" charset="-79"/>
              </a:rPr>
              <a:t>Las fuerzas de Mercado: Moneda Fuerte y los fundamentos</a:t>
            </a:r>
            <a:endParaRPr lang="es-ES" sz="2000" b="1" dirty="0">
              <a:solidFill>
                <a:schemeClr val="bg1"/>
              </a:solidFill>
              <a:ea typeface="+mn-ea"/>
              <a:cs typeface="Aharoni" pitchFamily="2" charset="-79"/>
            </a:endParaRPr>
          </a:p>
        </p:txBody>
      </p:sp>
      <p:sp>
        <p:nvSpPr>
          <p:cNvPr id="19" name="18 CuadroTexto"/>
          <p:cNvSpPr txBox="1"/>
          <p:nvPr/>
        </p:nvSpPr>
        <p:spPr>
          <a:xfrm rot="16200000">
            <a:off x="-1275544" y="3239132"/>
            <a:ext cx="338513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100" dirty="0">
                <a:solidFill>
                  <a:srgbClr val="002060"/>
                </a:solidFill>
                <a:cs typeface="Arial" charset="0"/>
              </a:rPr>
              <a:t>Tipo de cambio respecto al dólar americano / USD (Índice Ene-2008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160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827584" y="1669856"/>
            <a:ext cx="7500938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500" dirty="0">
              <a:solidFill>
                <a:srgbClr val="002060"/>
              </a:solidFill>
              <a:latin typeface="Arial Rounded MT Bold" pitchFamily="34" charset="0"/>
              <a:cs typeface="Aharoni" pitchFamily="2" charset="-79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400" dirty="0">
                <a:solidFill>
                  <a:srgbClr val="002060"/>
                </a:solidFill>
                <a:latin typeface="Arial Rounded MT Bold" pitchFamily="34" charset="0"/>
                <a:cs typeface="Aharoni" pitchFamily="2" charset="-79"/>
              </a:rPr>
              <a:t>Índice Enero 2008=100</a:t>
            </a:r>
          </a:p>
        </p:txBody>
      </p:sp>
      <p:graphicFrame>
        <p:nvGraphicFramePr>
          <p:cNvPr id="21" name="20 Gráfico"/>
          <p:cNvGraphicFramePr/>
          <p:nvPr>
            <p:extLst>
              <p:ext uri="{D42A27DB-BD31-4B8C-83A1-F6EECF244321}">
                <p14:modId xmlns:p14="http://schemas.microsoft.com/office/powerpoint/2010/main" val="814869330"/>
              </p:ext>
            </p:extLst>
          </p:nvPr>
        </p:nvGraphicFramePr>
        <p:xfrm>
          <a:off x="529876" y="1129414"/>
          <a:ext cx="8515531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21 CuadroTexto"/>
          <p:cNvSpPr txBox="1"/>
          <p:nvPr/>
        </p:nvSpPr>
        <p:spPr>
          <a:xfrm>
            <a:off x="7779982" y="4478170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000" b="1" dirty="0">
                <a:solidFill>
                  <a:srgbClr val="FF0000"/>
                </a:solidFill>
                <a:latin typeface="Calibri" pitchFamily="34" charset="0"/>
                <a:cs typeface="Arial" charset="0"/>
              </a:rPr>
              <a:t>Peso </a:t>
            </a:r>
            <a:r>
              <a:rPr lang="es-ES" sz="1000" b="1" dirty="0" smtClean="0">
                <a:solidFill>
                  <a:srgbClr val="FF0000"/>
                </a:solidFill>
                <a:latin typeface="Calibri" pitchFamily="34" charset="0"/>
                <a:cs typeface="Arial" charset="0"/>
              </a:rPr>
              <a:t>Uruguayo: 102</a:t>
            </a:r>
            <a:endParaRPr lang="es-ES" sz="1000" b="1" dirty="0">
              <a:solidFill>
                <a:srgbClr val="FF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7771304" y="4622186"/>
            <a:ext cx="1625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000" b="1" dirty="0">
                <a:solidFill>
                  <a:srgbClr val="FF9933"/>
                </a:solidFill>
                <a:latin typeface="Calibri" pitchFamily="34" charset="0"/>
                <a:cs typeface="Arial" charset="0"/>
              </a:rPr>
              <a:t>Peso </a:t>
            </a:r>
            <a:r>
              <a:rPr lang="es-ES" sz="1000" b="1" dirty="0" smtClean="0">
                <a:solidFill>
                  <a:srgbClr val="FF9933"/>
                </a:solidFill>
                <a:latin typeface="Calibri" pitchFamily="34" charset="0"/>
                <a:cs typeface="Arial" charset="0"/>
              </a:rPr>
              <a:t>Colombiano: 95</a:t>
            </a:r>
            <a:endParaRPr lang="es-ES" sz="1000" b="1" dirty="0">
              <a:solidFill>
                <a:srgbClr val="FF9933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7812366" y="4303957"/>
            <a:ext cx="13986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000" b="1" dirty="0">
                <a:solidFill>
                  <a:srgbClr val="7030A0"/>
                </a:solidFill>
                <a:latin typeface="Calibri" pitchFamily="34" charset="0"/>
                <a:cs typeface="Arial" charset="0"/>
              </a:rPr>
              <a:t>Peso </a:t>
            </a:r>
            <a:r>
              <a:rPr lang="es-ES" sz="1000" b="1" dirty="0" smtClean="0">
                <a:solidFill>
                  <a:srgbClr val="7030A0"/>
                </a:solidFill>
                <a:latin typeface="Calibri" pitchFamily="34" charset="0"/>
                <a:cs typeface="Arial" charset="0"/>
              </a:rPr>
              <a:t>Chileno: 107</a:t>
            </a:r>
            <a:endParaRPr lang="es-ES" sz="1000" b="1" dirty="0">
              <a:solidFill>
                <a:srgbClr val="7030A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7642451" y="2169549"/>
            <a:ext cx="14883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100" b="1" dirty="0">
                <a:solidFill>
                  <a:srgbClr val="C00000"/>
                </a:solidFill>
                <a:latin typeface="Calibri" pitchFamily="34" charset="0"/>
                <a:cs typeface="Arial" charset="0"/>
              </a:rPr>
              <a:t>Peso </a:t>
            </a:r>
            <a:r>
              <a:rPr lang="es-ES" sz="1100" b="1" dirty="0" smtClean="0">
                <a:solidFill>
                  <a:srgbClr val="C00000"/>
                </a:solidFill>
                <a:latin typeface="Calibri" pitchFamily="34" charset="0"/>
                <a:cs typeface="Arial" charset="0"/>
              </a:rPr>
              <a:t>Argentino</a:t>
            </a:r>
            <a:r>
              <a:rPr lang="es-PY" sz="1100" b="1" dirty="0" smtClean="0">
                <a:solidFill>
                  <a:srgbClr val="C00000"/>
                </a:solidFill>
                <a:latin typeface="Calibri" pitchFamily="34" charset="0"/>
                <a:cs typeface="Arial" charset="0"/>
              </a:rPr>
              <a:t>:</a:t>
            </a:r>
            <a:r>
              <a:rPr lang="es-ES" sz="1100" b="1" dirty="0" smtClean="0">
                <a:solidFill>
                  <a:srgbClr val="C00000"/>
                </a:solidFill>
                <a:latin typeface="Calibri" pitchFamily="34" charset="0"/>
                <a:cs typeface="Arial" charset="0"/>
              </a:rPr>
              <a:t> 176</a:t>
            </a:r>
            <a:endParaRPr lang="es-ES" sz="1100" b="1" dirty="0">
              <a:solidFill>
                <a:srgbClr val="C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6" name="5 CuadroTexto"/>
          <p:cNvSpPr txBox="1"/>
          <p:nvPr/>
        </p:nvSpPr>
        <p:spPr>
          <a:xfrm>
            <a:off x="7740360" y="4766202"/>
            <a:ext cx="11195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000" b="1" dirty="0" smtClean="0">
                <a:solidFill>
                  <a:srgbClr val="DAEDEF">
                    <a:lumMod val="50000"/>
                  </a:srgbClr>
                </a:solidFill>
                <a:latin typeface="Calibri" pitchFamily="34" charset="0"/>
                <a:cs typeface="Arial" pitchFamily="34" charset="0"/>
              </a:rPr>
              <a:t>Nuevo Sol: 95</a:t>
            </a:r>
            <a:endParaRPr lang="es-ES" sz="1000" b="1" dirty="0">
              <a:solidFill>
                <a:srgbClr val="DAEDEF">
                  <a:lumMod val="50000"/>
                </a:srgbClr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7" name="4 CuadroTexto"/>
          <p:cNvSpPr txBox="1"/>
          <p:nvPr/>
        </p:nvSpPr>
        <p:spPr>
          <a:xfrm>
            <a:off x="7740360" y="4995634"/>
            <a:ext cx="10019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0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Guaraní: 94</a:t>
            </a:r>
            <a:endParaRPr lang="es-ES" sz="10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84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25760"/>
            <a:ext cx="8229600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kumimoji="0" lang="en-US" sz="2300" dirty="0">
                <a:ea typeface="+mn-ea"/>
              </a:rPr>
              <a:t>VISION DE LARGO PLAZO </a:t>
            </a:r>
            <a:endParaRPr kumimoji="0" lang="es-PY" sz="2300" dirty="0">
              <a:ea typeface="+mn-ea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381000" y="1592282"/>
            <a:ext cx="842493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00" i="1" dirty="0" smtClean="0">
                <a:latin typeface="+mj-lt"/>
              </a:rPr>
              <a:t>“U</a:t>
            </a:r>
            <a:r>
              <a:rPr lang="es-PY" sz="2800" i="1" dirty="0">
                <a:latin typeface="+mj-lt"/>
              </a:rPr>
              <a:t>n Paraguay </a:t>
            </a:r>
            <a:r>
              <a:rPr lang="es-PY" sz="2800" i="1" dirty="0" smtClean="0">
                <a:latin typeface="+mj-lt"/>
              </a:rPr>
              <a:t>ubicado </a:t>
            </a:r>
            <a:r>
              <a:rPr lang="es-PY" sz="2800" i="1" dirty="0">
                <a:latin typeface="+mj-lt"/>
              </a:rPr>
              <a:t>entre los más eficientes productores de alimentos a nivel </a:t>
            </a:r>
            <a:r>
              <a:rPr lang="es-PY" sz="2800" i="1" dirty="0" smtClean="0">
                <a:latin typeface="+mj-lt"/>
              </a:rPr>
              <a:t>mundial; abierto </a:t>
            </a:r>
            <a:r>
              <a:rPr lang="es-PY" sz="2800" i="1" dirty="0">
                <a:latin typeface="+mj-lt"/>
              </a:rPr>
              <a:t>y conectado al </a:t>
            </a:r>
            <a:r>
              <a:rPr lang="es-PY" sz="2800" i="1" dirty="0" smtClean="0">
                <a:latin typeface="+mj-lt"/>
              </a:rPr>
              <a:t>mundo; con elevados índices </a:t>
            </a:r>
            <a:r>
              <a:rPr lang="es-PY" sz="2800" i="1" dirty="0">
                <a:latin typeface="+mj-lt"/>
              </a:rPr>
              <a:t>de </a:t>
            </a:r>
            <a:r>
              <a:rPr lang="es-PY" sz="2800" i="1" dirty="0" smtClean="0">
                <a:latin typeface="+mj-lt"/>
              </a:rPr>
              <a:t>desarrollo; ambientalmente sostenible; garante de la seguridad ciudadana y de la propiedad privada; </a:t>
            </a:r>
            <a:r>
              <a:rPr lang="es-PY" sz="2800" i="1" dirty="0">
                <a:latin typeface="+mj-lt"/>
              </a:rPr>
              <a:t>con fuerte protagonismo de la mujer, con jóvenes </a:t>
            </a:r>
            <a:r>
              <a:rPr lang="es-PY" sz="2800" i="1" dirty="0" smtClean="0">
                <a:latin typeface="+mj-lt"/>
              </a:rPr>
              <a:t>emprendedores y </a:t>
            </a:r>
            <a:r>
              <a:rPr lang="es-PY" sz="2800" i="1" dirty="0">
                <a:latin typeface="+mj-lt"/>
              </a:rPr>
              <a:t>entrenados para liderar el </a:t>
            </a:r>
            <a:r>
              <a:rPr lang="es-PY" sz="2800" i="1" dirty="0" smtClean="0">
                <a:latin typeface="+mj-lt"/>
              </a:rPr>
              <a:t>país; y con </a:t>
            </a:r>
            <a:r>
              <a:rPr lang="es-PY" sz="2800" i="1" dirty="0">
                <a:latin typeface="+mj-lt"/>
              </a:rPr>
              <a:t>un Estado solidario, equitativo, transparente y </a:t>
            </a:r>
            <a:r>
              <a:rPr lang="es-PY" sz="2800" i="1" dirty="0" smtClean="0">
                <a:latin typeface="+mj-lt"/>
              </a:rPr>
              <a:t>sin </a:t>
            </a:r>
            <a:r>
              <a:rPr lang="es-PY" sz="2800" i="1" dirty="0">
                <a:latin typeface="+mj-lt"/>
              </a:rPr>
              <a:t>tolerancia hacia la </a:t>
            </a:r>
            <a:r>
              <a:rPr lang="es-PY" sz="2800" i="1" dirty="0" smtClean="0">
                <a:latin typeface="+mj-lt"/>
              </a:rPr>
              <a:t>corrupción”.</a:t>
            </a:r>
            <a:endParaRPr lang="es-PY" sz="28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6771332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5 Rectángulo"/>
          <p:cNvSpPr/>
          <p:nvPr/>
        </p:nvSpPr>
        <p:spPr>
          <a:xfrm>
            <a:off x="838200" y="1219200"/>
            <a:ext cx="7680281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Crecimiento</a:t>
            </a:r>
            <a:endParaRPr kumimoji="0" lang="en-US" sz="28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Fundamentos</a:t>
            </a:r>
            <a:endParaRPr kumimoji="0" lang="en-US" sz="28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Supervisión</a:t>
            </a:r>
            <a:endParaRPr kumimoji="0" lang="en-US" sz="28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0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Gobierno</a:t>
            </a:r>
            <a:r>
              <a:rPr kumimoji="0" lang="en-US" sz="20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sz="20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Corporativo</a:t>
            </a:r>
            <a:endParaRPr kumimoji="0" lang="en-US" sz="20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0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Supervisión</a:t>
            </a:r>
            <a:r>
              <a:rPr kumimoji="0" lang="en-US" sz="20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sz="2000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Basada</a:t>
            </a:r>
            <a:r>
              <a:rPr kumimoji="0" lang="en-US" sz="2000" kern="0" dirty="0">
                <a:solidFill>
                  <a:sysClr val="windowText" lastClr="000000"/>
                </a:solidFill>
                <a:latin typeface="Arial"/>
                <a:cs typeface="Arial"/>
              </a:rPr>
              <a:t> en </a:t>
            </a:r>
            <a:r>
              <a:rPr kumimoji="0" lang="en-US" sz="2000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Riesgo</a:t>
            </a:r>
            <a:endParaRPr kumimoji="0" lang="en-US" sz="20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Inclusión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Financiera</a:t>
            </a:r>
            <a:endParaRPr kumimoji="0" lang="en-US" sz="28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0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Bancarización</a:t>
            </a:r>
            <a:endParaRPr kumimoji="0" lang="en-US" sz="20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000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Educación</a:t>
            </a:r>
            <a:r>
              <a:rPr kumimoji="0" lang="en-US" sz="2000" kern="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sz="2000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Financiera</a:t>
            </a:r>
            <a:r>
              <a:rPr kumimoji="0" lang="en-US" sz="2000" kern="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0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Protección</a:t>
            </a:r>
            <a:r>
              <a:rPr kumimoji="0" lang="en-US" sz="20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al </a:t>
            </a:r>
            <a:r>
              <a:rPr kumimoji="0" lang="en-US" sz="20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Consumidor</a:t>
            </a:r>
            <a:endParaRPr kumimoji="0" lang="en-US" sz="200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425450"/>
            <a:ext cx="7199313" cy="565150"/>
          </a:xfr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kumimoji="0" lang="en-US" sz="24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Características</a:t>
            </a:r>
            <a:r>
              <a:rPr kumimoji="0" lang="en-US" sz="24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del </a:t>
            </a:r>
            <a:r>
              <a:rPr kumimoji="0" lang="en-US" sz="24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Sistema</a:t>
            </a:r>
            <a:r>
              <a:rPr kumimoji="0" lang="en-US" sz="24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r>
              <a:rPr kumimoji="0" lang="en-US" sz="24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Financiero</a:t>
            </a:r>
            <a:r>
              <a:rPr kumimoji="0" lang="en-US" sz="24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endParaRPr kumimoji="0" lang="en-US" sz="2400" dirty="0">
              <a:solidFill>
                <a:schemeClr val="accent3"/>
              </a:solidFill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7164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Nueva imagen (1)"/>
          <p:cNvPicPr>
            <a:picLocks noChangeAspect="1" noChangeArrowheads="1"/>
          </p:cNvPicPr>
          <p:nvPr/>
        </p:nvPicPr>
        <p:blipFill>
          <a:blip r:embed="rId3">
            <a:lum bright="66000" contrast="-70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1219200"/>
            <a:ext cx="7129462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6569075"/>
            <a:ext cx="3779838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900" b="1" i="1" dirty="0" smtClean="0">
                <a:solidFill>
                  <a:srgbClr val="002060"/>
                </a:solidFill>
                <a:cs typeface="Times New Roman" pitchFamily="18" charset="0"/>
              </a:rPr>
              <a:t>* A Junio 201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900" b="1" i="1" dirty="0" smtClean="0">
                <a:solidFill>
                  <a:srgbClr val="002060"/>
                </a:solidFill>
                <a:cs typeface="Times New Roman" pitchFamily="18" charset="0"/>
              </a:rPr>
              <a:t>Fuente: BCP</a:t>
            </a:r>
            <a:endParaRPr lang="es-ES" sz="900" b="1" i="1" dirty="0">
              <a:solidFill>
                <a:srgbClr val="002060"/>
              </a:solidFill>
              <a:cs typeface="Times New Roman" pitchFamily="18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463963" y="274712"/>
            <a:ext cx="8065020" cy="7920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s-ES" b="1" dirty="0" smtClean="0">
                <a:solidFill>
                  <a:schemeClr val="bg1"/>
                </a:solidFill>
                <a:latin typeface="+mj-lt"/>
              </a:rPr>
              <a:t>Activos totales</a:t>
            </a:r>
            <a:endParaRPr lang="es-ES" b="1" dirty="0">
              <a:solidFill>
                <a:schemeClr val="bg1"/>
              </a:solidFill>
              <a:latin typeface="+mj-lt"/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800" b="1" dirty="0" smtClean="0">
                <a:solidFill>
                  <a:schemeClr val="bg1"/>
                </a:solidFill>
                <a:latin typeface="+mj-lt"/>
              </a:rPr>
              <a:t>(% del PIB)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1800" b="1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955733"/>
              </p:ext>
            </p:extLst>
          </p:nvPr>
        </p:nvGraphicFramePr>
        <p:xfrm>
          <a:off x="83223" y="1143000"/>
          <a:ext cx="9036934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8354797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Nueva imagen (1)"/>
          <p:cNvPicPr>
            <a:picLocks noChangeAspect="1" noChangeArrowheads="1"/>
          </p:cNvPicPr>
          <p:nvPr/>
        </p:nvPicPr>
        <p:blipFill>
          <a:blip r:embed="rId3">
            <a:lum bright="66000" contrast="-70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1143000"/>
            <a:ext cx="7129462" cy="516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7312554"/>
              </p:ext>
            </p:extLst>
          </p:nvPr>
        </p:nvGraphicFramePr>
        <p:xfrm>
          <a:off x="0" y="1124744"/>
          <a:ext cx="8826500" cy="4838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79388" y="304800"/>
            <a:ext cx="8065020" cy="57613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s-ES" b="1" dirty="0" smtClean="0">
                <a:solidFill>
                  <a:schemeClr val="bg1"/>
                </a:solidFill>
                <a:latin typeface="+mj-lt"/>
                <a:cs typeface="Arial" charset="0"/>
              </a:rPr>
              <a:t>Expansión de Préstamos</a:t>
            </a:r>
            <a:endParaRPr lang="es-ES" b="1" dirty="0">
              <a:solidFill>
                <a:schemeClr val="bg1"/>
              </a:solidFill>
              <a:latin typeface="+mj-lt"/>
              <a:cs typeface="Arial" charset="0"/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600" b="1" dirty="0" smtClean="0">
                <a:solidFill>
                  <a:schemeClr val="bg1"/>
                </a:solidFill>
                <a:latin typeface="+mj-lt"/>
                <a:cs typeface="Arial" charset="0"/>
              </a:rPr>
              <a:t>(millones de US</a:t>
            </a:r>
            <a:r>
              <a:rPr lang="es-ES" sz="1600" b="1" dirty="0">
                <a:solidFill>
                  <a:schemeClr val="bg1"/>
                </a:solidFill>
                <a:latin typeface="+mj-lt"/>
                <a:cs typeface="Arial" charset="0"/>
              </a:rPr>
              <a:t>$)</a:t>
            </a:r>
          </a:p>
        </p:txBody>
      </p:sp>
      <p:graphicFrame>
        <p:nvGraphicFramePr>
          <p:cNvPr id="13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7379752"/>
              </p:ext>
            </p:extLst>
          </p:nvPr>
        </p:nvGraphicFramePr>
        <p:xfrm>
          <a:off x="113038" y="1684639"/>
          <a:ext cx="8826500" cy="3982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" name="2 Conector recto"/>
          <p:cNvCxnSpPr/>
          <p:nvPr/>
        </p:nvCxnSpPr>
        <p:spPr>
          <a:xfrm>
            <a:off x="1076254" y="3628855"/>
            <a:ext cx="7200800" cy="0"/>
          </a:xfrm>
          <a:prstGeom prst="line">
            <a:avLst/>
          </a:prstGeom>
          <a:ln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6" descr="http://www.kolombiaestereo.com/BANDERAS%20PAISES%20LATINOS/bandera-paraguay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15" y="5559391"/>
            <a:ext cx="507417" cy="30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http://3.bp.blogspot.com/_IdG4bpnf1b8/TBgC1bMigrI/AAAAAAAAE5M/HtdOeymoe-4/s1600/bandera_Brasi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0350" y="5559068"/>
            <a:ext cx="544443" cy="37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http://www.fulldaysperu.com/wp-content/uploads/2011/01/BANDERA-DEL-PERU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462" y="5597824"/>
            <a:ext cx="509580" cy="338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" descr="http://images2.wikia.nocookie.net/__cb20120511233417/mortalkombat/es/images/9/96/Bandera-colombia-1.gi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558" y="5546915"/>
            <a:ext cx="595652" cy="3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http://1.bp.blogspot.com/-Q6fosPql9C4/Tu5yhR2J8JI/AAAAAAAAC7M/YrlrPvVyvMI/s1600/BANDERA+ARGENTIN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0670" y="5558095"/>
            <a:ext cx="568441" cy="36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http://enciclopedia.us.es/images/a/a2/Bandera_de_Bolivia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774" y="5597229"/>
            <a:ext cx="472663" cy="315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http://1.bp.blogspot.com/_Z_YWTFNHUvw/TCD5b9N33gI/AAAAAAAABDw/hXbFXPwQwNY/s1600/uruguay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878" y="5538302"/>
            <a:ext cx="608147" cy="40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http://www.informacion-chile.cl/estado/images/bandera-chile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613" y="5558095"/>
            <a:ext cx="586433" cy="3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"/>
          <p:cNvSpPr>
            <a:spLocks noChangeArrowheads="1"/>
          </p:cNvSpPr>
          <p:nvPr/>
        </p:nvSpPr>
        <p:spPr bwMode="auto">
          <a:xfrm>
            <a:off x="0" y="6553200"/>
            <a:ext cx="1889919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s-ES" sz="900" b="1" i="1" dirty="0" smtClean="0">
                <a:solidFill>
                  <a:srgbClr val="002060"/>
                </a:solidFill>
                <a:cs typeface="Times New Roman" pitchFamily="18" charset="0"/>
              </a:rPr>
              <a:t>Fuente</a:t>
            </a:r>
            <a:r>
              <a:rPr lang="es-ES" sz="900" b="1" i="1" dirty="0">
                <a:solidFill>
                  <a:srgbClr val="002060"/>
                </a:solidFill>
                <a:cs typeface="Times New Roman" pitchFamily="18" charset="0"/>
              </a:rPr>
              <a:t>: </a:t>
            </a:r>
            <a:r>
              <a:rPr lang="es-ES" sz="900" b="1" i="1" dirty="0" smtClean="0">
                <a:solidFill>
                  <a:srgbClr val="002060"/>
                </a:solidFill>
                <a:cs typeface="Times New Roman" pitchFamily="18" charset="0"/>
              </a:rPr>
              <a:t>BCP</a:t>
            </a:r>
            <a:endParaRPr lang="es-ES" sz="900" b="1" i="1" dirty="0">
              <a:solidFill>
                <a:srgbClr val="002060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594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11 Gráfico"/>
          <p:cNvGraphicFramePr/>
          <p:nvPr>
            <p:extLst>
              <p:ext uri="{D42A27DB-BD31-4B8C-83A1-F6EECF244321}">
                <p14:modId xmlns:p14="http://schemas.microsoft.com/office/powerpoint/2010/main" val="3963725021"/>
              </p:ext>
            </p:extLst>
          </p:nvPr>
        </p:nvGraphicFramePr>
        <p:xfrm>
          <a:off x="4620922" y="3913311"/>
          <a:ext cx="4428753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219" name="4 CuadroTexto"/>
          <p:cNvSpPr txBox="1">
            <a:spLocks noChangeArrowheads="1"/>
          </p:cNvSpPr>
          <p:nvPr/>
        </p:nvSpPr>
        <p:spPr bwMode="auto">
          <a:xfrm>
            <a:off x="4860032" y="1187667"/>
            <a:ext cx="37147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Tasa de Morosidad</a:t>
            </a:r>
            <a:endParaRPr lang="es-ES" sz="1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9221" name="4 CuadroTexto"/>
          <p:cNvSpPr txBox="1">
            <a:spLocks noChangeArrowheads="1"/>
          </p:cNvSpPr>
          <p:nvPr/>
        </p:nvSpPr>
        <p:spPr bwMode="auto">
          <a:xfrm>
            <a:off x="5076056" y="3913311"/>
            <a:ext cx="367240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Bancos: ROE</a:t>
            </a:r>
            <a:endParaRPr lang="es-ES" sz="1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251520" y="457200"/>
            <a:ext cx="8640960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+mj-lt"/>
              </a:rPr>
              <a:t>Crecimiento </a:t>
            </a:r>
            <a:r>
              <a:rPr lang="es-ES" sz="2000" b="1" dirty="0" smtClean="0">
                <a:solidFill>
                  <a:schemeClr val="bg1"/>
                </a:solidFill>
                <a:latin typeface="+mj-lt"/>
              </a:rPr>
              <a:t>con una Base Sólida</a:t>
            </a:r>
            <a:endParaRPr lang="es-ES" sz="2000" b="1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1673328595"/>
              </p:ext>
            </p:extLst>
          </p:nvPr>
        </p:nvGraphicFramePr>
        <p:xfrm>
          <a:off x="4547938" y="1458362"/>
          <a:ext cx="4494734" cy="2454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26 Gráfico"/>
          <p:cNvGraphicFramePr/>
          <p:nvPr>
            <p:extLst>
              <p:ext uri="{D42A27DB-BD31-4B8C-83A1-F6EECF244321}">
                <p14:modId xmlns:p14="http://schemas.microsoft.com/office/powerpoint/2010/main" val="2013739528"/>
              </p:ext>
            </p:extLst>
          </p:nvPr>
        </p:nvGraphicFramePr>
        <p:xfrm>
          <a:off x="395536" y="4345447"/>
          <a:ext cx="3887788" cy="2055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4 CuadroTexto"/>
          <p:cNvSpPr txBox="1">
            <a:spLocks noChangeArrowheads="1"/>
          </p:cNvSpPr>
          <p:nvPr/>
        </p:nvSpPr>
        <p:spPr bwMode="auto">
          <a:xfrm>
            <a:off x="407039" y="4005064"/>
            <a:ext cx="37147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sz="1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Ratios de Solvencia - BIS </a:t>
            </a:r>
            <a:endParaRPr lang="es-ES" sz="1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0" name="27 Imagen" descr="uruguay.png"/>
          <p:cNvPicPr preferRelativeResize="0"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271064" y="6309320"/>
            <a:ext cx="274320" cy="182880"/>
          </a:xfrm>
          <a:prstGeom prst="rect">
            <a:avLst/>
          </a:prstGeom>
        </p:spPr>
      </p:pic>
      <p:pic>
        <p:nvPicPr>
          <p:cNvPr id="21" name="28 Imagen" descr="argentina.png"/>
          <p:cNvPicPr preferRelativeResize="0"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703387" y="6309320"/>
            <a:ext cx="274320" cy="182880"/>
          </a:xfrm>
          <a:prstGeom prst="rect">
            <a:avLst/>
          </a:prstGeom>
        </p:spPr>
      </p:pic>
      <p:pic>
        <p:nvPicPr>
          <p:cNvPr id="22" name="29 Imagen" descr="brasil.png"/>
          <p:cNvPicPr preferRelativeResize="0"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180828" y="6309320"/>
            <a:ext cx="274320" cy="182880"/>
          </a:xfrm>
          <a:prstGeom prst="rect">
            <a:avLst/>
          </a:prstGeom>
        </p:spPr>
      </p:pic>
      <p:pic>
        <p:nvPicPr>
          <p:cNvPr id="23" name="30 Imagen" descr="chile.png"/>
          <p:cNvPicPr preferRelativeResize="0"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793624" y="6309320"/>
            <a:ext cx="274320" cy="182880"/>
          </a:xfrm>
          <a:prstGeom prst="rect">
            <a:avLst/>
          </a:prstGeom>
        </p:spPr>
      </p:pic>
      <p:pic>
        <p:nvPicPr>
          <p:cNvPr id="24" name="31 Imagen" descr="colombia.png"/>
          <p:cNvPicPr preferRelativeResize="0">
            <a:picLocks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225946" y="6309320"/>
            <a:ext cx="274320" cy="182880"/>
          </a:xfrm>
          <a:prstGeom prst="rect">
            <a:avLst/>
          </a:prstGeom>
        </p:spPr>
      </p:pic>
      <p:pic>
        <p:nvPicPr>
          <p:cNvPr id="25" name="32 Imagen" descr="Paraguay.png"/>
          <p:cNvPicPr preferRelativeResize="0"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58269" y="6309320"/>
            <a:ext cx="274320" cy="182880"/>
          </a:xfrm>
          <a:prstGeom prst="rect">
            <a:avLst/>
          </a:prstGeom>
        </p:spPr>
      </p:pic>
      <p:pic>
        <p:nvPicPr>
          <p:cNvPr id="26" name="39 Imagen" descr="perú.jpg"/>
          <p:cNvPicPr preferRelativeResize="0"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748505" y="6309320"/>
            <a:ext cx="274320" cy="182880"/>
          </a:xfrm>
          <a:prstGeom prst="rect">
            <a:avLst/>
          </a:prstGeom>
        </p:spPr>
      </p:pic>
      <p:sp>
        <p:nvSpPr>
          <p:cNvPr id="27" name="5 CuadroTexto"/>
          <p:cNvSpPr txBox="1"/>
          <p:nvPr/>
        </p:nvSpPr>
        <p:spPr>
          <a:xfrm>
            <a:off x="2942941" y="4267200"/>
            <a:ext cx="1197011" cy="257177"/>
          </a:xfrm>
          <a:prstGeom prst="rect">
            <a:avLst/>
          </a:prstGeom>
          <a:solidFill>
            <a:sysClr val="window" lastClr="FFFFFF"/>
          </a:solidFill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err="1">
                <a:solidFill>
                  <a:srgbClr val="006600"/>
                </a:solidFill>
              </a:rPr>
              <a:t>P</a:t>
            </a:r>
            <a:r>
              <a:rPr lang="en-US" sz="1000" b="1" dirty="0" err="1" smtClean="0">
                <a:solidFill>
                  <a:srgbClr val="006600"/>
                </a:solidFill>
              </a:rPr>
              <a:t>romedio</a:t>
            </a:r>
            <a:r>
              <a:rPr lang="en-US" sz="1000" b="1" dirty="0" smtClean="0">
                <a:solidFill>
                  <a:srgbClr val="006600"/>
                </a:solidFill>
              </a:rPr>
              <a:t>: 16%</a:t>
            </a:r>
            <a:endParaRPr lang="en-US" sz="1000" b="1" dirty="0">
              <a:solidFill>
                <a:srgbClr val="006600"/>
              </a:solidFill>
            </a:endParaRPr>
          </a:p>
        </p:txBody>
      </p:sp>
      <p:sp>
        <p:nvSpPr>
          <p:cNvPr id="28" name="Text Box 3"/>
          <p:cNvSpPr txBox="1">
            <a:spLocks noChangeArrowheads="1"/>
          </p:cNvSpPr>
          <p:nvPr/>
        </p:nvSpPr>
        <p:spPr bwMode="auto">
          <a:xfrm>
            <a:off x="395536" y="1196752"/>
            <a:ext cx="431971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PY" sz="1400" b="1" kern="0" dirty="0">
                <a:solidFill>
                  <a:srgbClr val="002060"/>
                </a:solidFill>
                <a:latin typeface="+mj-lt"/>
              </a:rPr>
              <a:t>Préstamos y Depósitos </a:t>
            </a:r>
            <a:r>
              <a:rPr lang="es-PY" sz="1400" b="1" kern="0" dirty="0" smtClean="0">
                <a:solidFill>
                  <a:srgbClr val="002060"/>
                </a:solidFill>
                <a:latin typeface="+mj-lt"/>
              </a:rPr>
              <a:t>de Bancos en % </a:t>
            </a:r>
            <a:r>
              <a:rPr lang="es-PY" sz="1400" b="1" kern="0" dirty="0">
                <a:solidFill>
                  <a:srgbClr val="002060"/>
                </a:solidFill>
                <a:latin typeface="+mj-lt"/>
              </a:rPr>
              <a:t>del </a:t>
            </a:r>
            <a:r>
              <a:rPr lang="es-PY" sz="1400" b="1" kern="0" dirty="0" smtClean="0">
                <a:solidFill>
                  <a:srgbClr val="002060"/>
                </a:solidFill>
                <a:latin typeface="+mj-lt"/>
              </a:rPr>
              <a:t>PIB</a:t>
            </a:r>
            <a:endParaRPr lang="es-ES" sz="1400" b="1" kern="0" dirty="0">
              <a:solidFill>
                <a:srgbClr val="002060"/>
              </a:solidFill>
              <a:latin typeface="+mj-lt"/>
            </a:endParaRPr>
          </a:p>
        </p:txBody>
      </p:sp>
      <p:graphicFrame>
        <p:nvGraphicFramePr>
          <p:cNvPr id="30" name="29 Gráfico"/>
          <p:cNvGraphicFramePr/>
          <p:nvPr>
            <p:extLst>
              <p:ext uri="{D42A27DB-BD31-4B8C-83A1-F6EECF244321}">
                <p14:modId xmlns:p14="http://schemas.microsoft.com/office/powerpoint/2010/main" val="361842724"/>
              </p:ext>
            </p:extLst>
          </p:nvPr>
        </p:nvGraphicFramePr>
        <p:xfrm>
          <a:off x="107505" y="1504528"/>
          <a:ext cx="4320479" cy="235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122304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28600" y="457200"/>
            <a:ext cx="7686675" cy="565150"/>
          </a:xfrm>
        </p:spPr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s-PY" sz="2300" dirty="0">
                <a:solidFill>
                  <a:schemeClr val="accent3"/>
                </a:solidFill>
                <a:ea typeface="+mn-ea"/>
              </a:rPr>
              <a:t>La </a:t>
            </a:r>
            <a:r>
              <a:rPr kumimoji="0" lang="es-PY" sz="2300" dirty="0" smtClean="0">
                <a:solidFill>
                  <a:schemeClr val="accent3"/>
                </a:solidFill>
                <a:ea typeface="+mn-ea"/>
              </a:rPr>
              <a:t>Disminución </a:t>
            </a:r>
            <a:r>
              <a:rPr kumimoji="0" lang="es-PY" sz="2300" dirty="0">
                <a:solidFill>
                  <a:schemeClr val="accent3"/>
                </a:solidFill>
                <a:ea typeface="+mn-ea"/>
              </a:rPr>
              <a:t>de la </a:t>
            </a:r>
            <a:r>
              <a:rPr kumimoji="0" lang="es-PY" sz="2300" dirty="0" smtClean="0">
                <a:solidFill>
                  <a:schemeClr val="accent3"/>
                </a:solidFill>
                <a:ea typeface="+mn-ea"/>
              </a:rPr>
              <a:t>Pobreza </a:t>
            </a:r>
            <a:r>
              <a:rPr kumimoji="0" lang="es-PY" sz="2300" dirty="0">
                <a:solidFill>
                  <a:schemeClr val="accent3"/>
                </a:solidFill>
                <a:ea typeface="+mn-ea"/>
              </a:rPr>
              <a:t>y </a:t>
            </a:r>
            <a:r>
              <a:rPr kumimoji="0" lang="es-PY" sz="2300" dirty="0" smtClean="0">
                <a:solidFill>
                  <a:schemeClr val="accent3"/>
                </a:solidFill>
                <a:ea typeface="+mn-ea"/>
              </a:rPr>
              <a:t>Tasas </a:t>
            </a:r>
            <a:r>
              <a:rPr kumimoji="0" lang="es-PY" sz="2300" dirty="0">
                <a:solidFill>
                  <a:schemeClr val="accent3"/>
                </a:solidFill>
                <a:ea typeface="+mn-ea"/>
              </a:rPr>
              <a:t>de D</a:t>
            </a:r>
            <a:r>
              <a:rPr kumimoji="0" lang="es-PY" sz="2300" dirty="0" smtClean="0">
                <a:solidFill>
                  <a:schemeClr val="accent3"/>
                </a:solidFill>
                <a:ea typeface="+mn-ea"/>
              </a:rPr>
              <a:t>esempleo</a:t>
            </a:r>
            <a:endParaRPr kumimoji="0" lang="en-GB" sz="2300" dirty="0">
              <a:solidFill>
                <a:schemeClr val="accent3"/>
              </a:solidFill>
              <a:ea typeface="+mn-ea"/>
            </a:endParaRP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539750" y="1046163"/>
            <a:ext cx="8135938" cy="938719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marL="180975" indent="-180975" fontAlgn="auto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Paraguay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ha estado en una trayectoria de alto crecimiento en la última década, lo que </a:t>
            </a:r>
            <a:r>
              <a:rPr kumimoji="0" lang="es-PY" sz="1200" kern="0" dirty="0" err="1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dió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lugar a la creación de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empleos y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permitió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que una parte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significativa de la población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mejore su condición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de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vida.</a:t>
            </a:r>
            <a:endParaRPr kumimoji="0" lang="en-US" sz="1200" kern="0" dirty="0">
              <a:solidFill>
                <a:sysClr val="windowText" lastClr="000000"/>
              </a:solidFill>
              <a:latin typeface="Arial"/>
              <a:cs typeface="Arial" pitchFamily="34" charset="0"/>
            </a:endParaRPr>
          </a:p>
          <a:p>
            <a:pPr marL="180975" indent="-180975" fontAlgn="auto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Paraguay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está dando pasos importantes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hacia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sus objetivos, asignando gradualmente más recursos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al área de inversión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social,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a los </a:t>
            </a:r>
            <a:r>
              <a:rPr kumimoji="0" lang="es-PY" sz="1200" kern="0" dirty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programas de promoción y </a:t>
            </a:r>
            <a:r>
              <a:rPr kumimoji="0" lang="es-PY" sz="1200" kern="0" dirty="0" smtClean="0">
                <a:solidFill>
                  <a:sysClr val="windowText" lastClr="000000"/>
                </a:solidFill>
                <a:latin typeface="Arial"/>
                <a:cs typeface="Arial" pitchFamily="34" charset="0"/>
              </a:rPr>
              <a:t>a la protección social.</a:t>
            </a:r>
            <a:endParaRPr kumimoji="0" lang="en-GB" sz="1200" kern="0" dirty="0">
              <a:solidFill>
                <a:sysClr val="windowText" lastClr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0725" name="AutoShape 5"/>
          <p:cNvSpPr>
            <a:spLocks noChangeArrowheads="1"/>
          </p:cNvSpPr>
          <p:nvPr/>
        </p:nvSpPr>
        <p:spPr bwMode="auto">
          <a:xfrm>
            <a:off x="4794250" y="2016125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>
                <a:solidFill>
                  <a:srgbClr val="FFFFFF"/>
                </a:solidFill>
                <a:latin typeface="Arial"/>
                <a:cs typeface="Arial" pitchFamily="34" charset="0"/>
              </a:rPr>
              <a:t>T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as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r>
              <a:rPr lang="en-GB" sz="12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Pobrez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Nacional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en-GB" sz="1200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0726" name="AutoShape 6"/>
          <p:cNvSpPr>
            <a:spLocks noChangeArrowheads="1"/>
          </p:cNvSpPr>
          <p:nvPr/>
        </p:nvSpPr>
        <p:spPr bwMode="auto">
          <a:xfrm>
            <a:off x="466725" y="2016125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Evolución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l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Crecimiento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l PIB </a:t>
            </a:r>
            <a:r>
              <a:rPr lang="en-GB" sz="12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Per 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Capita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3" name="1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9723108"/>
              </p:ext>
            </p:extLst>
          </p:nvPr>
        </p:nvGraphicFramePr>
        <p:xfrm>
          <a:off x="4729163" y="2374900"/>
          <a:ext cx="4075112" cy="176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2103" name="10 Rectángulo"/>
          <p:cNvSpPr>
            <a:spLocks noChangeArrowheads="1"/>
          </p:cNvSpPr>
          <p:nvPr/>
        </p:nvSpPr>
        <p:spPr bwMode="auto">
          <a:xfrm>
            <a:off x="179388" y="6586875"/>
            <a:ext cx="1991251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latinLnBrk="1" hangingPunct="0"/>
            <a:r>
              <a:rPr lang="es-PY" sz="1000" i="1" baseline="30000" dirty="0" smtClean="0"/>
              <a:t>Fuente</a:t>
            </a:r>
            <a:r>
              <a:rPr lang="es-PY" sz="1000" i="1" baseline="30000" dirty="0"/>
              <a:t>: Banco Central del Paraguay</a:t>
            </a:r>
            <a:endParaRPr lang="en-US" sz="1000" i="1" baseline="30000" dirty="0"/>
          </a:p>
          <a:p>
            <a:pPr eaLnBrk="0" latinLnBrk="1" hangingPunct="0"/>
            <a:endParaRPr lang="en-US" sz="1000" i="1" baseline="30000" dirty="0">
              <a:solidFill>
                <a:srgbClr val="000000"/>
              </a:solidFill>
            </a:endParaRPr>
          </a:p>
        </p:txBody>
      </p:sp>
      <p:graphicFrame>
        <p:nvGraphicFramePr>
          <p:cNvPr id="2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4242577"/>
              </p:ext>
            </p:extLst>
          </p:nvPr>
        </p:nvGraphicFramePr>
        <p:xfrm>
          <a:off x="293688" y="2506663"/>
          <a:ext cx="4075112" cy="1624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4730750" y="4248150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Tas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variación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los </a:t>
            </a:r>
            <a:r>
              <a:rPr lang="en-GB" sz="1200" b="1" dirty="0" err="1">
                <a:solidFill>
                  <a:srgbClr val="FFFFFF"/>
                </a:solidFill>
                <a:latin typeface="Arial"/>
                <a:cs typeface="Arial" pitchFamily="34" charset="0"/>
              </a:rPr>
              <a:t>S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alarios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403225" y="424815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Tasa</a:t>
            </a:r>
            <a:r>
              <a:rPr lang="en-GB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 de </a:t>
            </a:r>
            <a:r>
              <a:rPr lang="en-GB" sz="1200" b="1" dirty="0" err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Desempleo</a:t>
            </a:r>
            <a:endParaRPr lang="en-GB" sz="1200" b="1" i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5" name="1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059984"/>
              </p:ext>
            </p:extLst>
          </p:nvPr>
        </p:nvGraphicFramePr>
        <p:xfrm>
          <a:off x="4665663" y="4721225"/>
          <a:ext cx="4075112" cy="165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7027749"/>
              </p:ext>
            </p:extLst>
          </p:nvPr>
        </p:nvGraphicFramePr>
        <p:xfrm>
          <a:off x="230188" y="4737100"/>
          <a:ext cx="4075112" cy="162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0160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5 Rectángulo"/>
          <p:cNvSpPr/>
          <p:nvPr/>
        </p:nvSpPr>
        <p:spPr>
          <a:xfrm>
            <a:off x="457200" y="1219200"/>
            <a:ext cx="8458200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Adherencia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al FSAP (FMI) </a:t>
            </a:r>
          </a:p>
          <a:p>
            <a:pPr marL="285750" lvl="1" indent="-2270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Fortalecimiento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de la </a:t>
            </a:r>
            <a:r>
              <a:rPr kumimoji="0" lang="en-US" sz="2800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uperintendencia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de </a:t>
            </a:r>
            <a:r>
              <a:rPr kumimoji="0" lang="en-US" sz="2800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B</a:t>
            </a: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ancos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endParaRPr kumimoji="0" lang="en-US" sz="2800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Supervisión</a:t>
            </a:r>
            <a:r>
              <a:rPr kumimoji="0" lang="en-US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Basada</a:t>
            </a:r>
            <a:r>
              <a:rPr kumimoji="0" lang="en-US" kern="0" dirty="0">
                <a:solidFill>
                  <a:sysClr val="windowText" lastClr="000000"/>
                </a:solidFill>
                <a:latin typeface="Arial"/>
                <a:cs typeface="Arial"/>
              </a:rPr>
              <a:t> en </a:t>
            </a: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Riesgo</a:t>
            </a:r>
            <a:endParaRPr kumimoji="0" lang="en-US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Gobierno</a:t>
            </a:r>
            <a:r>
              <a:rPr kumimoji="0" lang="en-US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Corporativo</a:t>
            </a:r>
            <a:endParaRPr kumimoji="0" lang="en-US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42950" lvl="2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Lucha</a:t>
            </a:r>
            <a:r>
              <a:rPr kumimoji="0" lang="en-US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contra el </a:t>
            </a: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Lavado</a:t>
            </a:r>
            <a:r>
              <a:rPr kumimoji="0" lang="en-US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de </a:t>
            </a:r>
            <a:r>
              <a:rPr kumimoji="0" lang="en-US" kern="0" dirty="0" err="1">
                <a:solidFill>
                  <a:sysClr val="windowText" lastClr="000000"/>
                </a:solidFill>
                <a:latin typeface="Arial"/>
                <a:cs typeface="Arial"/>
              </a:rPr>
              <a:t>D</a:t>
            </a:r>
            <a:r>
              <a:rPr kumimoji="0" lang="en-US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inero</a:t>
            </a:r>
            <a:endParaRPr kumimoji="0" lang="en-US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s-PY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Ratios </a:t>
            </a:r>
            <a:r>
              <a:rPr kumimoji="0" lang="es-PY" sz="2800" kern="0" dirty="0">
                <a:solidFill>
                  <a:sysClr val="windowText" lastClr="000000"/>
                </a:solidFill>
                <a:latin typeface="Arial"/>
                <a:cs typeface="Arial"/>
              </a:rPr>
              <a:t>de </a:t>
            </a:r>
            <a:r>
              <a:rPr kumimoji="0" lang="es-PY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Solvencia </a:t>
            </a:r>
            <a:r>
              <a:rPr kumimoji="0" lang="es-PY" sz="2800" kern="0" dirty="0">
                <a:solidFill>
                  <a:sysClr val="windowText" lastClr="000000"/>
                </a:solidFill>
                <a:latin typeface="Arial"/>
                <a:cs typeface="Arial"/>
              </a:rPr>
              <a:t>más E</a:t>
            </a:r>
            <a:r>
              <a:rPr kumimoji="0" lang="es-PY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strictos </a:t>
            </a:r>
            <a:r>
              <a:rPr kumimoji="0" lang="es-PY" sz="2800" kern="0" dirty="0">
                <a:solidFill>
                  <a:sysClr val="windowText" lastClr="000000"/>
                </a:solidFill>
                <a:latin typeface="Arial"/>
                <a:cs typeface="Arial"/>
              </a:rPr>
              <a:t>que Basilea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</a:p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Inclusión</a:t>
            </a:r>
            <a:r>
              <a:rPr kumimoji="0" lang="en-US" sz="280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umimoji="0" lang="en-US" sz="2800" kern="0" dirty="0" err="1" smtClean="0">
                <a:solidFill>
                  <a:sysClr val="windowText" lastClr="000000"/>
                </a:solidFill>
                <a:latin typeface="Arial"/>
                <a:cs typeface="Arial"/>
              </a:rPr>
              <a:t>Financiera</a:t>
            </a:r>
            <a:endParaRPr kumimoji="0" lang="en-US" sz="2800" kern="0" dirty="0" smtClea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1" indent="-22701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endParaRPr kumimoji="0" lang="en-US" sz="280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425450"/>
            <a:ext cx="7199313" cy="565150"/>
          </a:xfr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Pasos</a:t>
            </a:r>
            <a:r>
              <a:rPr kumimoji="0" lang="en-US" sz="20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para</a:t>
            </a:r>
            <a:r>
              <a:rPr kumimoji="0" lang="en-US" sz="20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r>
              <a:rPr kumimoji="0" lang="en-US" sz="2000" dirty="0" err="1">
                <a:solidFill>
                  <a:schemeClr val="accent3"/>
                </a:solidFill>
                <a:ea typeface="+mn-ea"/>
                <a:cs typeface="Arial" pitchFamily="34" charset="0"/>
              </a:rPr>
              <a:t>S</a:t>
            </a: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eguir</a:t>
            </a:r>
            <a:r>
              <a:rPr kumimoji="0" lang="en-US" sz="20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para</a:t>
            </a:r>
            <a:r>
              <a:rPr kumimoji="0" lang="en-US" sz="20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Fortalecer</a:t>
            </a:r>
            <a:r>
              <a:rPr kumimoji="0" lang="en-US" sz="20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el </a:t>
            </a: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Sistema</a:t>
            </a:r>
            <a:r>
              <a:rPr kumimoji="0" lang="en-US" sz="2000" dirty="0" smtClean="0">
                <a:solidFill>
                  <a:schemeClr val="accent3"/>
                </a:solidFill>
                <a:ea typeface="+mn-ea"/>
                <a:cs typeface="Arial" pitchFamily="34" charset="0"/>
              </a:rPr>
              <a:t> </a:t>
            </a:r>
            <a:r>
              <a:rPr kumimoji="0" lang="en-US" sz="2000" dirty="0" err="1" smtClean="0">
                <a:solidFill>
                  <a:schemeClr val="accent3"/>
                </a:solidFill>
                <a:ea typeface="+mn-ea"/>
                <a:cs typeface="Arial" pitchFamily="34" charset="0"/>
              </a:rPr>
              <a:t>Bancario</a:t>
            </a:r>
            <a:endParaRPr kumimoji="0" lang="en-US" sz="2000" dirty="0">
              <a:solidFill>
                <a:schemeClr val="accent3"/>
              </a:solidFill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272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590800" y="1905000"/>
            <a:ext cx="5715000" cy="28194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err="1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Eladio</a:t>
            </a: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 </a:t>
            </a:r>
            <a:r>
              <a:rPr kumimoji="0" lang="en-GB" sz="2800" b="1" dirty="0" err="1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Loizaga</a:t>
            </a:r>
            <a:endParaRPr kumimoji="0" lang="en-GB" sz="2800" b="1" dirty="0" smtClean="0">
              <a:solidFill>
                <a:schemeClr val="accent3"/>
              </a:solidFill>
              <a:latin typeface="+mj-lt"/>
              <a:cs typeface="Arial" pitchFamily="34" charset="0"/>
            </a:endParaRP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Ministro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de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Relaciones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Exteriores</a:t>
            </a:r>
            <a:endParaRPr lang="en-US" sz="2000" i="1" dirty="0" smtClean="0">
              <a:solidFill>
                <a:srgbClr val="FFFFFF"/>
              </a:solidFill>
              <a:latin typeface="Arial"/>
              <a:cs typeface="Times New Roman" pitchFamily="18" charset="0"/>
            </a:endParaRPr>
          </a:p>
        </p:txBody>
      </p:sp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1400" y="2419350"/>
            <a:ext cx="14351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75169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lítica</a:t>
            </a:r>
            <a:r>
              <a:rPr lang="en-US" dirty="0" smtClean="0"/>
              <a:t> Exterior y </a:t>
            </a:r>
            <a:r>
              <a:rPr lang="en-US" dirty="0" err="1" smtClean="0"/>
              <a:t>Comercial</a:t>
            </a:r>
            <a:endParaRPr lang="es-PY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</p:spPr>
        <p:txBody>
          <a:bodyPr/>
          <a:lstStyle/>
          <a:p>
            <a:r>
              <a:rPr lang="es-PY" dirty="0" smtClean="0"/>
              <a:t>MERCOSUR: </a:t>
            </a:r>
            <a:r>
              <a:rPr lang="es-PY" dirty="0"/>
              <a:t>zona de libre comercio </a:t>
            </a:r>
            <a:endParaRPr lang="es-PY" dirty="0" smtClean="0"/>
          </a:p>
          <a:p>
            <a:r>
              <a:rPr lang="en-US" dirty="0" smtClean="0"/>
              <a:t>El </a:t>
            </a:r>
            <a:r>
              <a:rPr lang="en-US" dirty="0" err="1" smtClean="0"/>
              <a:t>Comercio</a:t>
            </a:r>
            <a:r>
              <a:rPr lang="en-US" dirty="0" smtClean="0"/>
              <a:t> Regional </a:t>
            </a:r>
            <a:r>
              <a:rPr lang="en-US" dirty="0" err="1" smtClean="0"/>
              <a:t>siguió</a:t>
            </a:r>
            <a:r>
              <a:rPr lang="en-US" dirty="0" smtClean="0"/>
              <a:t> </a:t>
            </a:r>
            <a:r>
              <a:rPr lang="en-US" dirty="0" err="1" smtClean="0"/>
              <a:t>creciendo</a:t>
            </a:r>
            <a:endParaRPr lang="en-US" dirty="0" smtClean="0"/>
          </a:p>
          <a:p>
            <a:r>
              <a:rPr lang="en-US" dirty="0" err="1" smtClean="0"/>
              <a:t>Representan</a:t>
            </a:r>
            <a:r>
              <a:rPr lang="en-US" dirty="0" smtClean="0"/>
              <a:t> </a:t>
            </a:r>
            <a:r>
              <a:rPr lang="en-US" dirty="0" err="1" smtClean="0"/>
              <a:t>casi</a:t>
            </a:r>
            <a:r>
              <a:rPr lang="en-US" dirty="0" smtClean="0"/>
              <a:t> el 60% del </a:t>
            </a:r>
            <a:r>
              <a:rPr lang="en-US" dirty="0" err="1" smtClean="0"/>
              <a:t>comercio</a:t>
            </a:r>
            <a:r>
              <a:rPr lang="en-US" dirty="0" smtClean="0"/>
              <a:t> exterior del Paraguay</a:t>
            </a:r>
            <a:endParaRPr lang="es-PY" dirty="0" smtClean="0"/>
          </a:p>
          <a:p>
            <a:r>
              <a:rPr lang="es-PY" dirty="0" smtClean="0"/>
              <a:t>ALADI: Chile</a:t>
            </a:r>
            <a:r>
              <a:rPr lang="es-PY" dirty="0"/>
              <a:t>, Bolivia, Perú, Colombia, Ecuador y Venezuela </a:t>
            </a:r>
            <a:endParaRPr lang="es-PY" dirty="0" smtClean="0"/>
          </a:p>
          <a:p>
            <a:pPr lvl="1"/>
            <a:r>
              <a:rPr lang="es-PY" dirty="0" smtClean="0"/>
              <a:t>Para </a:t>
            </a:r>
            <a:r>
              <a:rPr lang="es-PY" dirty="0"/>
              <a:t>el año 2019 tendremos conformado una zona libre de </a:t>
            </a:r>
            <a:r>
              <a:rPr lang="es-PY" dirty="0" smtClean="0"/>
              <a:t>aranceles</a:t>
            </a:r>
          </a:p>
          <a:p>
            <a:pPr lvl="1"/>
            <a:r>
              <a:rPr lang="es-PY" dirty="0"/>
              <a:t>El primer país con quien tendremos constituida una zona de libre comercio bajo este esquema será Chile,  que entrará a regir el 1 de enero del </a:t>
            </a:r>
            <a:r>
              <a:rPr lang="es-PY" dirty="0" smtClean="0"/>
              <a:t>2014.</a:t>
            </a:r>
          </a:p>
          <a:p>
            <a:r>
              <a:rPr lang="es-PY" dirty="0"/>
              <a:t>P</a:t>
            </a:r>
            <a:r>
              <a:rPr lang="es-PY" dirty="0" smtClean="0"/>
              <a:t>referencias </a:t>
            </a:r>
            <a:r>
              <a:rPr lang="es-PY" dirty="0"/>
              <a:t>arancelarias con otros países del </a:t>
            </a:r>
            <a:r>
              <a:rPr lang="es-PY" dirty="0" smtClean="0"/>
              <a:t>continente</a:t>
            </a:r>
          </a:p>
          <a:p>
            <a:pPr lvl="1"/>
            <a:r>
              <a:rPr lang="es-PY" dirty="0"/>
              <a:t>México si bien se tiene un acuerdo de Alcance Parcial </a:t>
            </a:r>
            <a:r>
              <a:rPr lang="es-PY" dirty="0" smtClean="0"/>
              <a:t>vigente</a:t>
            </a:r>
          </a:p>
          <a:p>
            <a:pPr lvl="1"/>
            <a:r>
              <a:rPr lang="es-PY" dirty="0"/>
              <a:t>E</a:t>
            </a:r>
            <a:r>
              <a:rPr lang="es-PY" dirty="0" smtClean="0"/>
              <a:t>n </a:t>
            </a:r>
            <a:r>
              <a:rPr lang="es-PY" dirty="0"/>
              <a:t>negociación un Acuerdo de Complementación Económica </a:t>
            </a:r>
            <a:endParaRPr lang="es-PY" dirty="0" smtClean="0"/>
          </a:p>
          <a:p>
            <a:r>
              <a:rPr lang="es-PY" dirty="0"/>
              <a:t>A nivel </a:t>
            </a:r>
            <a:r>
              <a:rPr lang="es-PY" dirty="0" err="1"/>
              <a:t>extraregional</a:t>
            </a:r>
            <a:r>
              <a:rPr lang="es-PY" dirty="0"/>
              <a:t> se tienen suscriptos acuerdos, en el marco del Mercosur,  con Israel, India, la Unión Aduanera Sudafricana , con Egipto y </a:t>
            </a:r>
            <a:r>
              <a:rPr lang="es-PY" dirty="0" smtClean="0"/>
              <a:t>Palestina.</a:t>
            </a:r>
          </a:p>
          <a:p>
            <a:r>
              <a:rPr lang="en-US" dirty="0" smtClean="0"/>
              <a:t>Mirada </a:t>
            </a:r>
            <a:r>
              <a:rPr lang="en-US" dirty="0" err="1" smtClean="0"/>
              <a:t>hacia</a:t>
            </a:r>
            <a:r>
              <a:rPr lang="en-US" dirty="0" smtClean="0"/>
              <a:t> </a:t>
            </a:r>
            <a:r>
              <a:rPr lang="en-US" dirty="0" err="1" smtClean="0"/>
              <a:t>Alianza</a:t>
            </a:r>
            <a:r>
              <a:rPr lang="en-US" dirty="0" smtClean="0"/>
              <a:t> del </a:t>
            </a:r>
            <a:r>
              <a:rPr lang="en-US" dirty="0" err="1" smtClean="0"/>
              <a:t>Pacífico</a:t>
            </a:r>
            <a:endParaRPr lang="es-PY" dirty="0" smtClean="0"/>
          </a:p>
          <a:p>
            <a:r>
              <a:rPr lang="es-PY" dirty="0"/>
              <a:t>Acuerdo entre el Mercosur y la Unión Europea</a:t>
            </a:r>
          </a:p>
        </p:txBody>
      </p:sp>
    </p:spTree>
    <p:extLst>
      <p:ext uri="{BB962C8B-B14F-4D97-AF65-F5344CB8AC3E}">
        <p14:creationId xmlns:p14="http://schemas.microsoft.com/office/powerpoint/2010/main" val="367921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lítica</a:t>
            </a:r>
            <a:r>
              <a:rPr lang="en-US" dirty="0" smtClean="0"/>
              <a:t> Exterior y </a:t>
            </a:r>
            <a:r>
              <a:rPr lang="en-US" dirty="0" err="1" smtClean="0"/>
              <a:t>Comercial</a:t>
            </a:r>
            <a:endParaRPr lang="es-PY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Y" dirty="0"/>
              <a:t>Sistema Generalizado de Preferencias Comerciales (SGP</a:t>
            </a:r>
            <a:r>
              <a:rPr lang="es-PY" dirty="0" smtClean="0"/>
              <a:t>)</a:t>
            </a:r>
          </a:p>
          <a:p>
            <a:pPr lvl="1"/>
            <a:r>
              <a:rPr lang="es-PY" dirty="0"/>
              <a:t>Unión Europea y de los Estados Unidos, este último estuvo vigente hasta el 31 de julio de 2013 y se aguarda la renovación por parte del Congreso norteamericano</a:t>
            </a:r>
            <a:r>
              <a:rPr lang="es-PY" dirty="0" smtClean="0"/>
              <a:t>.</a:t>
            </a:r>
          </a:p>
          <a:p>
            <a:pPr lvl="1"/>
            <a:r>
              <a:rPr lang="es-PY" dirty="0"/>
              <a:t>A</a:t>
            </a:r>
            <a:r>
              <a:rPr lang="es-PY" dirty="0" smtClean="0"/>
              <a:t>cceso </a:t>
            </a:r>
            <a:r>
              <a:rPr lang="es-PY" dirty="0"/>
              <a:t>libre de aranceles en más de 6.000 productos de todo el universo arancelario de los 28 países que conforman la </a:t>
            </a:r>
            <a:r>
              <a:rPr lang="es-PY" dirty="0" smtClean="0"/>
              <a:t>UE</a:t>
            </a:r>
          </a:p>
          <a:p>
            <a:r>
              <a:rPr lang="es-PY" dirty="0"/>
              <a:t>Sistema Global de Preferencias Comerciales es un esquema de negociación establecido al amparo de la Conferencia de las Naciones Unidas sobre Comercio y Desarrollo (UNCTAD</a:t>
            </a:r>
            <a:r>
              <a:rPr lang="es-PY" dirty="0" smtClean="0"/>
              <a:t>)</a:t>
            </a:r>
          </a:p>
          <a:p>
            <a:r>
              <a:rPr lang="es-PY" dirty="0"/>
              <a:t>Organización Mundial del Comercio del cual el Paraguay es miembro </a:t>
            </a:r>
            <a:r>
              <a:rPr lang="es-PY" dirty="0" smtClean="0"/>
              <a:t>fundador.</a:t>
            </a:r>
            <a:endParaRPr lang="es-PY" dirty="0"/>
          </a:p>
        </p:txBody>
      </p:sp>
    </p:spTree>
    <p:extLst>
      <p:ext uri="{BB962C8B-B14F-4D97-AF65-F5344CB8AC3E}">
        <p14:creationId xmlns:p14="http://schemas.microsoft.com/office/powerpoint/2010/main" val="3882636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590800" y="1905000"/>
            <a:ext cx="5715000" cy="28194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Ramón Jiménez Gaona</a:t>
            </a: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Ministro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de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Obras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Públicas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y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Comunicaciones</a:t>
            </a:r>
            <a:endParaRPr lang="en-US" sz="2000" i="1" dirty="0" smtClean="0">
              <a:solidFill>
                <a:srgbClr val="FFFFFF"/>
              </a:solidFill>
              <a:latin typeface="Arial"/>
              <a:cs typeface="Times New Roman" pitchFamily="18" charset="0"/>
            </a:endParaRPr>
          </a:p>
        </p:txBody>
      </p:sp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1400" y="2419350"/>
            <a:ext cx="14351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056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590800" y="1905000"/>
            <a:ext cx="5715000" cy="28194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err="1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Germán</a:t>
            </a: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 Rojas </a:t>
            </a: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Ministro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de Hacienda</a:t>
            </a:r>
          </a:p>
        </p:txBody>
      </p:sp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1400" y="2419350"/>
            <a:ext cx="14351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750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626" name="Freeform 2"/>
          <p:cNvSpPr>
            <a:spLocks/>
          </p:cNvSpPr>
          <p:nvPr/>
        </p:nvSpPr>
        <p:spPr bwMode="auto">
          <a:xfrm>
            <a:off x="2924175" y="1774825"/>
            <a:ext cx="52388" cy="352425"/>
          </a:xfrm>
          <a:custGeom>
            <a:avLst/>
            <a:gdLst/>
            <a:ahLst/>
            <a:cxnLst>
              <a:cxn ang="0">
                <a:pos x="24" y="222"/>
              </a:cxn>
              <a:cxn ang="0">
                <a:pos x="12" y="168"/>
              </a:cxn>
              <a:cxn ang="0">
                <a:pos x="0" y="51"/>
              </a:cxn>
              <a:cxn ang="0">
                <a:pos x="24" y="27"/>
              </a:cxn>
              <a:cxn ang="0">
                <a:pos x="30" y="0"/>
              </a:cxn>
              <a:cxn ang="0">
                <a:pos x="25" y="20"/>
              </a:cxn>
            </a:cxnLst>
            <a:rect l="0" t="0" r="r" b="b"/>
            <a:pathLst>
              <a:path w="33" h="222">
                <a:moveTo>
                  <a:pt x="24" y="222"/>
                </a:moveTo>
                <a:cubicBezTo>
                  <a:pt x="22" y="196"/>
                  <a:pt x="25" y="187"/>
                  <a:pt x="12" y="168"/>
                </a:cubicBezTo>
                <a:cubicBezTo>
                  <a:pt x="2" y="130"/>
                  <a:pt x="6" y="90"/>
                  <a:pt x="0" y="51"/>
                </a:cubicBezTo>
                <a:cubicBezTo>
                  <a:pt x="5" y="31"/>
                  <a:pt x="1" y="31"/>
                  <a:pt x="24" y="27"/>
                </a:cubicBezTo>
                <a:cubicBezTo>
                  <a:pt x="33" y="13"/>
                  <a:pt x="30" y="22"/>
                  <a:pt x="30" y="0"/>
                </a:cubicBezTo>
                <a:lnTo>
                  <a:pt x="25" y="20"/>
                </a:lnTo>
              </a:path>
            </a:pathLst>
          </a:custGeom>
          <a:noFill/>
          <a:ln w="19050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pic>
        <p:nvPicPr>
          <p:cNvPr id="666627" name="Picture 3" descr="corredores_de_integracion copia"/>
          <p:cNvPicPr>
            <a:picLocks noChangeAspect="1" noChangeArrowheads="1"/>
          </p:cNvPicPr>
          <p:nvPr/>
        </p:nvPicPr>
        <p:blipFill>
          <a:blip r:embed="rId3" cstate="print"/>
          <a:srcRect l="3642" t="20064" r="8336" b="5353"/>
          <a:stretch>
            <a:fillRect/>
          </a:stretch>
        </p:blipFill>
        <p:spPr bwMode="auto">
          <a:xfrm>
            <a:off x="146050" y="1204913"/>
            <a:ext cx="8964613" cy="5368925"/>
          </a:xfrm>
          <a:prstGeom prst="rect">
            <a:avLst/>
          </a:prstGeom>
          <a:noFill/>
        </p:spPr>
      </p:pic>
      <p:sp>
        <p:nvSpPr>
          <p:cNvPr id="666628" name="Rectangle 4"/>
          <p:cNvSpPr>
            <a:spLocks noChangeArrowheads="1"/>
          </p:cNvSpPr>
          <p:nvPr/>
        </p:nvSpPr>
        <p:spPr bwMode="auto">
          <a:xfrm>
            <a:off x="8499475" y="4667250"/>
            <a:ext cx="611188" cy="1081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PY"/>
          </a:p>
        </p:txBody>
      </p:sp>
      <p:sp>
        <p:nvSpPr>
          <p:cNvPr id="666629" name="Freeform 5"/>
          <p:cNvSpPr>
            <a:spLocks/>
          </p:cNvSpPr>
          <p:nvPr/>
        </p:nvSpPr>
        <p:spPr bwMode="auto">
          <a:xfrm>
            <a:off x="3098800" y="1931988"/>
            <a:ext cx="2303463" cy="2259012"/>
          </a:xfrm>
          <a:custGeom>
            <a:avLst/>
            <a:gdLst/>
            <a:ahLst/>
            <a:cxnLst>
              <a:cxn ang="0">
                <a:pos x="54" y="534"/>
              </a:cxn>
              <a:cxn ang="0">
                <a:pos x="96" y="372"/>
              </a:cxn>
              <a:cxn ang="0">
                <a:pos x="174" y="138"/>
              </a:cxn>
              <a:cxn ang="0">
                <a:pos x="480" y="30"/>
              </a:cxn>
              <a:cxn ang="0">
                <a:pos x="594" y="6"/>
              </a:cxn>
              <a:cxn ang="0">
                <a:pos x="780" y="18"/>
              </a:cxn>
              <a:cxn ang="0">
                <a:pos x="894" y="60"/>
              </a:cxn>
              <a:cxn ang="0">
                <a:pos x="978" y="126"/>
              </a:cxn>
              <a:cxn ang="0">
                <a:pos x="1050" y="330"/>
              </a:cxn>
              <a:cxn ang="0">
                <a:pos x="1068" y="462"/>
              </a:cxn>
              <a:cxn ang="0">
                <a:pos x="1056" y="516"/>
              </a:cxn>
              <a:cxn ang="0">
                <a:pos x="1128" y="618"/>
              </a:cxn>
              <a:cxn ang="0">
                <a:pos x="1266" y="654"/>
              </a:cxn>
              <a:cxn ang="0">
                <a:pos x="1410" y="624"/>
              </a:cxn>
              <a:cxn ang="0">
                <a:pos x="1566" y="876"/>
              </a:cxn>
              <a:cxn ang="0">
                <a:pos x="1602" y="1008"/>
              </a:cxn>
              <a:cxn ang="0">
                <a:pos x="1872" y="1080"/>
              </a:cxn>
              <a:cxn ang="0">
                <a:pos x="1800" y="1272"/>
              </a:cxn>
              <a:cxn ang="0">
                <a:pos x="1770" y="1584"/>
              </a:cxn>
              <a:cxn ang="0">
                <a:pos x="1734" y="1638"/>
              </a:cxn>
              <a:cxn ang="0">
                <a:pos x="1626" y="1740"/>
              </a:cxn>
              <a:cxn ang="0">
                <a:pos x="1566" y="1800"/>
              </a:cxn>
              <a:cxn ang="0">
                <a:pos x="1314" y="1812"/>
              </a:cxn>
              <a:cxn ang="0">
                <a:pos x="1062" y="1764"/>
              </a:cxn>
              <a:cxn ang="0">
                <a:pos x="888" y="1752"/>
              </a:cxn>
              <a:cxn ang="0">
                <a:pos x="960" y="1650"/>
              </a:cxn>
              <a:cxn ang="0">
                <a:pos x="1026" y="1488"/>
              </a:cxn>
              <a:cxn ang="0">
                <a:pos x="1056" y="1458"/>
              </a:cxn>
              <a:cxn ang="0">
                <a:pos x="1140" y="1320"/>
              </a:cxn>
              <a:cxn ang="0">
                <a:pos x="882" y="1206"/>
              </a:cxn>
              <a:cxn ang="0">
                <a:pos x="708" y="1104"/>
              </a:cxn>
              <a:cxn ang="0">
                <a:pos x="582" y="1032"/>
              </a:cxn>
              <a:cxn ang="0">
                <a:pos x="432" y="1020"/>
              </a:cxn>
              <a:cxn ang="0">
                <a:pos x="252" y="876"/>
              </a:cxn>
              <a:cxn ang="0">
                <a:pos x="162" y="804"/>
              </a:cxn>
              <a:cxn ang="0">
                <a:pos x="36" y="690"/>
              </a:cxn>
            </a:cxnLst>
            <a:rect l="0" t="0" r="r" b="b"/>
            <a:pathLst>
              <a:path w="1873" h="1837">
                <a:moveTo>
                  <a:pt x="0" y="666"/>
                </a:moveTo>
                <a:cubicBezTo>
                  <a:pt x="12" y="617"/>
                  <a:pt x="39" y="580"/>
                  <a:pt x="54" y="534"/>
                </a:cubicBezTo>
                <a:cubicBezTo>
                  <a:pt x="56" y="504"/>
                  <a:pt x="57" y="474"/>
                  <a:pt x="60" y="444"/>
                </a:cubicBezTo>
                <a:cubicBezTo>
                  <a:pt x="63" y="417"/>
                  <a:pt x="87" y="398"/>
                  <a:pt x="96" y="372"/>
                </a:cubicBezTo>
                <a:cubicBezTo>
                  <a:pt x="103" y="269"/>
                  <a:pt x="92" y="311"/>
                  <a:pt x="114" y="246"/>
                </a:cubicBezTo>
                <a:cubicBezTo>
                  <a:pt x="128" y="204"/>
                  <a:pt x="165" y="183"/>
                  <a:pt x="174" y="138"/>
                </a:cubicBezTo>
                <a:cubicBezTo>
                  <a:pt x="179" y="114"/>
                  <a:pt x="177" y="82"/>
                  <a:pt x="204" y="72"/>
                </a:cubicBezTo>
                <a:cubicBezTo>
                  <a:pt x="280" y="44"/>
                  <a:pt x="398" y="41"/>
                  <a:pt x="480" y="30"/>
                </a:cubicBezTo>
                <a:cubicBezTo>
                  <a:pt x="488" y="29"/>
                  <a:pt x="548" y="21"/>
                  <a:pt x="558" y="18"/>
                </a:cubicBezTo>
                <a:cubicBezTo>
                  <a:pt x="570" y="15"/>
                  <a:pt x="582" y="10"/>
                  <a:pt x="594" y="6"/>
                </a:cubicBezTo>
                <a:cubicBezTo>
                  <a:pt x="600" y="4"/>
                  <a:pt x="612" y="0"/>
                  <a:pt x="612" y="0"/>
                </a:cubicBezTo>
                <a:cubicBezTo>
                  <a:pt x="674" y="4"/>
                  <a:pt x="720" y="12"/>
                  <a:pt x="780" y="18"/>
                </a:cubicBezTo>
                <a:cubicBezTo>
                  <a:pt x="808" y="27"/>
                  <a:pt x="827" y="37"/>
                  <a:pt x="852" y="48"/>
                </a:cubicBezTo>
                <a:cubicBezTo>
                  <a:pt x="879" y="60"/>
                  <a:pt x="871" y="48"/>
                  <a:pt x="894" y="60"/>
                </a:cubicBezTo>
                <a:cubicBezTo>
                  <a:pt x="917" y="72"/>
                  <a:pt x="924" y="94"/>
                  <a:pt x="942" y="108"/>
                </a:cubicBezTo>
                <a:cubicBezTo>
                  <a:pt x="952" y="116"/>
                  <a:pt x="967" y="119"/>
                  <a:pt x="978" y="126"/>
                </a:cubicBezTo>
                <a:cubicBezTo>
                  <a:pt x="986" y="180"/>
                  <a:pt x="1008" y="230"/>
                  <a:pt x="1038" y="276"/>
                </a:cubicBezTo>
                <a:cubicBezTo>
                  <a:pt x="1045" y="286"/>
                  <a:pt x="1049" y="325"/>
                  <a:pt x="1050" y="330"/>
                </a:cubicBezTo>
                <a:cubicBezTo>
                  <a:pt x="1053" y="342"/>
                  <a:pt x="1062" y="366"/>
                  <a:pt x="1062" y="366"/>
                </a:cubicBezTo>
                <a:cubicBezTo>
                  <a:pt x="1064" y="398"/>
                  <a:pt x="1065" y="430"/>
                  <a:pt x="1068" y="462"/>
                </a:cubicBezTo>
                <a:cubicBezTo>
                  <a:pt x="1069" y="468"/>
                  <a:pt x="1074" y="474"/>
                  <a:pt x="1074" y="480"/>
                </a:cubicBezTo>
                <a:cubicBezTo>
                  <a:pt x="1074" y="496"/>
                  <a:pt x="1062" y="502"/>
                  <a:pt x="1056" y="516"/>
                </a:cubicBezTo>
                <a:cubicBezTo>
                  <a:pt x="1045" y="541"/>
                  <a:pt x="1041" y="568"/>
                  <a:pt x="1032" y="594"/>
                </a:cubicBezTo>
                <a:cubicBezTo>
                  <a:pt x="1048" y="641"/>
                  <a:pt x="1030" y="607"/>
                  <a:pt x="1128" y="618"/>
                </a:cubicBezTo>
                <a:cubicBezTo>
                  <a:pt x="1148" y="620"/>
                  <a:pt x="1161" y="647"/>
                  <a:pt x="1182" y="648"/>
                </a:cubicBezTo>
                <a:cubicBezTo>
                  <a:pt x="1210" y="650"/>
                  <a:pt x="1238" y="652"/>
                  <a:pt x="1266" y="654"/>
                </a:cubicBezTo>
                <a:cubicBezTo>
                  <a:pt x="1298" y="676"/>
                  <a:pt x="1320" y="672"/>
                  <a:pt x="1356" y="660"/>
                </a:cubicBezTo>
                <a:cubicBezTo>
                  <a:pt x="1374" y="642"/>
                  <a:pt x="1386" y="632"/>
                  <a:pt x="1410" y="624"/>
                </a:cubicBezTo>
                <a:cubicBezTo>
                  <a:pt x="1452" y="634"/>
                  <a:pt x="1484" y="659"/>
                  <a:pt x="1524" y="672"/>
                </a:cubicBezTo>
                <a:cubicBezTo>
                  <a:pt x="1529" y="736"/>
                  <a:pt x="1536" y="816"/>
                  <a:pt x="1566" y="876"/>
                </a:cubicBezTo>
                <a:cubicBezTo>
                  <a:pt x="1576" y="897"/>
                  <a:pt x="1589" y="914"/>
                  <a:pt x="1596" y="936"/>
                </a:cubicBezTo>
                <a:cubicBezTo>
                  <a:pt x="1598" y="960"/>
                  <a:pt x="1583" y="993"/>
                  <a:pt x="1602" y="1008"/>
                </a:cubicBezTo>
                <a:cubicBezTo>
                  <a:pt x="1671" y="1061"/>
                  <a:pt x="1720" y="1029"/>
                  <a:pt x="1782" y="1014"/>
                </a:cubicBezTo>
                <a:cubicBezTo>
                  <a:pt x="1873" y="1021"/>
                  <a:pt x="1861" y="1006"/>
                  <a:pt x="1872" y="1080"/>
                </a:cubicBezTo>
                <a:cubicBezTo>
                  <a:pt x="1860" y="1098"/>
                  <a:pt x="1843" y="1113"/>
                  <a:pt x="1836" y="1134"/>
                </a:cubicBezTo>
                <a:cubicBezTo>
                  <a:pt x="1821" y="1179"/>
                  <a:pt x="1815" y="1227"/>
                  <a:pt x="1800" y="1272"/>
                </a:cubicBezTo>
                <a:cubicBezTo>
                  <a:pt x="1795" y="1325"/>
                  <a:pt x="1789" y="1376"/>
                  <a:pt x="1806" y="1428"/>
                </a:cubicBezTo>
                <a:cubicBezTo>
                  <a:pt x="1803" y="1479"/>
                  <a:pt x="1819" y="1551"/>
                  <a:pt x="1770" y="1584"/>
                </a:cubicBezTo>
                <a:cubicBezTo>
                  <a:pt x="1762" y="1596"/>
                  <a:pt x="1754" y="1608"/>
                  <a:pt x="1746" y="1620"/>
                </a:cubicBezTo>
                <a:cubicBezTo>
                  <a:pt x="1742" y="1626"/>
                  <a:pt x="1734" y="1638"/>
                  <a:pt x="1734" y="1638"/>
                </a:cubicBezTo>
                <a:cubicBezTo>
                  <a:pt x="1725" y="1673"/>
                  <a:pt x="1714" y="1687"/>
                  <a:pt x="1680" y="1698"/>
                </a:cubicBezTo>
                <a:cubicBezTo>
                  <a:pt x="1652" y="1726"/>
                  <a:pt x="1669" y="1711"/>
                  <a:pt x="1626" y="1740"/>
                </a:cubicBezTo>
                <a:cubicBezTo>
                  <a:pt x="1620" y="1744"/>
                  <a:pt x="1608" y="1752"/>
                  <a:pt x="1608" y="1752"/>
                </a:cubicBezTo>
                <a:cubicBezTo>
                  <a:pt x="1602" y="1761"/>
                  <a:pt x="1574" y="1794"/>
                  <a:pt x="1566" y="1800"/>
                </a:cubicBezTo>
                <a:cubicBezTo>
                  <a:pt x="1556" y="1808"/>
                  <a:pt x="1541" y="1811"/>
                  <a:pt x="1530" y="1818"/>
                </a:cubicBezTo>
                <a:cubicBezTo>
                  <a:pt x="1455" y="1813"/>
                  <a:pt x="1389" y="1806"/>
                  <a:pt x="1314" y="1812"/>
                </a:cubicBezTo>
                <a:cubicBezTo>
                  <a:pt x="1240" y="1837"/>
                  <a:pt x="1248" y="1775"/>
                  <a:pt x="1182" y="1770"/>
                </a:cubicBezTo>
                <a:cubicBezTo>
                  <a:pt x="1142" y="1767"/>
                  <a:pt x="1102" y="1766"/>
                  <a:pt x="1062" y="1764"/>
                </a:cubicBezTo>
                <a:cubicBezTo>
                  <a:pt x="994" y="1741"/>
                  <a:pt x="1039" y="1751"/>
                  <a:pt x="924" y="1758"/>
                </a:cubicBezTo>
                <a:cubicBezTo>
                  <a:pt x="912" y="1756"/>
                  <a:pt x="897" y="1761"/>
                  <a:pt x="888" y="1752"/>
                </a:cubicBezTo>
                <a:cubicBezTo>
                  <a:pt x="873" y="1737"/>
                  <a:pt x="907" y="1719"/>
                  <a:pt x="912" y="1716"/>
                </a:cubicBezTo>
                <a:cubicBezTo>
                  <a:pt x="922" y="1676"/>
                  <a:pt x="929" y="1667"/>
                  <a:pt x="960" y="1650"/>
                </a:cubicBezTo>
                <a:cubicBezTo>
                  <a:pt x="973" y="1643"/>
                  <a:pt x="996" y="1626"/>
                  <a:pt x="996" y="1626"/>
                </a:cubicBezTo>
                <a:cubicBezTo>
                  <a:pt x="998" y="1608"/>
                  <a:pt x="1013" y="1511"/>
                  <a:pt x="1026" y="1488"/>
                </a:cubicBezTo>
                <a:cubicBezTo>
                  <a:pt x="1030" y="1482"/>
                  <a:pt x="1038" y="1480"/>
                  <a:pt x="1044" y="1476"/>
                </a:cubicBezTo>
                <a:cubicBezTo>
                  <a:pt x="1048" y="1470"/>
                  <a:pt x="1051" y="1463"/>
                  <a:pt x="1056" y="1458"/>
                </a:cubicBezTo>
                <a:cubicBezTo>
                  <a:pt x="1061" y="1453"/>
                  <a:pt x="1069" y="1451"/>
                  <a:pt x="1074" y="1446"/>
                </a:cubicBezTo>
                <a:cubicBezTo>
                  <a:pt x="1104" y="1412"/>
                  <a:pt x="1126" y="1362"/>
                  <a:pt x="1140" y="1320"/>
                </a:cubicBezTo>
                <a:cubicBezTo>
                  <a:pt x="1122" y="1285"/>
                  <a:pt x="1009" y="1255"/>
                  <a:pt x="966" y="1236"/>
                </a:cubicBezTo>
                <a:cubicBezTo>
                  <a:pt x="940" y="1245"/>
                  <a:pt x="903" y="1188"/>
                  <a:pt x="882" y="1206"/>
                </a:cubicBezTo>
                <a:cubicBezTo>
                  <a:pt x="875" y="1211"/>
                  <a:pt x="775" y="1142"/>
                  <a:pt x="768" y="1146"/>
                </a:cubicBezTo>
                <a:cubicBezTo>
                  <a:pt x="757" y="1152"/>
                  <a:pt x="708" y="1104"/>
                  <a:pt x="708" y="1104"/>
                </a:cubicBezTo>
                <a:cubicBezTo>
                  <a:pt x="682" y="1102"/>
                  <a:pt x="643" y="1063"/>
                  <a:pt x="618" y="1056"/>
                </a:cubicBezTo>
                <a:cubicBezTo>
                  <a:pt x="604" y="1052"/>
                  <a:pt x="582" y="1032"/>
                  <a:pt x="582" y="1032"/>
                </a:cubicBezTo>
                <a:cubicBezTo>
                  <a:pt x="534" y="1044"/>
                  <a:pt x="547" y="1043"/>
                  <a:pt x="468" y="1032"/>
                </a:cubicBezTo>
                <a:cubicBezTo>
                  <a:pt x="455" y="1030"/>
                  <a:pt x="432" y="1020"/>
                  <a:pt x="432" y="1020"/>
                </a:cubicBezTo>
                <a:cubicBezTo>
                  <a:pt x="402" y="990"/>
                  <a:pt x="359" y="977"/>
                  <a:pt x="324" y="954"/>
                </a:cubicBezTo>
                <a:cubicBezTo>
                  <a:pt x="311" y="915"/>
                  <a:pt x="286" y="899"/>
                  <a:pt x="252" y="876"/>
                </a:cubicBezTo>
                <a:cubicBezTo>
                  <a:pt x="241" y="869"/>
                  <a:pt x="216" y="864"/>
                  <a:pt x="216" y="864"/>
                </a:cubicBezTo>
                <a:cubicBezTo>
                  <a:pt x="198" y="837"/>
                  <a:pt x="196" y="815"/>
                  <a:pt x="162" y="804"/>
                </a:cubicBezTo>
                <a:cubicBezTo>
                  <a:pt x="144" y="786"/>
                  <a:pt x="138" y="770"/>
                  <a:pt x="114" y="762"/>
                </a:cubicBezTo>
                <a:cubicBezTo>
                  <a:pt x="92" y="728"/>
                  <a:pt x="76" y="703"/>
                  <a:pt x="36" y="690"/>
                </a:cubicBezTo>
                <a:cubicBezTo>
                  <a:pt x="19" y="665"/>
                  <a:pt x="31" y="674"/>
                  <a:pt x="0" y="666"/>
                </a:cubicBezTo>
                <a:close/>
              </a:path>
            </a:pathLst>
          </a:custGeom>
          <a:noFill/>
          <a:ln w="28575" cmpd="sng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630" name="Freeform 6"/>
          <p:cNvSpPr>
            <a:spLocks/>
          </p:cNvSpPr>
          <p:nvPr/>
        </p:nvSpPr>
        <p:spPr bwMode="auto">
          <a:xfrm>
            <a:off x="4513263" y="3270250"/>
            <a:ext cx="711200" cy="215900"/>
          </a:xfrm>
          <a:custGeom>
            <a:avLst/>
            <a:gdLst/>
            <a:ahLst/>
            <a:cxnLst>
              <a:cxn ang="0">
                <a:pos x="0" y="136"/>
              </a:cxn>
              <a:cxn ang="0">
                <a:pos x="88" y="112"/>
              </a:cxn>
              <a:cxn ang="0">
                <a:pos x="184" y="56"/>
              </a:cxn>
              <a:cxn ang="0">
                <a:pos x="248" y="56"/>
              </a:cxn>
              <a:cxn ang="0">
                <a:pos x="344" y="32"/>
              </a:cxn>
              <a:cxn ang="0">
                <a:pos x="448" y="0"/>
              </a:cxn>
            </a:cxnLst>
            <a:rect l="0" t="0" r="r" b="b"/>
            <a:pathLst>
              <a:path w="448" h="136">
                <a:moveTo>
                  <a:pt x="0" y="136"/>
                </a:moveTo>
                <a:cubicBezTo>
                  <a:pt x="6" y="135"/>
                  <a:pt x="76" y="118"/>
                  <a:pt x="88" y="112"/>
                </a:cubicBezTo>
                <a:cubicBezTo>
                  <a:pt x="125" y="94"/>
                  <a:pt x="145" y="70"/>
                  <a:pt x="184" y="56"/>
                </a:cubicBezTo>
                <a:cubicBezTo>
                  <a:pt x="202" y="49"/>
                  <a:pt x="260" y="28"/>
                  <a:pt x="248" y="56"/>
                </a:cubicBezTo>
                <a:cubicBezTo>
                  <a:pt x="292" y="24"/>
                  <a:pt x="344" y="32"/>
                  <a:pt x="344" y="32"/>
                </a:cubicBezTo>
                <a:cubicBezTo>
                  <a:pt x="387" y="3"/>
                  <a:pt x="397" y="0"/>
                  <a:pt x="448" y="0"/>
                </a:cubicBezTo>
              </a:path>
            </a:pathLst>
          </a:custGeom>
          <a:noFill/>
          <a:ln w="28575" cmpd="sng">
            <a:solidFill>
              <a:srgbClr val="CC33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631" name="Freeform 7"/>
          <p:cNvSpPr>
            <a:spLocks/>
          </p:cNvSpPr>
          <p:nvPr/>
        </p:nvSpPr>
        <p:spPr bwMode="auto">
          <a:xfrm>
            <a:off x="4033838" y="3913188"/>
            <a:ext cx="865187" cy="179387"/>
          </a:xfrm>
          <a:custGeom>
            <a:avLst/>
            <a:gdLst/>
            <a:ahLst/>
            <a:cxnLst>
              <a:cxn ang="0">
                <a:pos x="0" y="113"/>
              </a:cxn>
              <a:cxn ang="0">
                <a:pos x="103" y="39"/>
              </a:cxn>
              <a:cxn ang="0">
                <a:pos x="215" y="23"/>
              </a:cxn>
              <a:cxn ang="0">
                <a:pos x="367" y="15"/>
              </a:cxn>
              <a:cxn ang="0">
                <a:pos x="545" y="113"/>
              </a:cxn>
            </a:cxnLst>
            <a:rect l="0" t="0" r="r" b="b"/>
            <a:pathLst>
              <a:path w="545" h="113">
                <a:moveTo>
                  <a:pt x="0" y="113"/>
                </a:moveTo>
                <a:cubicBezTo>
                  <a:pt x="17" y="101"/>
                  <a:pt x="67" y="54"/>
                  <a:pt x="103" y="39"/>
                </a:cubicBezTo>
                <a:cubicBezTo>
                  <a:pt x="139" y="24"/>
                  <a:pt x="171" y="27"/>
                  <a:pt x="215" y="23"/>
                </a:cubicBezTo>
                <a:cubicBezTo>
                  <a:pt x="259" y="19"/>
                  <a:pt x="312" y="0"/>
                  <a:pt x="367" y="15"/>
                </a:cubicBezTo>
                <a:cubicBezTo>
                  <a:pt x="422" y="30"/>
                  <a:pt x="508" y="93"/>
                  <a:pt x="545" y="113"/>
                </a:cubicBezTo>
              </a:path>
            </a:pathLst>
          </a:custGeom>
          <a:noFill/>
          <a:ln w="76200" cap="rnd" cmpd="sng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632" name="Rectangle 8"/>
          <p:cNvSpPr>
            <a:spLocks noChangeArrowheads="1"/>
          </p:cNvSpPr>
          <p:nvPr/>
        </p:nvSpPr>
        <p:spPr bwMode="auto">
          <a:xfrm>
            <a:off x="6986588" y="3876675"/>
            <a:ext cx="1873250" cy="251936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s-ES" sz="1000" b="1" dirty="0"/>
          </a:p>
          <a:p>
            <a:r>
              <a:rPr lang="es-ES" sz="1000" b="1" dirty="0" err="1"/>
              <a:t>Railway</a:t>
            </a:r>
            <a:r>
              <a:rPr lang="es-ES" sz="1000" b="1" dirty="0"/>
              <a:t> </a:t>
            </a:r>
            <a:r>
              <a:rPr lang="es-ES" sz="1000" b="1" dirty="0" err="1"/>
              <a:t>network</a:t>
            </a:r>
            <a:endParaRPr lang="es-ES" sz="1000" b="1" dirty="0"/>
          </a:p>
        </p:txBody>
      </p:sp>
      <p:sp>
        <p:nvSpPr>
          <p:cNvPr id="666633" name="Freeform 9"/>
          <p:cNvSpPr>
            <a:spLocks/>
          </p:cNvSpPr>
          <p:nvPr/>
        </p:nvSpPr>
        <p:spPr bwMode="auto">
          <a:xfrm>
            <a:off x="7059613" y="4524375"/>
            <a:ext cx="503237" cy="714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6" y="45"/>
              </a:cxn>
              <a:cxn ang="0">
                <a:pos x="226" y="0"/>
              </a:cxn>
              <a:cxn ang="0">
                <a:pos x="317" y="0"/>
              </a:cxn>
            </a:cxnLst>
            <a:rect l="0" t="0" r="r" b="b"/>
            <a:pathLst>
              <a:path w="317" h="45">
                <a:moveTo>
                  <a:pt x="0" y="0"/>
                </a:moveTo>
                <a:lnTo>
                  <a:pt x="136" y="45"/>
                </a:lnTo>
                <a:lnTo>
                  <a:pt x="226" y="0"/>
                </a:lnTo>
                <a:lnTo>
                  <a:pt x="317" y="0"/>
                </a:lnTo>
              </a:path>
            </a:pathLst>
          </a:custGeom>
          <a:noFill/>
          <a:ln w="57150" cmpd="sng">
            <a:solidFill>
              <a:srgbClr val="CCCC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634" name="Freeform 10"/>
          <p:cNvSpPr>
            <a:spLocks/>
          </p:cNvSpPr>
          <p:nvPr/>
        </p:nvSpPr>
        <p:spPr bwMode="auto">
          <a:xfrm>
            <a:off x="7059613" y="4740275"/>
            <a:ext cx="503237" cy="714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6" y="45"/>
              </a:cxn>
              <a:cxn ang="0">
                <a:pos x="226" y="0"/>
              </a:cxn>
              <a:cxn ang="0">
                <a:pos x="317" y="0"/>
              </a:cxn>
            </a:cxnLst>
            <a:rect l="0" t="0" r="r" b="b"/>
            <a:pathLst>
              <a:path w="317" h="45">
                <a:moveTo>
                  <a:pt x="0" y="0"/>
                </a:moveTo>
                <a:lnTo>
                  <a:pt x="136" y="45"/>
                </a:lnTo>
                <a:lnTo>
                  <a:pt x="226" y="0"/>
                </a:lnTo>
                <a:lnTo>
                  <a:pt x="317" y="0"/>
                </a:lnTo>
              </a:path>
            </a:pathLst>
          </a:custGeom>
          <a:noFill/>
          <a:ln w="57150" cap="flat" cmpd="sng">
            <a:solidFill>
              <a:srgbClr val="009999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635" name="Freeform 11"/>
          <p:cNvSpPr>
            <a:spLocks/>
          </p:cNvSpPr>
          <p:nvPr/>
        </p:nvSpPr>
        <p:spPr bwMode="auto">
          <a:xfrm>
            <a:off x="7059613" y="4968875"/>
            <a:ext cx="503237" cy="714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6" y="45"/>
              </a:cxn>
              <a:cxn ang="0">
                <a:pos x="226" y="0"/>
              </a:cxn>
              <a:cxn ang="0">
                <a:pos x="317" y="0"/>
              </a:cxn>
            </a:cxnLst>
            <a:rect l="0" t="0" r="r" b="b"/>
            <a:pathLst>
              <a:path w="317" h="45">
                <a:moveTo>
                  <a:pt x="0" y="0"/>
                </a:moveTo>
                <a:lnTo>
                  <a:pt x="136" y="45"/>
                </a:lnTo>
                <a:lnTo>
                  <a:pt x="226" y="0"/>
                </a:lnTo>
                <a:lnTo>
                  <a:pt x="317" y="0"/>
                </a:lnTo>
              </a:path>
            </a:pathLst>
          </a:custGeom>
          <a:noFill/>
          <a:ln w="76200" cap="rnd" cmpd="sng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636" name="Text Box 12"/>
          <p:cNvSpPr txBox="1">
            <a:spLocks noChangeArrowheads="1"/>
          </p:cNvSpPr>
          <p:nvPr/>
        </p:nvSpPr>
        <p:spPr bwMode="auto">
          <a:xfrm>
            <a:off x="7697788" y="4422775"/>
            <a:ext cx="863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Trocha 1 m.</a:t>
            </a:r>
          </a:p>
        </p:txBody>
      </p:sp>
      <p:sp>
        <p:nvSpPr>
          <p:cNvPr id="666637" name="Text Box 13"/>
          <p:cNvSpPr txBox="1">
            <a:spLocks noChangeArrowheads="1"/>
          </p:cNvSpPr>
          <p:nvPr/>
        </p:nvSpPr>
        <p:spPr bwMode="auto">
          <a:xfrm>
            <a:off x="7681913" y="4638675"/>
            <a:ext cx="1177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Trocha 1.435 m.</a:t>
            </a:r>
          </a:p>
        </p:txBody>
      </p:sp>
      <p:sp>
        <p:nvSpPr>
          <p:cNvPr id="666638" name="Text Box 14"/>
          <p:cNvSpPr txBox="1">
            <a:spLocks noChangeArrowheads="1"/>
          </p:cNvSpPr>
          <p:nvPr/>
        </p:nvSpPr>
        <p:spPr bwMode="auto">
          <a:xfrm>
            <a:off x="7707313" y="4849813"/>
            <a:ext cx="1177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Vínculo faltante</a:t>
            </a:r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74613" y="2795588"/>
            <a:ext cx="914400" cy="347662"/>
            <a:chOff x="1780" y="1749"/>
            <a:chExt cx="384" cy="146"/>
          </a:xfrm>
        </p:grpSpPr>
        <p:sp>
          <p:nvSpPr>
            <p:cNvPr id="666640" name="Freeform 16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1" name="Line 17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2" name="Line 18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3" name="Line 19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4" name="Line 20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5" name="Line 21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3" name="Group 22"/>
          <p:cNvGrpSpPr>
            <a:grpSpLocks/>
          </p:cNvGrpSpPr>
          <p:nvPr/>
        </p:nvGrpSpPr>
        <p:grpSpPr bwMode="auto">
          <a:xfrm>
            <a:off x="8016875" y="2867025"/>
            <a:ext cx="914400" cy="347663"/>
            <a:chOff x="1780" y="1749"/>
            <a:chExt cx="384" cy="146"/>
          </a:xfrm>
        </p:grpSpPr>
        <p:sp>
          <p:nvSpPr>
            <p:cNvPr id="666647" name="Freeform 23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8" name="Line 24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49" name="Line 25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0" name="Line 26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1" name="Line 27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2" name="Line 28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74613" y="1355725"/>
            <a:ext cx="533400" cy="203200"/>
            <a:chOff x="1780" y="1749"/>
            <a:chExt cx="384" cy="146"/>
          </a:xfrm>
        </p:grpSpPr>
        <p:sp>
          <p:nvSpPr>
            <p:cNvPr id="666654" name="Freeform 30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5" name="Line 31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6" name="Line 32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7" name="Line 33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8" name="Line 34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59" name="Line 35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5" name="Group 36"/>
          <p:cNvGrpSpPr>
            <a:grpSpLocks/>
          </p:cNvGrpSpPr>
          <p:nvPr/>
        </p:nvGrpSpPr>
        <p:grpSpPr bwMode="auto">
          <a:xfrm>
            <a:off x="333375" y="2160588"/>
            <a:ext cx="533400" cy="203200"/>
            <a:chOff x="1780" y="1749"/>
            <a:chExt cx="384" cy="146"/>
          </a:xfrm>
        </p:grpSpPr>
        <p:sp>
          <p:nvSpPr>
            <p:cNvPr id="666661" name="Freeform 37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62" name="Line 38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63" name="Line 39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64" name="Line 40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65" name="Line 41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66" name="Line 42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6" name="Group 43"/>
          <p:cNvGrpSpPr>
            <a:grpSpLocks/>
          </p:cNvGrpSpPr>
          <p:nvPr/>
        </p:nvGrpSpPr>
        <p:grpSpPr bwMode="auto">
          <a:xfrm>
            <a:off x="404813" y="3313113"/>
            <a:ext cx="533400" cy="203200"/>
            <a:chOff x="1780" y="1749"/>
            <a:chExt cx="384" cy="146"/>
          </a:xfrm>
        </p:grpSpPr>
        <p:sp>
          <p:nvSpPr>
            <p:cNvPr id="666668" name="Freeform 44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69" name="Line 45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0" name="Line 46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1" name="Line 47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2" name="Line 48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3" name="Line 49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7" name="Group 50"/>
          <p:cNvGrpSpPr>
            <a:grpSpLocks/>
          </p:cNvGrpSpPr>
          <p:nvPr/>
        </p:nvGrpSpPr>
        <p:grpSpPr bwMode="auto">
          <a:xfrm>
            <a:off x="7418388" y="3240088"/>
            <a:ext cx="533400" cy="203200"/>
            <a:chOff x="1780" y="1749"/>
            <a:chExt cx="384" cy="146"/>
          </a:xfrm>
        </p:grpSpPr>
        <p:sp>
          <p:nvSpPr>
            <p:cNvPr id="666675" name="Freeform 51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6" name="Line 52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7" name="Line 53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8" name="Line 54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79" name="Line 55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80" name="Line 56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8" name="Group 57"/>
          <p:cNvGrpSpPr>
            <a:grpSpLocks/>
          </p:cNvGrpSpPr>
          <p:nvPr/>
        </p:nvGrpSpPr>
        <p:grpSpPr bwMode="auto">
          <a:xfrm>
            <a:off x="6927850" y="3648075"/>
            <a:ext cx="533400" cy="203200"/>
            <a:chOff x="1780" y="1749"/>
            <a:chExt cx="384" cy="146"/>
          </a:xfrm>
        </p:grpSpPr>
        <p:sp>
          <p:nvSpPr>
            <p:cNvPr id="666682" name="Freeform 58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83" name="Line 59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84" name="Line 60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85" name="Line 61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86" name="Line 62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87" name="Line 63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9" name="Group 64"/>
          <p:cNvGrpSpPr>
            <a:grpSpLocks/>
          </p:cNvGrpSpPr>
          <p:nvPr/>
        </p:nvGrpSpPr>
        <p:grpSpPr bwMode="auto">
          <a:xfrm>
            <a:off x="6338888" y="4968875"/>
            <a:ext cx="533400" cy="203200"/>
            <a:chOff x="1780" y="1749"/>
            <a:chExt cx="384" cy="146"/>
          </a:xfrm>
        </p:grpSpPr>
        <p:sp>
          <p:nvSpPr>
            <p:cNvPr id="666689" name="Freeform 65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0" name="Line 66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1" name="Line 67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2" name="Line 68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3" name="Line 69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4" name="Line 70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10" name="Group 71"/>
          <p:cNvGrpSpPr>
            <a:grpSpLocks/>
          </p:cNvGrpSpPr>
          <p:nvPr/>
        </p:nvGrpSpPr>
        <p:grpSpPr bwMode="auto">
          <a:xfrm>
            <a:off x="4970463" y="6192838"/>
            <a:ext cx="533400" cy="203200"/>
            <a:chOff x="1780" y="1749"/>
            <a:chExt cx="384" cy="146"/>
          </a:xfrm>
        </p:grpSpPr>
        <p:sp>
          <p:nvSpPr>
            <p:cNvPr id="666696" name="Freeform 72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7" name="Line 73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8" name="Line 74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699" name="Line 75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0" name="Line 76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1" name="Line 77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11" name="Group 78"/>
          <p:cNvGrpSpPr>
            <a:grpSpLocks/>
          </p:cNvGrpSpPr>
          <p:nvPr/>
        </p:nvGrpSpPr>
        <p:grpSpPr bwMode="auto">
          <a:xfrm>
            <a:off x="5978525" y="5329238"/>
            <a:ext cx="533400" cy="203200"/>
            <a:chOff x="1780" y="1749"/>
            <a:chExt cx="384" cy="146"/>
          </a:xfrm>
        </p:grpSpPr>
        <p:sp>
          <p:nvSpPr>
            <p:cNvPr id="666703" name="Freeform 79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4" name="Line 80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5" name="Line 81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6" name="Line 82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7" name="Line 83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08" name="Line 84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12" name="Group 85"/>
          <p:cNvGrpSpPr>
            <a:grpSpLocks/>
          </p:cNvGrpSpPr>
          <p:nvPr/>
        </p:nvGrpSpPr>
        <p:grpSpPr bwMode="auto">
          <a:xfrm>
            <a:off x="74613" y="5532438"/>
            <a:ext cx="533400" cy="203200"/>
            <a:chOff x="1780" y="1749"/>
            <a:chExt cx="384" cy="146"/>
          </a:xfrm>
        </p:grpSpPr>
        <p:sp>
          <p:nvSpPr>
            <p:cNvPr id="666710" name="Freeform 86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11" name="Line 87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12" name="Line 88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13" name="Line 89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14" name="Line 90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15" name="Line 91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sp>
        <p:nvSpPr>
          <p:cNvPr id="666716" name="Freeform 92"/>
          <p:cNvSpPr>
            <a:spLocks/>
          </p:cNvSpPr>
          <p:nvPr/>
        </p:nvSpPr>
        <p:spPr bwMode="auto">
          <a:xfrm>
            <a:off x="3170238" y="2470150"/>
            <a:ext cx="431800" cy="180975"/>
          </a:xfrm>
          <a:custGeom>
            <a:avLst/>
            <a:gdLst/>
            <a:ahLst/>
            <a:cxnLst>
              <a:cxn ang="0">
                <a:pos x="272" y="114"/>
              </a:cxn>
              <a:cxn ang="0">
                <a:pos x="142" y="0"/>
              </a:cxn>
              <a:cxn ang="0">
                <a:pos x="0" y="69"/>
              </a:cxn>
            </a:cxnLst>
            <a:rect l="0" t="0" r="r" b="b"/>
            <a:pathLst>
              <a:path w="272" h="114">
                <a:moveTo>
                  <a:pt x="272" y="114"/>
                </a:moveTo>
                <a:lnTo>
                  <a:pt x="142" y="0"/>
                </a:lnTo>
                <a:lnTo>
                  <a:pt x="0" y="69"/>
                </a:lnTo>
              </a:path>
            </a:pathLst>
          </a:custGeom>
          <a:noFill/>
          <a:ln w="28575" cap="flat" cmpd="sng">
            <a:solidFill>
              <a:srgbClr val="CC3300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17" name="Freeform 93"/>
          <p:cNvSpPr>
            <a:spLocks/>
          </p:cNvSpPr>
          <p:nvPr/>
        </p:nvSpPr>
        <p:spPr bwMode="auto">
          <a:xfrm>
            <a:off x="1622425" y="2887663"/>
            <a:ext cx="376238" cy="204787"/>
          </a:xfrm>
          <a:custGeom>
            <a:avLst/>
            <a:gdLst/>
            <a:ahLst/>
            <a:cxnLst>
              <a:cxn ang="0">
                <a:pos x="21" y="9"/>
              </a:cxn>
              <a:cxn ang="0">
                <a:pos x="77" y="33"/>
              </a:cxn>
              <a:cxn ang="0">
                <a:pos x="197" y="57"/>
              </a:cxn>
              <a:cxn ang="0">
                <a:pos x="221" y="129"/>
              </a:cxn>
            </a:cxnLst>
            <a:rect l="0" t="0" r="r" b="b"/>
            <a:pathLst>
              <a:path w="237" h="129">
                <a:moveTo>
                  <a:pt x="21" y="9"/>
                </a:moveTo>
                <a:cubicBezTo>
                  <a:pt x="113" y="32"/>
                  <a:pt x="0" y="0"/>
                  <a:pt x="77" y="33"/>
                </a:cubicBezTo>
                <a:cubicBezTo>
                  <a:pt x="113" y="48"/>
                  <a:pt x="160" y="52"/>
                  <a:pt x="197" y="57"/>
                </a:cubicBezTo>
                <a:cubicBezTo>
                  <a:pt x="237" y="83"/>
                  <a:pt x="221" y="63"/>
                  <a:pt x="221" y="129"/>
                </a:cubicBezTo>
              </a:path>
            </a:pathLst>
          </a:custGeom>
          <a:noFill/>
          <a:ln w="28575" cmpd="sng">
            <a:solidFill>
              <a:srgbClr val="CC33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18" name="Freeform 94"/>
          <p:cNvSpPr>
            <a:spLocks/>
          </p:cNvSpPr>
          <p:nvPr/>
        </p:nvSpPr>
        <p:spPr bwMode="auto">
          <a:xfrm>
            <a:off x="2900363" y="1758950"/>
            <a:ext cx="79375" cy="368300"/>
          </a:xfrm>
          <a:custGeom>
            <a:avLst/>
            <a:gdLst/>
            <a:ahLst/>
            <a:cxnLst>
              <a:cxn ang="0">
                <a:pos x="32" y="0"/>
              </a:cxn>
              <a:cxn ang="0">
                <a:pos x="48" y="32"/>
              </a:cxn>
              <a:cxn ang="0">
                <a:pos x="24" y="40"/>
              </a:cxn>
              <a:cxn ang="0">
                <a:pos x="0" y="88"/>
              </a:cxn>
              <a:cxn ang="0">
                <a:pos x="32" y="184"/>
              </a:cxn>
              <a:cxn ang="0">
                <a:pos x="40" y="232"/>
              </a:cxn>
            </a:cxnLst>
            <a:rect l="0" t="0" r="r" b="b"/>
            <a:pathLst>
              <a:path w="50" h="232">
                <a:moveTo>
                  <a:pt x="32" y="0"/>
                </a:moveTo>
                <a:cubicBezTo>
                  <a:pt x="37" y="11"/>
                  <a:pt x="50" y="20"/>
                  <a:pt x="48" y="32"/>
                </a:cubicBezTo>
                <a:cubicBezTo>
                  <a:pt x="46" y="40"/>
                  <a:pt x="31" y="35"/>
                  <a:pt x="24" y="40"/>
                </a:cubicBezTo>
                <a:cubicBezTo>
                  <a:pt x="10" y="51"/>
                  <a:pt x="5" y="72"/>
                  <a:pt x="0" y="88"/>
                </a:cubicBezTo>
                <a:cubicBezTo>
                  <a:pt x="9" y="116"/>
                  <a:pt x="27" y="154"/>
                  <a:pt x="32" y="184"/>
                </a:cubicBezTo>
                <a:cubicBezTo>
                  <a:pt x="35" y="200"/>
                  <a:pt x="39" y="224"/>
                  <a:pt x="40" y="232"/>
                </a:cubicBezTo>
              </a:path>
            </a:pathLst>
          </a:custGeom>
          <a:noFill/>
          <a:ln w="28575" cap="flat" cmpd="sng">
            <a:solidFill>
              <a:srgbClr val="CC3300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19" name="Freeform 95"/>
          <p:cNvSpPr>
            <a:spLocks/>
          </p:cNvSpPr>
          <p:nvPr/>
        </p:nvSpPr>
        <p:spPr bwMode="auto">
          <a:xfrm>
            <a:off x="4792663" y="3867150"/>
            <a:ext cx="47625" cy="165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4"/>
              </a:cxn>
            </a:cxnLst>
            <a:rect l="0" t="0" r="r" b="b"/>
            <a:pathLst>
              <a:path w="30" h="104">
                <a:moveTo>
                  <a:pt x="0" y="0"/>
                </a:moveTo>
                <a:cubicBezTo>
                  <a:pt x="8" y="34"/>
                  <a:pt x="30" y="74"/>
                  <a:pt x="0" y="104"/>
                </a:cubicBezTo>
              </a:path>
            </a:pathLst>
          </a:custGeom>
          <a:noFill/>
          <a:ln w="38100" cap="flat" cmpd="sng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20" name="Freeform 96"/>
          <p:cNvSpPr>
            <a:spLocks/>
          </p:cNvSpPr>
          <p:nvPr/>
        </p:nvSpPr>
        <p:spPr bwMode="auto">
          <a:xfrm>
            <a:off x="2919413" y="2476500"/>
            <a:ext cx="196850" cy="873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" y="44"/>
              </a:cxn>
              <a:cxn ang="0">
                <a:pos x="124" y="52"/>
              </a:cxn>
            </a:cxnLst>
            <a:rect l="0" t="0" r="r" b="b"/>
            <a:pathLst>
              <a:path w="124" h="55">
                <a:moveTo>
                  <a:pt x="0" y="0"/>
                </a:moveTo>
                <a:cubicBezTo>
                  <a:pt x="44" y="11"/>
                  <a:pt x="15" y="28"/>
                  <a:pt x="52" y="44"/>
                </a:cubicBezTo>
                <a:cubicBezTo>
                  <a:pt x="78" y="55"/>
                  <a:pt x="96" y="52"/>
                  <a:pt x="124" y="52"/>
                </a:cubicBezTo>
              </a:path>
            </a:pathLst>
          </a:custGeom>
          <a:noFill/>
          <a:ln w="38100" cmpd="sng">
            <a:solidFill>
              <a:schemeClr val="hlink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21" name="Freeform 97"/>
          <p:cNvSpPr>
            <a:spLocks/>
          </p:cNvSpPr>
          <p:nvPr/>
        </p:nvSpPr>
        <p:spPr bwMode="auto">
          <a:xfrm>
            <a:off x="2944813" y="2997200"/>
            <a:ext cx="793750" cy="4127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6" y="44"/>
              </a:cxn>
              <a:cxn ang="0">
                <a:pos x="188" y="76"/>
              </a:cxn>
              <a:cxn ang="0">
                <a:pos x="212" y="92"/>
              </a:cxn>
              <a:cxn ang="0">
                <a:pos x="260" y="108"/>
              </a:cxn>
              <a:cxn ang="0">
                <a:pos x="392" y="188"/>
              </a:cxn>
              <a:cxn ang="0">
                <a:pos x="500" y="260"/>
              </a:cxn>
            </a:cxnLst>
            <a:rect l="0" t="0" r="r" b="b"/>
            <a:pathLst>
              <a:path w="500" h="260">
                <a:moveTo>
                  <a:pt x="0" y="0"/>
                </a:moveTo>
                <a:cubicBezTo>
                  <a:pt x="59" y="39"/>
                  <a:pt x="40" y="31"/>
                  <a:pt x="116" y="44"/>
                </a:cubicBezTo>
                <a:cubicBezTo>
                  <a:pt x="138" y="59"/>
                  <a:pt x="166" y="61"/>
                  <a:pt x="188" y="76"/>
                </a:cubicBezTo>
                <a:cubicBezTo>
                  <a:pt x="196" y="81"/>
                  <a:pt x="203" y="88"/>
                  <a:pt x="212" y="92"/>
                </a:cubicBezTo>
                <a:cubicBezTo>
                  <a:pt x="227" y="99"/>
                  <a:pt x="260" y="108"/>
                  <a:pt x="260" y="108"/>
                </a:cubicBezTo>
                <a:cubicBezTo>
                  <a:pt x="294" y="142"/>
                  <a:pt x="351" y="165"/>
                  <a:pt x="392" y="188"/>
                </a:cubicBezTo>
                <a:cubicBezTo>
                  <a:pt x="432" y="213"/>
                  <a:pt x="480" y="245"/>
                  <a:pt x="500" y="260"/>
                </a:cubicBezTo>
              </a:path>
            </a:pathLst>
          </a:custGeom>
          <a:noFill/>
          <a:ln w="38100" cap="flat" cmpd="sng">
            <a:solidFill>
              <a:schemeClr val="hlink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22" name="Freeform 98"/>
          <p:cNvSpPr>
            <a:spLocks/>
          </p:cNvSpPr>
          <p:nvPr/>
        </p:nvSpPr>
        <p:spPr bwMode="auto">
          <a:xfrm>
            <a:off x="1655763" y="2451100"/>
            <a:ext cx="1174750" cy="2127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04" y="24"/>
              </a:cxn>
              <a:cxn ang="0">
                <a:pos x="192" y="28"/>
              </a:cxn>
              <a:cxn ang="0">
                <a:pos x="256" y="44"/>
              </a:cxn>
              <a:cxn ang="0">
                <a:pos x="332" y="60"/>
              </a:cxn>
              <a:cxn ang="0">
                <a:pos x="388" y="72"/>
              </a:cxn>
              <a:cxn ang="0">
                <a:pos x="472" y="124"/>
              </a:cxn>
              <a:cxn ang="0">
                <a:pos x="556" y="96"/>
              </a:cxn>
              <a:cxn ang="0">
                <a:pos x="612" y="56"/>
              </a:cxn>
              <a:cxn ang="0">
                <a:pos x="692" y="28"/>
              </a:cxn>
              <a:cxn ang="0">
                <a:pos x="740" y="20"/>
              </a:cxn>
            </a:cxnLst>
            <a:rect l="0" t="0" r="r" b="b"/>
            <a:pathLst>
              <a:path w="740" h="134">
                <a:moveTo>
                  <a:pt x="0" y="0"/>
                </a:moveTo>
                <a:cubicBezTo>
                  <a:pt x="37" y="4"/>
                  <a:pt x="70" y="10"/>
                  <a:pt x="104" y="24"/>
                </a:cubicBezTo>
                <a:cubicBezTo>
                  <a:pt x="158" y="19"/>
                  <a:pt x="144" y="16"/>
                  <a:pt x="192" y="28"/>
                </a:cubicBezTo>
                <a:cubicBezTo>
                  <a:pt x="217" y="53"/>
                  <a:pt x="195" y="36"/>
                  <a:pt x="256" y="44"/>
                </a:cubicBezTo>
                <a:cubicBezTo>
                  <a:pt x="281" y="47"/>
                  <a:pt x="307" y="56"/>
                  <a:pt x="332" y="60"/>
                </a:cubicBezTo>
                <a:cubicBezTo>
                  <a:pt x="366" y="71"/>
                  <a:pt x="348" y="67"/>
                  <a:pt x="388" y="72"/>
                </a:cubicBezTo>
                <a:cubicBezTo>
                  <a:pt x="410" y="94"/>
                  <a:pt x="442" y="114"/>
                  <a:pt x="472" y="124"/>
                </a:cubicBezTo>
                <a:cubicBezTo>
                  <a:pt x="522" y="121"/>
                  <a:pt x="537" y="134"/>
                  <a:pt x="556" y="96"/>
                </a:cubicBezTo>
                <a:cubicBezTo>
                  <a:pt x="562" y="50"/>
                  <a:pt x="564" y="61"/>
                  <a:pt x="612" y="56"/>
                </a:cubicBezTo>
                <a:cubicBezTo>
                  <a:pt x="639" y="47"/>
                  <a:pt x="666" y="38"/>
                  <a:pt x="692" y="28"/>
                </a:cubicBezTo>
                <a:cubicBezTo>
                  <a:pt x="707" y="22"/>
                  <a:pt x="740" y="20"/>
                  <a:pt x="740" y="20"/>
                </a:cubicBezTo>
              </a:path>
            </a:pathLst>
          </a:custGeom>
          <a:noFill/>
          <a:ln w="38100" cap="flat" cmpd="sng">
            <a:solidFill>
              <a:srgbClr val="CC33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23" name="Freeform 99"/>
          <p:cNvSpPr>
            <a:spLocks/>
          </p:cNvSpPr>
          <p:nvPr/>
        </p:nvSpPr>
        <p:spPr bwMode="auto">
          <a:xfrm>
            <a:off x="2770188" y="2600325"/>
            <a:ext cx="1597025" cy="274638"/>
          </a:xfrm>
          <a:custGeom>
            <a:avLst/>
            <a:gdLst/>
            <a:ahLst/>
            <a:cxnLst>
              <a:cxn ang="0">
                <a:pos x="0" y="146"/>
              </a:cxn>
              <a:cxn ang="0">
                <a:pos x="54" y="108"/>
              </a:cxn>
              <a:cxn ang="0">
                <a:pos x="215" y="92"/>
              </a:cxn>
              <a:cxn ang="0">
                <a:pos x="285" y="77"/>
              </a:cxn>
              <a:cxn ang="0">
                <a:pos x="346" y="92"/>
              </a:cxn>
              <a:cxn ang="0">
                <a:pos x="400" y="146"/>
              </a:cxn>
              <a:cxn ang="0">
                <a:pos x="507" y="154"/>
              </a:cxn>
              <a:cxn ang="0">
                <a:pos x="638" y="162"/>
              </a:cxn>
              <a:cxn ang="0">
                <a:pos x="699" y="123"/>
              </a:cxn>
              <a:cxn ang="0">
                <a:pos x="730" y="92"/>
              </a:cxn>
              <a:cxn ang="0">
                <a:pos x="761" y="85"/>
              </a:cxn>
              <a:cxn ang="0">
                <a:pos x="814" y="62"/>
              </a:cxn>
              <a:cxn ang="0">
                <a:pos x="922" y="46"/>
              </a:cxn>
              <a:cxn ang="0">
                <a:pos x="1006" y="0"/>
              </a:cxn>
            </a:cxnLst>
            <a:rect l="0" t="0" r="r" b="b"/>
            <a:pathLst>
              <a:path w="1006" h="173">
                <a:moveTo>
                  <a:pt x="0" y="146"/>
                </a:moveTo>
                <a:cubicBezTo>
                  <a:pt x="20" y="128"/>
                  <a:pt x="28" y="116"/>
                  <a:pt x="54" y="108"/>
                </a:cubicBezTo>
                <a:cubicBezTo>
                  <a:pt x="108" y="71"/>
                  <a:pt x="143" y="87"/>
                  <a:pt x="215" y="92"/>
                </a:cubicBezTo>
                <a:cubicBezTo>
                  <a:pt x="247" y="124"/>
                  <a:pt x="263" y="109"/>
                  <a:pt x="285" y="77"/>
                </a:cubicBezTo>
                <a:cubicBezTo>
                  <a:pt x="305" y="81"/>
                  <a:pt x="330" y="79"/>
                  <a:pt x="346" y="92"/>
                </a:cubicBezTo>
                <a:cubicBezTo>
                  <a:pt x="365" y="107"/>
                  <a:pt x="371" y="141"/>
                  <a:pt x="400" y="146"/>
                </a:cubicBezTo>
                <a:cubicBezTo>
                  <a:pt x="435" y="152"/>
                  <a:pt x="471" y="151"/>
                  <a:pt x="507" y="154"/>
                </a:cubicBezTo>
                <a:cubicBezTo>
                  <a:pt x="561" y="173"/>
                  <a:pt x="566" y="168"/>
                  <a:pt x="638" y="162"/>
                </a:cubicBezTo>
                <a:cubicBezTo>
                  <a:pt x="656" y="132"/>
                  <a:pt x="667" y="134"/>
                  <a:pt x="699" y="123"/>
                </a:cubicBezTo>
                <a:cubicBezTo>
                  <a:pt x="710" y="113"/>
                  <a:pt x="717" y="99"/>
                  <a:pt x="730" y="92"/>
                </a:cubicBezTo>
                <a:cubicBezTo>
                  <a:pt x="739" y="87"/>
                  <a:pt x="751" y="88"/>
                  <a:pt x="761" y="85"/>
                </a:cubicBezTo>
                <a:cubicBezTo>
                  <a:pt x="804" y="73"/>
                  <a:pt x="763" y="81"/>
                  <a:pt x="814" y="62"/>
                </a:cubicBezTo>
                <a:cubicBezTo>
                  <a:pt x="846" y="50"/>
                  <a:pt x="893" y="49"/>
                  <a:pt x="922" y="46"/>
                </a:cubicBezTo>
                <a:cubicBezTo>
                  <a:pt x="960" y="35"/>
                  <a:pt x="967" y="0"/>
                  <a:pt x="1006" y="0"/>
                </a:cubicBezTo>
              </a:path>
            </a:pathLst>
          </a:custGeom>
          <a:noFill/>
          <a:ln w="38100" cap="flat" cmpd="sng">
            <a:solidFill>
              <a:srgbClr val="CC33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grpSp>
        <p:nvGrpSpPr>
          <p:cNvPr id="13" name="Group 100"/>
          <p:cNvGrpSpPr>
            <a:grpSpLocks/>
          </p:cNvGrpSpPr>
          <p:nvPr/>
        </p:nvGrpSpPr>
        <p:grpSpPr bwMode="auto">
          <a:xfrm>
            <a:off x="1008063" y="1123950"/>
            <a:ext cx="6459537" cy="4953000"/>
            <a:chOff x="656" y="744"/>
            <a:chExt cx="4069" cy="3120"/>
          </a:xfrm>
        </p:grpSpPr>
        <p:sp>
          <p:nvSpPr>
            <p:cNvPr id="666725" name="Freeform 101"/>
            <p:cNvSpPr>
              <a:spLocks/>
            </p:cNvSpPr>
            <p:nvPr/>
          </p:nvSpPr>
          <p:spPr bwMode="auto">
            <a:xfrm>
              <a:off x="3095" y="2824"/>
              <a:ext cx="849" cy="240"/>
            </a:xfrm>
            <a:custGeom>
              <a:avLst/>
              <a:gdLst/>
              <a:ahLst/>
              <a:cxnLst>
                <a:cxn ang="0">
                  <a:pos x="849" y="240"/>
                </a:cxn>
                <a:cxn ang="0">
                  <a:pos x="673" y="200"/>
                </a:cxn>
                <a:cxn ang="0">
                  <a:pos x="521" y="240"/>
                </a:cxn>
                <a:cxn ang="0">
                  <a:pos x="409" y="200"/>
                </a:cxn>
                <a:cxn ang="0">
                  <a:pos x="289" y="184"/>
                </a:cxn>
                <a:cxn ang="0">
                  <a:pos x="241" y="160"/>
                </a:cxn>
                <a:cxn ang="0">
                  <a:pos x="209" y="112"/>
                </a:cxn>
                <a:cxn ang="0">
                  <a:pos x="161" y="104"/>
                </a:cxn>
                <a:cxn ang="0">
                  <a:pos x="9" y="32"/>
                </a:cxn>
                <a:cxn ang="0">
                  <a:pos x="1" y="0"/>
                </a:cxn>
              </a:cxnLst>
              <a:rect l="0" t="0" r="r" b="b"/>
              <a:pathLst>
                <a:path w="849" h="240">
                  <a:moveTo>
                    <a:pt x="849" y="240"/>
                  </a:moveTo>
                  <a:cubicBezTo>
                    <a:pt x="782" y="234"/>
                    <a:pt x="732" y="230"/>
                    <a:pt x="673" y="200"/>
                  </a:cubicBezTo>
                  <a:cubicBezTo>
                    <a:pt x="621" y="209"/>
                    <a:pt x="572" y="227"/>
                    <a:pt x="521" y="240"/>
                  </a:cubicBezTo>
                  <a:cubicBezTo>
                    <a:pt x="467" y="232"/>
                    <a:pt x="454" y="219"/>
                    <a:pt x="409" y="200"/>
                  </a:cubicBezTo>
                  <a:cubicBezTo>
                    <a:pt x="380" y="188"/>
                    <a:pt x="302" y="185"/>
                    <a:pt x="289" y="184"/>
                  </a:cubicBezTo>
                  <a:cubicBezTo>
                    <a:pt x="273" y="179"/>
                    <a:pt x="252" y="174"/>
                    <a:pt x="241" y="160"/>
                  </a:cubicBezTo>
                  <a:cubicBezTo>
                    <a:pt x="220" y="133"/>
                    <a:pt x="252" y="131"/>
                    <a:pt x="209" y="112"/>
                  </a:cubicBezTo>
                  <a:cubicBezTo>
                    <a:pt x="194" y="105"/>
                    <a:pt x="177" y="107"/>
                    <a:pt x="161" y="104"/>
                  </a:cubicBezTo>
                  <a:cubicBezTo>
                    <a:pt x="116" y="37"/>
                    <a:pt x="90" y="40"/>
                    <a:pt x="9" y="32"/>
                  </a:cubicBezTo>
                  <a:cubicBezTo>
                    <a:pt x="0" y="5"/>
                    <a:pt x="1" y="16"/>
                    <a:pt x="1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26" name="Freeform 102"/>
            <p:cNvSpPr>
              <a:spLocks/>
            </p:cNvSpPr>
            <p:nvPr/>
          </p:nvSpPr>
          <p:spPr bwMode="auto">
            <a:xfrm>
              <a:off x="3016" y="2928"/>
              <a:ext cx="696" cy="456"/>
            </a:xfrm>
            <a:custGeom>
              <a:avLst/>
              <a:gdLst/>
              <a:ahLst/>
              <a:cxnLst>
                <a:cxn ang="0">
                  <a:pos x="696" y="456"/>
                </a:cxn>
                <a:cxn ang="0">
                  <a:pos x="520" y="424"/>
                </a:cxn>
                <a:cxn ang="0">
                  <a:pos x="440" y="376"/>
                </a:cxn>
                <a:cxn ang="0">
                  <a:pos x="408" y="328"/>
                </a:cxn>
                <a:cxn ang="0">
                  <a:pos x="392" y="304"/>
                </a:cxn>
                <a:cxn ang="0">
                  <a:pos x="328" y="168"/>
                </a:cxn>
                <a:cxn ang="0">
                  <a:pos x="272" y="136"/>
                </a:cxn>
                <a:cxn ang="0">
                  <a:pos x="224" y="120"/>
                </a:cxn>
                <a:cxn ang="0">
                  <a:pos x="56" y="88"/>
                </a:cxn>
                <a:cxn ang="0">
                  <a:pos x="0" y="0"/>
                </a:cxn>
              </a:cxnLst>
              <a:rect l="0" t="0" r="r" b="b"/>
              <a:pathLst>
                <a:path w="696" h="456">
                  <a:moveTo>
                    <a:pt x="696" y="456"/>
                  </a:moveTo>
                  <a:cubicBezTo>
                    <a:pt x="638" y="437"/>
                    <a:pt x="579" y="439"/>
                    <a:pt x="520" y="424"/>
                  </a:cubicBezTo>
                  <a:cubicBezTo>
                    <a:pt x="495" y="399"/>
                    <a:pt x="474" y="387"/>
                    <a:pt x="440" y="376"/>
                  </a:cubicBezTo>
                  <a:cubicBezTo>
                    <a:pt x="429" y="360"/>
                    <a:pt x="419" y="344"/>
                    <a:pt x="408" y="328"/>
                  </a:cubicBezTo>
                  <a:cubicBezTo>
                    <a:pt x="403" y="320"/>
                    <a:pt x="392" y="304"/>
                    <a:pt x="392" y="304"/>
                  </a:cubicBezTo>
                  <a:cubicBezTo>
                    <a:pt x="385" y="254"/>
                    <a:pt x="368" y="201"/>
                    <a:pt x="328" y="168"/>
                  </a:cubicBezTo>
                  <a:cubicBezTo>
                    <a:pt x="315" y="157"/>
                    <a:pt x="287" y="142"/>
                    <a:pt x="272" y="136"/>
                  </a:cubicBezTo>
                  <a:cubicBezTo>
                    <a:pt x="256" y="130"/>
                    <a:pt x="224" y="120"/>
                    <a:pt x="224" y="120"/>
                  </a:cubicBezTo>
                  <a:cubicBezTo>
                    <a:pt x="157" y="53"/>
                    <a:pt x="252" y="137"/>
                    <a:pt x="56" y="88"/>
                  </a:cubicBezTo>
                  <a:cubicBezTo>
                    <a:pt x="41" y="84"/>
                    <a:pt x="11" y="11"/>
                    <a:pt x="0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27" name="Freeform 103"/>
            <p:cNvSpPr>
              <a:spLocks/>
            </p:cNvSpPr>
            <p:nvPr/>
          </p:nvSpPr>
          <p:spPr bwMode="auto">
            <a:xfrm>
              <a:off x="3552" y="2224"/>
              <a:ext cx="824" cy="96"/>
            </a:xfrm>
            <a:custGeom>
              <a:avLst/>
              <a:gdLst/>
              <a:ahLst/>
              <a:cxnLst>
                <a:cxn ang="0">
                  <a:pos x="824" y="80"/>
                </a:cxn>
                <a:cxn ang="0">
                  <a:pos x="584" y="56"/>
                </a:cxn>
                <a:cxn ang="0">
                  <a:pos x="416" y="96"/>
                </a:cxn>
                <a:cxn ang="0">
                  <a:pos x="384" y="88"/>
                </a:cxn>
                <a:cxn ang="0">
                  <a:pos x="280" y="80"/>
                </a:cxn>
                <a:cxn ang="0">
                  <a:pos x="256" y="64"/>
                </a:cxn>
                <a:cxn ang="0">
                  <a:pos x="176" y="56"/>
                </a:cxn>
                <a:cxn ang="0">
                  <a:pos x="128" y="40"/>
                </a:cxn>
                <a:cxn ang="0">
                  <a:pos x="104" y="24"/>
                </a:cxn>
                <a:cxn ang="0">
                  <a:pos x="0" y="0"/>
                </a:cxn>
              </a:cxnLst>
              <a:rect l="0" t="0" r="r" b="b"/>
              <a:pathLst>
                <a:path w="824" h="96">
                  <a:moveTo>
                    <a:pt x="824" y="80"/>
                  </a:moveTo>
                  <a:cubicBezTo>
                    <a:pt x="741" y="72"/>
                    <a:pt x="669" y="61"/>
                    <a:pt x="584" y="56"/>
                  </a:cubicBezTo>
                  <a:cubicBezTo>
                    <a:pt x="522" y="35"/>
                    <a:pt x="473" y="82"/>
                    <a:pt x="416" y="96"/>
                  </a:cubicBezTo>
                  <a:cubicBezTo>
                    <a:pt x="405" y="93"/>
                    <a:pt x="395" y="89"/>
                    <a:pt x="384" y="88"/>
                  </a:cubicBezTo>
                  <a:cubicBezTo>
                    <a:pt x="349" y="84"/>
                    <a:pt x="314" y="86"/>
                    <a:pt x="280" y="80"/>
                  </a:cubicBezTo>
                  <a:cubicBezTo>
                    <a:pt x="271" y="78"/>
                    <a:pt x="265" y="66"/>
                    <a:pt x="256" y="64"/>
                  </a:cubicBezTo>
                  <a:cubicBezTo>
                    <a:pt x="230" y="58"/>
                    <a:pt x="203" y="59"/>
                    <a:pt x="176" y="56"/>
                  </a:cubicBezTo>
                  <a:cubicBezTo>
                    <a:pt x="160" y="51"/>
                    <a:pt x="142" y="49"/>
                    <a:pt x="128" y="40"/>
                  </a:cubicBezTo>
                  <a:cubicBezTo>
                    <a:pt x="120" y="35"/>
                    <a:pt x="113" y="27"/>
                    <a:pt x="104" y="24"/>
                  </a:cubicBezTo>
                  <a:cubicBezTo>
                    <a:pt x="67" y="13"/>
                    <a:pt x="35" y="17"/>
                    <a:pt x="0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28" name="Freeform 104"/>
            <p:cNvSpPr>
              <a:spLocks/>
            </p:cNvSpPr>
            <p:nvPr/>
          </p:nvSpPr>
          <p:spPr bwMode="auto">
            <a:xfrm>
              <a:off x="3152" y="1464"/>
              <a:ext cx="144" cy="280"/>
            </a:xfrm>
            <a:custGeom>
              <a:avLst/>
              <a:gdLst/>
              <a:ahLst/>
              <a:cxnLst>
                <a:cxn ang="0">
                  <a:pos x="0" y="280"/>
                </a:cxn>
                <a:cxn ang="0">
                  <a:pos x="28" y="216"/>
                </a:cxn>
                <a:cxn ang="0">
                  <a:pos x="60" y="160"/>
                </a:cxn>
                <a:cxn ang="0">
                  <a:pos x="84" y="96"/>
                </a:cxn>
                <a:cxn ang="0">
                  <a:pos x="144" y="0"/>
                </a:cxn>
              </a:cxnLst>
              <a:rect l="0" t="0" r="r" b="b"/>
              <a:pathLst>
                <a:path w="144" h="280">
                  <a:moveTo>
                    <a:pt x="0" y="280"/>
                  </a:moveTo>
                  <a:cubicBezTo>
                    <a:pt x="31" y="259"/>
                    <a:pt x="11" y="246"/>
                    <a:pt x="28" y="216"/>
                  </a:cubicBezTo>
                  <a:cubicBezTo>
                    <a:pt x="37" y="199"/>
                    <a:pt x="60" y="160"/>
                    <a:pt x="60" y="160"/>
                  </a:cubicBezTo>
                  <a:cubicBezTo>
                    <a:pt x="63" y="141"/>
                    <a:pt x="77" y="114"/>
                    <a:pt x="84" y="96"/>
                  </a:cubicBezTo>
                  <a:cubicBezTo>
                    <a:pt x="101" y="51"/>
                    <a:pt x="144" y="50"/>
                    <a:pt x="144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29" name="Freeform 105"/>
            <p:cNvSpPr>
              <a:spLocks/>
            </p:cNvSpPr>
            <p:nvPr/>
          </p:nvSpPr>
          <p:spPr bwMode="auto">
            <a:xfrm>
              <a:off x="2824" y="1208"/>
              <a:ext cx="1901" cy="7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" y="8"/>
                </a:cxn>
                <a:cxn ang="0">
                  <a:pos x="116" y="104"/>
                </a:cxn>
                <a:cxn ang="0">
                  <a:pos x="160" y="144"/>
                </a:cxn>
                <a:cxn ang="0">
                  <a:pos x="256" y="200"/>
                </a:cxn>
                <a:cxn ang="0">
                  <a:pos x="542" y="206"/>
                </a:cxn>
                <a:cxn ang="0">
                  <a:pos x="841" y="206"/>
                </a:cxn>
                <a:cxn ang="0">
                  <a:pos x="969" y="266"/>
                </a:cxn>
                <a:cxn ang="0">
                  <a:pos x="1066" y="288"/>
                </a:cxn>
                <a:cxn ang="0">
                  <a:pos x="1283" y="370"/>
                </a:cxn>
                <a:cxn ang="0">
                  <a:pos x="1440" y="505"/>
                </a:cxn>
                <a:cxn ang="0">
                  <a:pos x="1604" y="610"/>
                </a:cxn>
                <a:cxn ang="0">
                  <a:pos x="1724" y="692"/>
                </a:cxn>
                <a:cxn ang="0">
                  <a:pos x="1832" y="732"/>
                </a:cxn>
                <a:cxn ang="0">
                  <a:pos x="1892" y="760"/>
                </a:cxn>
                <a:cxn ang="0">
                  <a:pos x="1780" y="725"/>
                </a:cxn>
              </a:cxnLst>
              <a:rect l="0" t="0" r="r" b="b"/>
              <a:pathLst>
                <a:path w="1901" h="761">
                  <a:moveTo>
                    <a:pt x="0" y="0"/>
                  </a:moveTo>
                  <a:cubicBezTo>
                    <a:pt x="8" y="3"/>
                    <a:pt x="18" y="2"/>
                    <a:pt x="24" y="8"/>
                  </a:cubicBezTo>
                  <a:cubicBezTo>
                    <a:pt x="44" y="28"/>
                    <a:pt x="102" y="83"/>
                    <a:pt x="116" y="104"/>
                  </a:cubicBezTo>
                  <a:cubicBezTo>
                    <a:pt x="125" y="118"/>
                    <a:pt x="160" y="144"/>
                    <a:pt x="160" y="144"/>
                  </a:cubicBezTo>
                  <a:cubicBezTo>
                    <a:pt x="188" y="185"/>
                    <a:pt x="213" y="184"/>
                    <a:pt x="256" y="200"/>
                  </a:cubicBezTo>
                  <a:cubicBezTo>
                    <a:pt x="351" y="236"/>
                    <a:pt x="440" y="197"/>
                    <a:pt x="542" y="206"/>
                  </a:cubicBezTo>
                  <a:cubicBezTo>
                    <a:pt x="670" y="201"/>
                    <a:pt x="732" y="189"/>
                    <a:pt x="841" y="206"/>
                  </a:cubicBezTo>
                  <a:cubicBezTo>
                    <a:pt x="872" y="211"/>
                    <a:pt x="940" y="256"/>
                    <a:pt x="969" y="266"/>
                  </a:cubicBezTo>
                  <a:cubicBezTo>
                    <a:pt x="1012" y="280"/>
                    <a:pt x="1023" y="276"/>
                    <a:pt x="1066" y="288"/>
                  </a:cubicBezTo>
                  <a:cubicBezTo>
                    <a:pt x="1130" y="318"/>
                    <a:pt x="1222" y="326"/>
                    <a:pt x="1283" y="370"/>
                  </a:cubicBezTo>
                  <a:cubicBezTo>
                    <a:pt x="1358" y="438"/>
                    <a:pt x="1369" y="487"/>
                    <a:pt x="1440" y="505"/>
                  </a:cubicBezTo>
                  <a:cubicBezTo>
                    <a:pt x="1469" y="524"/>
                    <a:pt x="1571" y="599"/>
                    <a:pt x="1604" y="610"/>
                  </a:cubicBezTo>
                  <a:cubicBezTo>
                    <a:pt x="1662" y="668"/>
                    <a:pt x="1653" y="657"/>
                    <a:pt x="1724" y="692"/>
                  </a:cubicBezTo>
                  <a:cubicBezTo>
                    <a:pt x="1785" y="723"/>
                    <a:pt x="1758" y="721"/>
                    <a:pt x="1832" y="732"/>
                  </a:cubicBezTo>
                  <a:cubicBezTo>
                    <a:pt x="1858" y="758"/>
                    <a:pt x="1901" y="761"/>
                    <a:pt x="1892" y="760"/>
                  </a:cubicBezTo>
                  <a:lnTo>
                    <a:pt x="1780" y="725"/>
                  </a:ln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0" name="Freeform 106"/>
            <p:cNvSpPr>
              <a:spLocks/>
            </p:cNvSpPr>
            <p:nvPr/>
          </p:nvSpPr>
          <p:spPr bwMode="auto">
            <a:xfrm>
              <a:off x="656" y="1920"/>
              <a:ext cx="1888" cy="744"/>
            </a:xfrm>
            <a:custGeom>
              <a:avLst/>
              <a:gdLst/>
              <a:ahLst/>
              <a:cxnLst>
                <a:cxn ang="0">
                  <a:pos x="1888" y="744"/>
                </a:cxn>
                <a:cxn ang="0">
                  <a:pos x="1784" y="684"/>
                </a:cxn>
                <a:cxn ang="0">
                  <a:pos x="1628" y="640"/>
                </a:cxn>
                <a:cxn ang="0">
                  <a:pos x="1484" y="584"/>
                </a:cxn>
                <a:cxn ang="0">
                  <a:pos x="1244" y="480"/>
                </a:cxn>
                <a:cxn ang="0">
                  <a:pos x="1156" y="444"/>
                </a:cxn>
                <a:cxn ang="0">
                  <a:pos x="1120" y="416"/>
                </a:cxn>
                <a:cxn ang="0">
                  <a:pos x="1056" y="388"/>
                </a:cxn>
                <a:cxn ang="0">
                  <a:pos x="1008" y="336"/>
                </a:cxn>
                <a:cxn ang="0">
                  <a:pos x="936" y="344"/>
                </a:cxn>
                <a:cxn ang="0">
                  <a:pos x="880" y="296"/>
                </a:cxn>
                <a:cxn ang="0">
                  <a:pos x="768" y="284"/>
                </a:cxn>
                <a:cxn ang="0">
                  <a:pos x="724" y="224"/>
                </a:cxn>
                <a:cxn ang="0">
                  <a:pos x="608" y="172"/>
                </a:cxn>
                <a:cxn ang="0">
                  <a:pos x="552" y="136"/>
                </a:cxn>
                <a:cxn ang="0">
                  <a:pos x="420" y="52"/>
                </a:cxn>
                <a:cxn ang="0">
                  <a:pos x="352" y="20"/>
                </a:cxn>
                <a:cxn ang="0">
                  <a:pos x="268" y="24"/>
                </a:cxn>
                <a:cxn ang="0">
                  <a:pos x="148" y="0"/>
                </a:cxn>
                <a:cxn ang="0">
                  <a:pos x="48" y="40"/>
                </a:cxn>
                <a:cxn ang="0">
                  <a:pos x="24" y="56"/>
                </a:cxn>
                <a:cxn ang="0">
                  <a:pos x="0" y="64"/>
                </a:cxn>
              </a:cxnLst>
              <a:rect l="0" t="0" r="r" b="b"/>
              <a:pathLst>
                <a:path w="1888" h="744">
                  <a:moveTo>
                    <a:pt x="1888" y="744"/>
                  </a:moveTo>
                  <a:cubicBezTo>
                    <a:pt x="1871" y="734"/>
                    <a:pt x="1827" y="701"/>
                    <a:pt x="1784" y="684"/>
                  </a:cubicBezTo>
                  <a:cubicBezTo>
                    <a:pt x="1738" y="670"/>
                    <a:pt x="1675" y="649"/>
                    <a:pt x="1628" y="640"/>
                  </a:cubicBezTo>
                  <a:cubicBezTo>
                    <a:pt x="1599" y="625"/>
                    <a:pt x="1515" y="596"/>
                    <a:pt x="1484" y="584"/>
                  </a:cubicBezTo>
                  <a:cubicBezTo>
                    <a:pt x="1379" y="545"/>
                    <a:pt x="1356" y="524"/>
                    <a:pt x="1244" y="480"/>
                  </a:cubicBezTo>
                  <a:cubicBezTo>
                    <a:pt x="1213" y="473"/>
                    <a:pt x="1184" y="456"/>
                    <a:pt x="1156" y="444"/>
                  </a:cubicBezTo>
                  <a:cubicBezTo>
                    <a:pt x="1138" y="436"/>
                    <a:pt x="1138" y="426"/>
                    <a:pt x="1120" y="416"/>
                  </a:cubicBezTo>
                  <a:cubicBezTo>
                    <a:pt x="1103" y="407"/>
                    <a:pt x="1056" y="388"/>
                    <a:pt x="1056" y="388"/>
                  </a:cubicBezTo>
                  <a:cubicBezTo>
                    <a:pt x="1037" y="375"/>
                    <a:pt x="1028" y="343"/>
                    <a:pt x="1008" y="336"/>
                  </a:cubicBezTo>
                  <a:cubicBezTo>
                    <a:pt x="988" y="329"/>
                    <a:pt x="957" y="351"/>
                    <a:pt x="936" y="344"/>
                  </a:cubicBezTo>
                  <a:cubicBezTo>
                    <a:pt x="926" y="306"/>
                    <a:pt x="904" y="328"/>
                    <a:pt x="880" y="296"/>
                  </a:cubicBezTo>
                  <a:cubicBezTo>
                    <a:pt x="826" y="302"/>
                    <a:pt x="819" y="294"/>
                    <a:pt x="768" y="284"/>
                  </a:cubicBezTo>
                  <a:cubicBezTo>
                    <a:pt x="751" y="234"/>
                    <a:pt x="766" y="252"/>
                    <a:pt x="724" y="224"/>
                  </a:cubicBezTo>
                  <a:cubicBezTo>
                    <a:pt x="665" y="135"/>
                    <a:pt x="697" y="276"/>
                    <a:pt x="608" y="172"/>
                  </a:cubicBezTo>
                  <a:cubicBezTo>
                    <a:pt x="600" y="163"/>
                    <a:pt x="559" y="146"/>
                    <a:pt x="552" y="136"/>
                  </a:cubicBezTo>
                  <a:cubicBezTo>
                    <a:pt x="511" y="78"/>
                    <a:pt x="483" y="58"/>
                    <a:pt x="420" y="52"/>
                  </a:cubicBezTo>
                  <a:cubicBezTo>
                    <a:pt x="409" y="47"/>
                    <a:pt x="363" y="24"/>
                    <a:pt x="352" y="20"/>
                  </a:cubicBezTo>
                  <a:cubicBezTo>
                    <a:pt x="336" y="14"/>
                    <a:pt x="268" y="24"/>
                    <a:pt x="268" y="24"/>
                  </a:cubicBezTo>
                  <a:cubicBezTo>
                    <a:pt x="198" y="41"/>
                    <a:pt x="213" y="16"/>
                    <a:pt x="148" y="0"/>
                  </a:cubicBezTo>
                  <a:cubicBezTo>
                    <a:pt x="65" y="14"/>
                    <a:pt x="88" y="0"/>
                    <a:pt x="48" y="40"/>
                  </a:cubicBezTo>
                  <a:cubicBezTo>
                    <a:pt x="41" y="47"/>
                    <a:pt x="33" y="52"/>
                    <a:pt x="24" y="56"/>
                  </a:cubicBezTo>
                  <a:cubicBezTo>
                    <a:pt x="16" y="60"/>
                    <a:pt x="0" y="64"/>
                    <a:pt x="0" y="64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1" name="Freeform 107"/>
            <p:cNvSpPr>
              <a:spLocks/>
            </p:cNvSpPr>
            <p:nvPr/>
          </p:nvSpPr>
          <p:spPr bwMode="auto">
            <a:xfrm>
              <a:off x="2724" y="2624"/>
              <a:ext cx="447" cy="1240"/>
            </a:xfrm>
            <a:custGeom>
              <a:avLst/>
              <a:gdLst/>
              <a:ahLst/>
              <a:cxnLst>
                <a:cxn ang="0">
                  <a:pos x="396" y="0"/>
                </a:cxn>
                <a:cxn ang="0">
                  <a:pos x="396" y="80"/>
                </a:cxn>
                <a:cxn ang="0">
                  <a:pos x="356" y="160"/>
                </a:cxn>
                <a:cxn ang="0">
                  <a:pos x="348" y="208"/>
                </a:cxn>
                <a:cxn ang="0">
                  <a:pos x="284" y="240"/>
                </a:cxn>
                <a:cxn ang="0">
                  <a:pos x="212" y="304"/>
                </a:cxn>
                <a:cxn ang="0">
                  <a:pos x="116" y="384"/>
                </a:cxn>
                <a:cxn ang="0">
                  <a:pos x="84" y="424"/>
                </a:cxn>
                <a:cxn ang="0">
                  <a:pos x="76" y="456"/>
                </a:cxn>
                <a:cxn ang="0">
                  <a:pos x="28" y="496"/>
                </a:cxn>
                <a:cxn ang="0">
                  <a:pos x="28" y="544"/>
                </a:cxn>
                <a:cxn ang="0">
                  <a:pos x="4" y="648"/>
                </a:cxn>
                <a:cxn ang="0">
                  <a:pos x="60" y="712"/>
                </a:cxn>
                <a:cxn ang="0">
                  <a:pos x="44" y="752"/>
                </a:cxn>
                <a:cxn ang="0">
                  <a:pos x="28" y="800"/>
                </a:cxn>
                <a:cxn ang="0">
                  <a:pos x="252" y="848"/>
                </a:cxn>
                <a:cxn ang="0">
                  <a:pos x="300" y="1064"/>
                </a:cxn>
                <a:cxn ang="0">
                  <a:pos x="324" y="1168"/>
                </a:cxn>
                <a:cxn ang="0">
                  <a:pos x="332" y="1208"/>
                </a:cxn>
                <a:cxn ang="0">
                  <a:pos x="340" y="1240"/>
                </a:cxn>
              </a:cxnLst>
              <a:rect l="0" t="0" r="r" b="b"/>
              <a:pathLst>
                <a:path w="447" h="1240">
                  <a:moveTo>
                    <a:pt x="396" y="0"/>
                  </a:moveTo>
                  <a:cubicBezTo>
                    <a:pt x="434" y="25"/>
                    <a:pt x="447" y="63"/>
                    <a:pt x="396" y="80"/>
                  </a:cubicBezTo>
                  <a:cubicBezTo>
                    <a:pt x="386" y="110"/>
                    <a:pt x="363" y="129"/>
                    <a:pt x="356" y="160"/>
                  </a:cubicBezTo>
                  <a:cubicBezTo>
                    <a:pt x="352" y="176"/>
                    <a:pt x="358" y="195"/>
                    <a:pt x="348" y="208"/>
                  </a:cubicBezTo>
                  <a:cubicBezTo>
                    <a:pt x="334" y="227"/>
                    <a:pt x="302" y="225"/>
                    <a:pt x="284" y="240"/>
                  </a:cubicBezTo>
                  <a:cubicBezTo>
                    <a:pt x="261" y="259"/>
                    <a:pt x="231" y="281"/>
                    <a:pt x="212" y="304"/>
                  </a:cubicBezTo>
                  <a:cubicBezTo>
                    <a:pt x="182" y="340"/>
                    <a:pt x="162" y="369"/>
                    <a:pt x="116" y="384"/>
                  </a:cubicBezTo>
                  <a:cubicBezTo>
                    <a:pt x="90" y="462"/>
                    <a:pt x="132" y="352"/>
                    <a:pt x="84" y="424"/>
                  </a:cubicBezTo>
                  <a:cubicBezTo>
                    <a:pt x="78" y="433"/>
                    <a:pt x="82" y="447"/>
                    <a:pt x="76" y="456"/>
                  </a:cubicBezTo>
                  <a:cubicBezTo>
                    <a:pt x="64" y="473"/>
                    <a:pt x="43" y="481"/>
                    <a:pt x="28" y="496"/>
                  </a:cubicBezTo>
                  <a:cubicBezTo>
                    <a:pt x="0" y="579"/>
                    <a:pt x="34" y="461"/>
                    <a:pt x="28" y="544"/>
                  </a:cubicBezTo>
                  <a:cubicBezTo>
                    <a:pt x="24" y="590"/>
                    <a:pt x="16" y="611"/>
                    <a:pt x="4" y="648"/>
                  </a:cubicBezTo>
                  <a:cubicBezTo>
                    <a:pt x="41" y="660"/>
                    <a:pt x="51" y="674"/>
                    <a:pt x="60" y="712"/>
                  </a:cubicBezTo>
                  <a:cubicBezTo>
                    <a:pt x="55" y="725"/>
                    <a:pt x="49" y="739"/>
                    <a:pt x="44" y="752"/>
                  </a:cubicBezTo>
                  <a:cubicBezTo>
                    <a:pt x="38" y="768"/>
                    <a:pt x="28" y="800"/>
                    <a:pt x="28" y="800"/>
                  </a:cubicBezTo>
                  <a:cubicBezTo>
                    <a:pt x="52" y="872"/>
                    <a:pt x="252" y="848"/>
                    <a:pt x="252" y="848"/>
                  </a:cubicBezTo>
                  <a:cubicBezTo>
                    <a:pt x="312" y="908"/>
                    <a:pt x="274" y="986"/>
                    <a:pt x="300" y="1064"/>
                  </a:cubicBezTo>
                  <a:cubicBezTo>
                    <a:pt x="310" y="1137"/>
                    <a:pt x="302" y="1102"/>
                    <a:pt x="324" y="1168"/>
                  </a:cubicBezTo>
                  <a:cubicBezTo>
                    <a:pt x="328" y="1181"/>
                    <a:pt x="329" y="1195"/>
                    <a:pt x="332" y="1208"/>
                  </a:cubicBezTo>
                  <a:cubicBezTo>
                    <a:pt x="334" y="1219"/>
                    <a:pt x="340" y="1240"/>
                    <a:pt x="340" y="1240"/>
                  </a:cubicBezTo>
                </a:path>
              </a:pathLst>
            </a:custGeom>
            <a:noFill/>
            <a:ln w="57150" cmpd="sng">
              <a:solidFill>
                <a:srgbClr val="00808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2" name="Freeform 108"/>
            <p:cNvSpPr>
              <a:spLocks/>
            </p:cNvSpPr>
            <p:nvPr/>
          </p:nvSpPr>
          <p:spPr bwMode="auto">
            <a:xfrm>
              <a:off x="3107" y="2205"/>
              <a:ext cx="453" cy="409"/>
            </a:xfrm>
            <a:custGeom>
              <a:avLst/>
              <a:gdLst/>
              <a:ahLst/>
              <a:cxnLst>
                <a:cxn ang="0">
                  <a:pos x="453" y="0"/>
                </a:cxn>
                <a:cxn ang="0">
                  <a:pos x="227" y="91"/>
                </a:cxn>
                <a:cxn ang="0">
                  <a:pos x="91" y="227"/>
                </a:cxn>
                <a:cxn ang="0">
                  <a:pos x="0" y="409"/>
                </a:cxn>
              </a:cxnLst>
              <a:rect l="0" t="0" r="r" b="b"/>
              <a:pathLst>
                <a:path w="453" h="409">
                  <a:moveTo>
                    <a:pt x="453" y="0"/>
                  </a:moveTo>
                  <a:cubicBezTo>
                    <a:pt x="370" y="26"/>
                    <a:pt x="287" y="53"/>
                    <a:pt x="227" y="91"/>
                  </a:cubicBezTo>
                  <a:cubicBezTo>
                    <a:pt x="167" y="129"/>
                    <a:pt x="129" y="174"/>
                    <a:pt x="91" y="227"/>
                  </a:cubicBezTo>
                  <a:cubicBezTo>
                    <a:pt x="53" y="280"/>
                    <a:pt x="26" y="344"/>
                    <a:pt x="0" y="409"/>
                  </a:cubicBezTo>
                </a:path>
              </a:pathLst>
            </a:custGeom>
            <a:noFill/>
            <a:ln w="76200" cap="rnd" cmpd="sng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3" name="Freeform 109"/>
            <p:cNvSpPr>
              <a:spLocks/>
            </p:cNvSpPr>
            <p:nvPr/>
          </p:nvSpPr>
          <p:spPr bwMode="auto">
            <a:xfrm>
              <a:off x="1680" y="744"/>
              <a:ext cx="1128" cy="440"/>
            </a:xfrm>
            <a:custGeom>
              <a:avLst/>
              <a:gdLst/>
              <a:ahLst/>
              <a:cxnLst>
                <a:cxn ang="0">
                  <a:pos x="1128" y="440"/>
                </a:cxn>
                <a:cxn ang="0">
                  <a:pos x="1004" y="408"/>
                </a:cxn>
                <a:cxn ang="0">
                  <a:pos x="896" y="372"/>
                </a:cxn>
                <a:cxn ang="0">
                  <a:pos x="888" y="360"/>
                </a:cxn>
                <a:cxn ang="0">
                  <a:pos x="808" y="320"/>
                </a:cxn>
                <a:cxn ang="0">
                  <a:pos x="728" y="268"/>
                </a:cxn>
                <a:cxn ang="0">
                  <a:pos x="656" y="236"/>
                </a:cxn>
                <a:cxn ang="0">
                  <a:pos x="584" y="208"/>
                </a:cxn>
                <a:cxn ang="0">
                  <a:pos x="480" y="200"/>
                </a:cxn>
                <a:cxn ang="0">
                  <a:pos x="256" y="216"/>
                </a:cxn>
                <a:cxn ang="0">
                  <a:pos x="192" y="208"/>
                </a:cxn>
                <a:cxn ang="0">
                  <a:pos x="152" y="160"/>
                </a:cxn>
                <a:cxn ang="0">
                  <a:pos x="64" y="120"/>
                </a:cxn>
                <a:cxn ang="0">
                  <a:pos x="0" y="0"/>
                </a:cxn>
              </a:cxnLst>
              <a:rect l="0" t="0" r="r" b="b"/>
              <a:pathLst>
                <a:path w="1128" h="440">
                  <a:moveTo>
                    <a:pt x="1128" y="440"/>
                  </a:moveTo>
                  <a:cubicBezTo>
                    <a:pt x="1083" y="437"/>
                    <a:pt x="1049" y="416"/>
                    <a:pt x="1004" y="408"/>
                  </a:cubicBezTo>
                  <a:cubicBezTo>
                    <a:pt x="979" y="403"/>
                    <a:pt x="920" y="380"/>
                    <a:pt x="896" y="372"/>
                  </a:cubicBezTo>
                  <a:cubicBezTo>
                    <a:pt x="869" y="363"/>
                    <a:pt x="912" y="372"/>
                    <a:pt x="888" y="360"/>
                  </a:cubicBezTo>
                  <a:cubicBezTo>
                    <a:pt x="862" y="347"/>
                    <a:pt x="830" y="339"/>
                    <a:pt x="808" y="320"/>
                  </a:cubicBezTo>
                  <a:cubicBezTo>
                    <a:pt x="780" y="297"/>
                    <a:pt x="768" y="281"/>
                    <a:pt x="728" y="268"/>
                  </a:cubicBezTo>
                  <a:cubicBezTo>
                    <a:pt x="712" y="263"/>
                    <a:pt x="671" y="244"/>
                    <a:pt x="656" y="236"/>
                  </a:cubicBezTo>
                  <a:cubicBezTo>
                    <a:pt x="628" y="222"/>
                    <a:pt x="615" y="210"/>
                    <a:pt x="584" y="208"/>
                  </a:cubicBezTo>
                  <a:cubicBezTo>
                    <a:pt x="549" y="205"/>
                    <a:pt x="515" y="203"/>
                    <a:pt x="480" y="200"/>
                  </a:cubicBezTo>
                  <a:cubicBezTo>
                    <a:pt x="405" y="185"/>
                    <a:pt x="329" y="198"/>
                    <a:pt x="256" y="216"/>
                  </a:cubicBezTo>
                  <a:cubicBezTo>
                    <a:pt x="235" y="213"/>
                    <a:pt x="212" y="216"/>
                    <a:pt x="192" y="208"/>
                  </a:cubicBezTo>
                  <a:cubicBezTo>
                    <a:pt x="173" y="200"/>
                    <a:pt x="170" y="171"/>
                    <a:pt x="152" y="160"/>
                  </a:cubicBezTo>
                  <a:cubicBezTo>
                    <a:pt x="113" y="135"/>
                    <a:pt x="99" y="132"/>
                    <a:pt x="64" y="120"/>
                  </a:cubicBezTo>
                  <a:cubicBezTo>
                    <a:pt x="28" y="84"/>
                    <a:pt x="22" y="44"/>
                    <a:pt x="0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4" name="Freeform 110"/>
            <p:cNvSpPr>
              <a:spLocks/>
            </p:cNvSpPr>
            <p:nvPr/>
          </p:nvSpPr>
          <p:spPr bwMode="auto">
            <a:xfrm>
              <a:off x="1462" y="2208"/>
              <a:ext cx="218" cy="1032"/>
            </a:xfrm>
            <a:custGeom>
              <a:avLst/>
              <a:gdLst/>
              <a:ahLst/>
              <a:cxnLst>
                <a:cxn ang="0">
                  <a:pos x="218" y="1032"/>
                </a:cxn>
                <a:cxn ang="0">
                  <a:pos x="194" y="936"/>
                </a:cxn>
                <a:cxn ang="0">
                  <a:pos x="138" y="792"/>
                </a:cxn>
                <a:cxn ang="0">
                  <a:pos x="114" y="704"/>
                </a:cxn>
                <a:cxn ang="0">
                  <a:pos x="98" y="656"/>
                </a:cxn>
                <a:cxn ang="0">
                  <a:pos x="90" y="632"/>
                </a:cxn>
                <a:cxn ang="0">
                  <a:pos x="42" y="384"/>
                </a:cxn>
                <a:cxn ang="0">
                  <a:pos x="42" y="308"/>
                </a:cxn>
                <a:cxn ang="0">
                  <a:pos x="90" y="200"/>
                </a:cxn>
                <a:cxn ang="0">
                  <a:pos x="82" y="40"/>
                </a:cxn>
                <a:cxn ang="0">
                  <a:pos x="74" y="0"/>
                </a:cxn>
              </a:cxnLst>
              <a:rect l="0" t="0" r="r" b="b"/>
              <a:pathLst>
                <a:path w="218" h="1032">
                  <a:moveTo>
                    <a:pt x="218" y="1032"/>
                  </a:moveTo>
                  <a:cubicBezTo>
                    <a:pt x="202" y="1000"/>
                    <a:pt x="212" y="967"/>
                    <a:pt x="194" y="936"/>
                  </a:cubicBezTo>
                  <a:cubicBezTo>
                    <a:pt x="167" y="890"/>
                    <a:pt x="167" y="836"/>
                    <a:pt x="138" y="792"/>
                  </a:cubicBezTo>
                  <a:cubicBezTo>
                    <a:pt x="131" y="763"/>
                    <a:pt x="123" y="733"/>
                    <a:pt x="114" y="704"/>
                  </a:cubicBezTo>
                  <a:cubicBezTo>
                    <a:pt x="109" y="688"/>
                    <a:pt x="103" y="672"/>
                    <a:pt x="98" y="656"/>
                  </a:cubicBezTo>
                  <a:cubicBezTo>
                    <a:pt x="95" y="648"/>
                    <a:pt x="90" y="632"/>
                    <a:pt x="90" y="632"/>
                  </a:cubicBezTo>
                  <a:cubicBezTo>
                    <a:pt x="85" y="531"/>
                    <a:pt x="99" y="460"/>
                    <a:pt x="42" y="384"/>
                  </a:cubicBezTo>
                  <a:cubicBezTo>
                    <a:pt x="63" y="300"/>
                    <a:pt x="0" y="382"/>
                    <a:pt x="42" y="308"/>
                  </a:cubicBezTo>
                  <a:cubicBezTo>
                    <a:pt x="62" y="273"/>
                    <a:pt x="80" y="238"/>
                    <a:pt x="90" y="200"/>
                  </a:cubicBezTo>
                  <a:cubicBezTo>
                    <a:pt x="87" y="165"/>
                    <a:pt x="101" y="78"/>
                    <a:pt x="82" y="40"/>
                  </a:cubicBezTo>
                  <a:cubicBezTo>
                    <a:pt x="64" y="5"/>
                    <a:pt x="58" y="16"/>
                    <a:pt x="74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5" name="Freeform 111"/>
            <p:cNvSpPr>
              <a:spLocks/>
            </p:cNvSpPr>
            <p:nvPr/>
          </p:nvSpPr>
          <p:spPr bwMode="auto">
            <a:xfrm>
              <a:off x="1688" y="1016"/>
              <a:ext cx="208" cy="1240"/>
            </a:xfrm>
            <a:custGeom>
              <a:avLst/>
              <a:gdLst/>
              <a:ahLst/>
              <a:cxnLst>
                <a:cxn ang="0">
                  <a:pos x="0" y="1240"/>
                </a:cxn>
                <a:cxn ang="0">
                  <a:pos x="40" y="1168"/>
                </a:cxn>
                <a:cxn ang="0">
                  <a:pos x="56" y="1088"/>
                </a:cxn>
                <a:cxn ang="0">
                  <a:pos x="16" y="888"/>
                </a:cxn>
                <a:cxn ang="0">
                  <a:pos x="24" y="816"/>
                </a:cxn>
                <a:cxn ang="0">
                  <a:pos x="40" y="792"/>
                </a:cxn>
                <a:cxn ang="0">
                  <a:pos x="88" y="632"/>
                </a:cxn>
                <a:cxn ang="0">
                  <a:pos x="104" y="536"/>
                </a:cxn>
                <a:cxn ang="0">
                  <a:pos x="176" y="400"/>
                </a:cxn>
                <a:cxn ang="0">
                  <a:pos x="168" y="264"/>
                </a:cxn>
                <a:cxn ang="0">
                  <a:pos x="176" y="112"/>
                </a:cxn>
                <a:cxn ang="0">
                  <a:pos x="208" y="0"/>
                </a:cxn>
              </a:cxnLst>
              <a:rect l="0" t="0" r="r" b="b"/>
              <a:pathLst>
                <a:path w="208" h="1240">
                  <a:moveTo>
                    <a:pt x="0" y="1240"/>
                  </a:moveTo>
                  <a:cubicBezTo>
                    <a:pt x="16" y="1216"/>
                    <a:pt x="24" y="1192"/>
                    <a:pt x="40" y="1168"/>
                  </a:cubicBezTo>
                  <a:cubicBezTo>
                    <a:pt x="44" y="1141"/>
                    <a:pt x="56" y="1115"/>
                    <a:pt x="56" y="1088"/>
                  </a:cubicBezTo>
                  <a:cubicBezTo>
                    <a:pt x="56" y="1015"/>
                    <a:pt x="33" y="957"/>
                    <a:pt x="16" y="888"/>
                  </a:cubicBezTo>
                  <a:cubicBezTo>
                    <a:pt x="19" y="864"/>
                    <a:pt x="18" y="839"/>
                    <a:pt x="24" y="816"/>
                  </a:cubicBezTo>
                  <a:cubicBezTo>
                    <a:pt x="26" y="807"/>
                    <a:pt x="37" y="801"/>
                    <a:pt x="40" y="792"/>
                  </a:cubicBezTo>
                  <a:cubicBezTo>
                    <a:pt x="63" y="730"/>
                    <a:pt x="47" y="694"/>
                    <a:pt x="88" y="632"/>
                  </a:cubicBezTo>
                  <a:cubicBezTo>
                    <a:pt x="93" y="600"/>
                    <a:pt x="96" y="567"/>
                    <a:pt x="104" y="536"/>
                  </a:cubicBezTo>
                  <a:cubicBezTo>
                    <a:pt x="116" y="488"/>
                    <a:pt x="160" y="449"/>
                    <a:pt x="176" y="400"/>
                  </a:cubicBezTo>
                  <a:cubicBezTo>
                    <a:pt x="170" y="346"/>
                    <a:pt x="158" y="315"/>
                    <a:pt x="168" y="264"/>
                  </a:cubicBezTo>
                  <a:cubicBezTo>
                    <a:pt x="154" y="195"/>
                    <a:pt x="123" y="182"/>
                    <a:pt x="176" y="112"/>
                  </a:cubicBezTo>
                  <a:cubicBezTo>
                    <a:pt x="190" y="71"/>
                    <a:pt x="208" y="44"/>
                    <a:pt x="208" y="0"/>
                  </a:cubicBezTo>
                </a:path>
              </a:pathLst>
            </a:custGeom>
            <a:noFill/>
            <a:ln w="57150" cmpd="sng">
              <a:solidFill>
                <a:srgbClr val="CC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14" name="Group 112"/>
          <p:cNvGrpSpPr>
            <a:grpSpLocks/>
          </p:cNvGrpSpPr>
          <p:nvPr/>
        </p:nvGrpSpPr>
        <p:grpSpPr bwMode="auto">
          <a:xfrm>
            <a:off x="7054850" y="5340350"/>
            <a:ext cx="533400" cy="203200"/>
            <a:chOff x="1780" y="1749"/>
            <a:chExt cx="384" cy="146"/>
          </a:xfrm>
        </p:grpSpPr>
        <p:sp>
          <p:nvSpPr>
            <p:cNvPr id="666737" name="Freeform 113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8" name="Line 114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39" name="Line 115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0" name="Line 116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1" name="Line 117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2" name="Line 118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grpSp>
        <p:nvGrpSpPr>
          <p:cNvPr id="15" name="Group 119"/>
          <p:cNvGrpSpPr>
            <a:grpSpLocks/>
          </p:cNvGrpSpPr>
          <p:nvPr/>
        </p:nvGrpSpPr>
        <p:grpSpPr bwMode="auto">
          <a:xfrm>
            <a:off x="6334125" y="5627688"/>
            <a:ext cx="914400" cy="347662"/>
            <a:chOff x="1780" y="1749"/>
            <a:chExt cx="384" cy="146"/>
          </a:xfrm>
        </p:grpSpPr>
        <p:sp>
          <p:nvSpPr>
            <p:cNvPr id="666744" name="Freeform 120"/>
            <p:cNvSpPr>
              <a:spLocks/>
            </p:cNvSpPr>
            <p:nvPr/>
          </p:nvSpPr>
          <p:spPr bwMode="auto">
            <a:xfrm>
              <a:off x="1780" y="1776"/>
              <a:ext cx="384" cy="119"/>
            </a:xfrm>
            <a:custGeom>
              <a:avLst/>
              <a:gdLst/>
              <a:ahLst/>
              <a:cxnLst>
                <a:cxn ang="0">
                  <a:pos x="96" y="288"/>
                </a:cxn>
                <a:cxn ang="0">
                  <a:pos x="864" y="288"/>
                </a:cxn>
                <a:cxn ang="0">
                  <a:pos x="1056" y="96"/>
                </a:cxn>
                <a:cxn ang="0">
                  <a:pos x="912" y="96"/>
                </a:cxn>
                <a:cxn ang="0">
                  <a:pos x="864" y="144"/>
                </a:cxn>
                <a:cxn ang="0">
                  <a:pos x="336" y="144"/>
                </a:cxn>
                <a:cxn ang="0">
                  <a:pos x="288" y="96"/>
                </a:cxn>
                <a:cxn ang="0">
                  <a:pos x="240" y="96"/>
                </a:cxn>
                <a:cxn ang="0">
                  <a:pos x="192" y="0"/>
                </a:cxn>
                <a:cxn ang="0">
                  <a:pos x="144" y="0"/>
                </a:cxn>
                <a:cxn ang="0">
                  <a:pos x="144" y="96"/>
                </a:cxn>
                <a:cxn ang="0">
                  <a:pos x="96" y="96"/>
                </a:cxn>
                <a:cxn ang="0">
                  <a:pos x="96" y="144"/>
                </a:cxn>
                <a:cxn ang="0">
                  <a:pos x="0" y="144"/>
                </a:cxn>
                <a:cxn ang="0">
                  <a:pos x="0" y="240"/>
                </a:cxn>
                <a:cxn ang="0">
                  <a:pos x="48" y="240"/>
                </a:cxn>
                <a:cxn ang="0">
                  <a:pos x="96" y="288"/>
                </a:cxn>
              </a:cxnLst>
              <a:rect l="0" t="0" r="r" b="b"/>
              <a:pathLst>
                <a:path w="1056" h="288">
                  <a:moveTo>
                    <a:pt x="96" y="288"/>
                  </a:moveTo>
                  <a:lnTo>
                    <a:pt x="864" y="288"/>
                  </a:lnTo>
                  <a:lnTo>
                    <a:pt x="1056" y="96"/>
                  </a:lnTo>
                  <a:lnTo>
                    <a:pt x="912" y="96"/>
                  </a:lnTo>
                  <a:lnTo>
                    <a:pt x="864" y="144"/>
                  </a:lnTo>
                  <a:lnTo>
                    <a:pt x="336" y="144"/>
                  </a:lnTo>
                  <a:lnTo>
                    <a:pt x="288" y="96"/>
                  </a:lnTo>
                  <a:lnTo>
                    <a:pt x="240" y="96"/>
                  </a:lnTo>
                  <a:lnTo>
                    <a:pt x="192" y="0"/>
                  </a:lnTo>
                  <a:lnTo>
                    <a:pt x="144" y="0"/>
                  </a:lnTo>
                  <a:lnTo>
                    <a:pt x="144" y="96"/>
                  </a:lnTo>
                  <a:lnTo>
                    <a:pt x="96" y="96"/>
                  </a:lnTo>
                  <a:lnTo>
                    <a:pt x="96" y="144"/>
                  </a:lnTo>
                  <a:lnTo>
                    <a:pt x="0" y="144"/>
                  </a:lnTo>
                  <a:lnTo>
                    <a:pt x="0" y="240"/>
                  </a:lnTo>
                  <a:lnTo>
                    <a:pt x="48" y="240"/>
                  </a:lnTo>
                  <a:lnTo>
                    <a:pt x="96" y="28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5" name="Line 121"/>
            <p:cNvSpPr>
              <a:spLocks noChangeShapeType="1"/>
            </p:cNvSpPr>
            <p:nvPr/>
          </p:nvSpPr>
          <p:spPr bwMode="auto">
            <a:xfrm flipV="1">
              <a:off x="1909" y="1749"/>
              <a:ext cx="0" cy="9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6" name="Line 122"/>
            <p:cNvSpPr>
              <a:spLocks noChangeShapeType="1"/>
            </p:cNvSpPr>
            <p:nvPr/>
          </p:nvSpPr>
          <p:spPr bwMode="auto">
            <a:xfrm>
              <a:off x="1945" y="1815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7" name="Line 123"/>
            <p:cNvSpPr>
              <a:spLocks noChangeShapeType="1"/>
            </p:cNvSpPr>
            <p:nvPr/>
          </p:nvSpPr>
          <p:spPr bwMode="auto">
            <a:xfrm>
              <a:off x="2002" y="1815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8" name="Line 124"/>
            <p:cNvSpPr>
              <a:spLocks noChangeShapeType="1"/>
            </p:cNvSpPr>
            <p:nvPr/>
          </p:nvSpPr>
          <p:spPr bwMode="auto">
            <a:xfrm>
              <a:off x="1945" y="1782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  <p:sp>
          <p:nvSpPr>
            <p:cNvPr id="666749" name="Line 125"/>
            <p:cNvSpPr>
              <a:spLocks noChangeShapeType="1"/>
            </p:cNvSpPr>
            <p:nvPr/>
          </p:nvSpPr>
          <p:spPr bwMode="auto">
            <a:xfrm>
              <a:off x="2002" y="1782"/>
              <a:ext cx="4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PY"/>
            </a:p>
          </p:txBody>
        </p:sp>
      </p:grpSp>
      <p:sp>
        <p:nvSpPr>
          <p:cNvPr id="666750" name="Text Box 126"/>
          <p:cNvSpPr txBox="1">
            <a:spLocks noChangeArrowheads="1"/>
          </p:cNvSpPr>
          <p:nvPr/>
        </p:nvSpPr>
        <p:spPr bwMode="auto">
          <a:xfrm>
            <a:off x="7583488" y="5311775"/>
            <a:ext cx="14144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Puertos PANAMAX</a:t>
            </a:r>
          </a:p>
        </p:txBody>
      </p:sp>
      <p:sp>
        <p:nvSpPr>
          <p:cNvPr id="666751" name="Text Box 127"/>
          <p:cNvSpPr txBox="1">
            <a:spLocks noChangeArrowheads="1"/>
          </p:cNvSpPr>
          <p:nvPr/>
        </p:nvSpPr>
        <p:spPr bwMode="auto">
          <a:xfrm>
            <a:off x="7342188" y="5743575"/>
            <a:ext cx="15843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Puertos Post-PANAMAX</a:t>
            </a:r>
          </a:p>
        </p:txBody>
      </p:sp>
      <p:sp>
        <p:nvSpPr>
          <p:cNvPr id="666752" name="Freeform 128"/>
          <p:cNvSpPr>
            <a:spLocks/>
          </p:cNvSpPr>
          <p:nvPr/>
        </p:nvSpPr>
        <p:spPr bwMode="auto">
          <a:xfrm>
            <a:off x="1411288" y="2433638"/>
            <a:ext cx="225425" cy="317500"/>
          </a:xfrm>
          <a:custGeom>
            <a:avLst/>
            <a:gdLst/>
            <a:ahLst/>
            <a:cxnLst>
              <a:cxn ang="0">
                <a:pos x="17" y="200"/>
              </a:cxn>
              <a:cxn ang="0">
                <a:pos x="34" y="175"/>
              </a:cxn>
              <a:cxn ang="0">
                <a:pos x="51" y="141"/>
              </a:cxn>
              <a:cxn ang="0">
                <a:pos x="109" y="91"/>
              </a:cxn>
              <a:cxn ang="0">
                <a:pos x="117" y="66"/>
              </a:cxn>
              <a:cxn ang="0">
                <a:pos x="101" y="41"/>
              </a:cxn>
              <a:cxn ang="0">
                <a:pos x="142" y="0"/>
              </a:cxn>
            </a:cxnLst>
            <a:rect l="0" t="0" r="r" b="b"/>
            <a:pathLst>
              <a:path w="142" h="200">
                <a:moveTo>
                  <a:pt x="17" y="200"/>
                </a:moveTo>
                <a:cubicBezTo>
                  <a:pt x="23" y="192"/>
                  <a:pt x="32" y="185"/>
                  <a:pt x="34" y="175"/>
                </a:cubicBezTo>
                <a:cubicBezTo>
                  <a:pt x="41" y="135"/>
                  <a:pt x="0" y="159"/>
                  <a:pt x="51" y="141"/>
                </a:cubicBezTo>
                <a:cubicBezTo>
                  <a:pt x="63" y="103"/>
                  <a:pt x="76" y="113"/>
                  <a:pt x="109" y="91"/>
                </a:cubicBezTo>
                <a:cubicBezTo>
                  <a:pt x="112" y="83"/>
                  <a:pt x="118" y="75"/>
                  <a:pt x="117" y="66"/>
                </a:cubicBezTo>
                <a:cubicBezTo>
                  <a:pt x="115" y="56"/>
                  <a:pt x="101" y="51"/>
                  <a:pt x="101" y="41"/>
                </a:cubicBezTo>
                <a:cubicBezTo>
                  <a:pt x="101" y="0"/>
                  <a:pt x="142" y="28"/>
                  <a:pt x="142" y="0"/>
                </a:cubicBezTo>
              </a:path>
            </a:pathLst>
          </a:cu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53" name="Text Box 129"/>
          <p:cNvSpPr txBox="1">
            <a:spLocks noChangeArrowheads="1"/>
          </p:cNvSpPr>
          <p:nvPr/>
        </p:nvSpPr>
        <p:spPr bwMode="auto">
          <a:xfrm>
            <a:off x="5762625" y="4884738"/>
            <a:ext cx="354013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54" name="Text Box 130"/>
          <p:cNvSpPr txBox="1">
            <a:spLocks noChangeArrowheads="1"/>
          </p:cNvSpPr>
          <p:nvPr/>
        </p:nvSpPr>
        <p:spPr bwMode="auto">
          <a:xfrm>
            <a:off x="4454525" y="5527675"/>
            <a:ext cx="339725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ZF</a:t>
            </a:r>
          </a:p>
        </p:txBody>
      </p:sp>
      <p:sp>
        <p:nvSpPr>
          <p:cNvPr id="666755" name="Text Box 131"/>
          <p:cNvSpPr txBox="1">
            <a:spLocks noChangeArrowheads="1"/>
          </p:cNvSpPr>
          <p:nvPr/>
        </p:nvSpPr>
        <p:spPr bwMode="auto">
          <a:xfrm>
            <a:off x="3817938" y="6108700"/>
            <a:ext cx="354012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56" name="Text Box 132"/>
          <p:cNvSpPr txBox="1">
            <a:spLocks noChangeArrowheads="1"/>
          </p:cNvSpPr>
          <p:nvPr/>
        </p:nvSpPr>
        <p:spPr bwMode="auto">
          <a:xfrm>
            <a:off x="4899025" y="5748338"/>
            <a:ext cx="354013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57" name="Text Box 133"/>
          <p:cNvSpPr txBox="1">
            <a:spLocks noChangeArrowheads="1"/>
          </p:cNvSpPr>
          <p:nvPr/>
        </p:nvSpPr>
        <p:spPr bwMode="auto">
          <a:xfrm>
            <a:off x="6986588" y="3300413"/>
            <a:ext cx="354012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59" name="Text Box 135"/>
          <p:cNvSpPr txBox="1">
            <a:spLocks noChangeArrowheads="1"/>
          </p:cNvSpPr>
          <p:nvPr/>
        </p:nvSpPr>
        <p:spPr bwMode="auto">
          <a:xfrm>
            <a:off x="592510" y="2459112"/>
            <a:ext cx="354012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 dirty="0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60" name="Text Box 136"/>
          <p:cNvSpPr txBox="1">
            <a:spLocks noChangeArrowheads="1"/>
          </p:cNvSpPr>
          <p:nvPr/>
        </p:nvSpPr>
        <p:spPr bwMode="auto">
          <a:xfrm>
            <a:off x="973510" y="2459112"/>
            <a:ext cx="339725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ZF</a:t>
            </a:r>
          </a:p>
        </p:txBody>
      </p:sp>
      <p:sp>
        <p:nvSpPr>
          <p:cNvPr id="666762" name="Freeform 138"/>
          <p:cNvSpPr>
            <a:spLocks/>
          </p:cNvSpPr>
          <p:nvPr/>
        </p:nvSpPr>
        <p:spPr bwMode="auto">
          <a:xfrm>
            <a:off x="4048125" y="5132388"/>
            <a:ext cx="238125" cy="647700"/>
          </a:xfrm>
          <a:custGeom>
            <a:avLst/>
            <a:gdLst/>
            <a:ahLst/>
            <a:cxnLst>
              <a:cxn ang="0">
                <a:pos x="150" y="0"/>
              </a:cxn>
              <a:cxn ang="0">
                <a:pos x="126" y="16"/>
              </a:cxn>
              <a:cxn ang="0">
                <a:pos x="86" y="112"/>
              </a:cxn>
              <a:cxn ang="0">
                <a:pos x="54" y="120"/>
              </a:cxn>
              <a:cxn ang="0">
                <a:pos x="54" y="408"/>
              </a:cxn>
            </a:cxnLst>
            <a:rect l="0" t="0" r="r" b="b"/>
            <a:pathLst>
              <a:path w="150" h="408">
                <a:moveTo>
                  <a:pt x="150" y="0"/>
                </a:moveTo>
                <a:cubicBezTo>
                  <a:pt x="142" y="5"/>
                  <a:pt x="131" y="8"/>
                  <a:pt x="126" y="16"/>
                </a:cubicBezTo>
                <a:cubicBezTo>
                  <a:pt x="113" y="37"/>
                  <a:pt x="112" y="94"/>
                  <a:pt x="86" y="112"/>
                </a:cubicBezTo>
                <a:cubicBezTo>
                  <a:pt x="77" y="118"/>
                  <a:pt x="65" y="117"/>
                  <a:pt x="54" y="120"/>
                </a:cubicBezTo>
                <a:cubicBezTo>
                  <a:pt x="0" y="201"/>
                  <a:pt x="54" y="312"/>
                  <a:pt x="54" y="408"/>
                </a:cubicBezTo>
              </a:path>
            </a:pathLst>
          </a:custGeom>
          <a:noFill/>
          <a:ln w="57150" cmpd="sng">
            <a:solidFill>
              <a:srgbClr val="00808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PY"/>
          </a:p>
        </p:txBody>
      </p:sp>
      <p:sp>
        <p:nvSpPr>
          <p:cNvPr id="666763" name="Text Box 139"/>
          <p:cNvSpPr txBox="1">
            <a:spLocks noChangeArrowheads="1"/>
          </p:cNvSpPr>
          <p:nvPr/>
        </p:nvSpPr>
        <p:spPr bwMode="auto">
          <a:xfrm>
            <a:off x="4048125" y="5527675"/>
            <a:ext cx="354013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65" name="Text Box 141"/>
          <p:cNvSpPr txBox="1">
            <a:spLocks noChangeArrowheads="1"/>
          </p:cNvSpPr>
          <p:nvPr/>
        </p:nvSpPr>
        <p:spPr bwMode="auto">
          <a:xfrm>
            <a:off x="406400" y="404663"/>
            <a:ext cx="88138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latinLnBrk="1" hangingPunct="0">
              <a:defRPr sz="2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PY" dirty="0"/>
              <a:t>El Desafío de la Conectividad</a:t>
            </a:r>
            <a:endParaRPr lang="es-ES" dirty="0"/>
          </a:p>
        </p:txBody>
      </p:sp>
      <p:sp>
        <p:nvSpPr>
          <p:cNvPr id="666766" name="AutoShape 142"/>
          <p:cNvSpPr>
            <a:spLocks noChangeArrowheads="1"/>
          </p:cNvSpPr>
          <p:nvPr/>
        </p:nvSpPr>
        <p:spPr bwMode="auto">
          <a:xfrm>
            <a:off x="8002588" y="3467100"/>
            <a:ext cx="752475" cy="374650"/>
          </a:xfrm>
          <a:prstGeom prst="wedgeRectCallout">
            <a:avLst>
              <a:gd name="adj1" fmla="val -187977"/>
              <a:gd name="adj2" fmla="val -1822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/>
              <a:t>Puerto</a:t>
            </a:r>
            <a:br>
              <a:rPr lang="es-ES" sz="900"/>
            </a:br>
            <a:r>
              <a:rPr lang="es-ES" sz="900"/>
              <a:t>Paranaguá</a:t>
            </a:r>
          </a:p>
        </p:txBody>
      </p:sp>
      <p:sp>
        <p:nvSpPr>
          <p:cNvPr id="666767" name="AutoShape 143"/>
          <p:cNvSpPr>
            <a:spLocks noChangeArrowheads="1"/>
          </p:cNvSpPr>
          <p:nvPr/>
        </p:nvSpPr>
        <p:spPr bwMode="auto">
          <a:xfrm>
            <a:off x="6497166" y="4331320"/>
            <a:ext cx="777875" cy="374650"/>
          </a:xfrm>
          <a:prstGeom prst="wedgeRectCallout">
            <a:avLst>
              <a:gd name="adj1" fmla="val -117460"/>
              <a:gd name="adj2" fmla="val 203927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/>
              <a:t>Puerto</a:t>
            </a:r>
            <a:br>
              <a:rPr lang="es-ES" sz="900"/>
            </a:br>
            <a:r>
              <a:rPr lang="es-ES" sz="900"/>
              <a:t>Rio Grande</a:t>
            </a:r>
          </a:p>
        </p:txBody>
      </p:sp>
      <p:sp>
        <p:nvSpPr>
          <p:cNvPr id="666768" name="AutoShape 144"/>
          <p:cNvSpPr>
            <a:spLocks noChangeArrowheads="1"/>
          </p:cNvSpPr>
          <p:nvPr/>
        </p:nvSpPr>
        <p:spPr bwMode="auto">
          <a:xfrm>
            <a:off x="2166938" y="5456238"/>
            <a:ext cx="942975" cy="374650"/>
          </a:xfrm>
          <a:prstGeom prst="wedgeRectCallout">
            <a:avLst>
              <a:gd name="adj1" fmla="val 168014"/>
              <a:gd name="adj2" fmla="val 46611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/>
              <a:t>Puerto</a:t>
            </a:r>
            <a:br>
              <a:rPr lang="es-ES" sz="900"/>
            </a:br>
            <a:r>
              <a:rPr lang="es-ES" sz="900"/>
              <a:t>Nueva Palmira</a:t>
            </a:r>
          </a:p>
        </p:txBody>
      </p:sp>
      <p:sp>
        <p:nvSpPr>
          <p:cNvPr id="666769" name="AutoShape 145"/>
          <p:cNvSpPr>
            <a:spLocks noChangeArrowheads="1"/>
          </p:cNvSpPr>
          <p:nvPr/>
        </p:nvSpPr>
        <p:spPr bwMode="auto">
          <a:xfrm>
            <a:off x="5576888" y="5988050"/>
            <a:ext cx="784225" cy="374650"/>
          </a:xfrm>
          <a:prstGeom prst="wedgeRectCallout">
            <a:avLst>
              <a:gd name="adj1" fmla="val -140690"/>
              <a:gd name="adj2" fmla="val -20764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/>
              <a:t>Puerto</a:t>
            </a:r>
            <a:br>
              <a:rPr lang="es-ES" sz="900"/>
            </a:br>
            <a:r>
              <a:rPr lang="es-ES" sz="900"/>
              <a:t>Montevideo</a:t>
            </a:r>
          </a:p>
        </p:txBody>
      </p:sp>
      <p:sp>
        <p:nvSpPr>
          <p:cNvPr id="666770" name="AutoShape 146"/>
          <p:cNvSpPr>
            <a:spLocks noChangeArrowheads="1"/>
          </p:cNvSpPr>
          <p:nvPr/>
        </p:nvSpPr>
        <p:spPr bwMode="auto">
          <a:xfrm>
            <a:off x="1103313" y="3611563"/>
            <a:ext cx="803275" cy="374650"/>
          </a:xfrm>
          <a:prstGeom prst="wedgeRectCallout">
            <a:avLst>
              <a:gd name="adj1" fmla="val -65954"/>
              <a:gd name="adj2" fmla="val -185593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/>
              <a:t>Puerto</a:t>
            </a:r>
            <a:br>
              <a:rPr lang="es-ES" sz="900"/>
            </a:br>
            <a:r>
              <a:rPr lang="es-ES" sz="900"/>
              <a:t>Antofagasta</a:t>
            </a:r>
          </a:p>
        </p:txBody>
      </p:sp>
      <p:sp>
        <p:nvSpPr>
          <p:cNvPr id="666771" name="Text Box 147"/>
          <p:cNvSpPr txBox="1">
            <a:spLocks noChangeArrowheads="1"/>
          </p:cNvSpPr>
          <p:nvPr/>
        </p:nvSpPr>
        <p:spPr bwMode="auto">
          <a:xfrm>
            <a:off x="7131050" y="1595438"/>
            <a:ext cx="354013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72" name="Text Box 148"/>
          <p:cNvSpPr txBox="1">
            <a:spLocks noChangeArrowheads="1"/>
          </p:cNvSpPr>
          <p:nvPr/>
        </p:nvSpPr>
        <p:spPr bwMode="auto">
          <a:xfrm>
            <a:off x="7131050" y="1900238"/>
            <a:ext cx="339725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ZF</a:t>
            </a:r>
          </a:p>
        </p:txBody>
      </p:sp>
      <p:sp>
        <p:nvSpPr>
          <p:cNvPr id="666773" name="Text Box 149"/>
          <p:cNvSpPr txBox="1">
            <a:spLocks noChangeArrowheads="1"/>
          </p:cNvSpPr>
          <p:nvPr/>
        </p:nvSpPr>
        <p:spPr bwMode="auto">
          <a:xfrm>
            <a:off x="7562850" y="1595438"/>
            <a:ext cx="1177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Depósito Franco</a:t>
            </a:r>
          </a:p>
        </p:txBody>
      </p:sp>
      <p:sp>
        <p:nvSpPr>
          <p:cNvPr id="666774" name="Text Box 150"/>
          <p:cNvSpPr txBox="1">
            <a:spLocks noChangeArrowheads="1"/>
          </p:cNvSpPr>
          <p:nvPr/>
        </p:nvSpPr>
        <p:spPr bwMode="auto">
          <a:xfrm>
            <a:off x="7562850" y="1874838"/>
            <a:ext cx="1177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/>
              <a:t>Zona Franca</a:t>
            </a:r>
          </a:p>
        </p:txBody>
      </p:sp>
      <p:sp>
        <p:nvSpPr>
          <p:cNvPr id="666775" name="AutoShape 151"/>
          <p:cNvSpPr>
            <a:spLocks noChangeArrowheads="1"/>
          </p:cNvSpPr>
          <p:nvPr/>
        </p:nvSpPr>
        <p:spPr bwMode="auto">
          <a:xfrm>
            <a:off x="2338388" y="6086475"/>
            <a:ext cx="873125" cy="374650"/>
          </a:xfrm>
          <a:prstGeom prst="wedgeRectCallout">
            <a:avLst>
              <a:gd name="adj1" fmla="val 152861"/>
              <a:gd name="adj2" fmla="val -64829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/>
              <a:t>Puerto</a:t>
            </a:r>
            <a:br>
              <a:rPr lang="es-ES" sz="900"/>
            </a:br>
            <a:r>
              <a:rPr lang="es-ES" sz="900"/>
              <a:t>Buenos Aires</a:t>
            </a:r>
          </a:p>
        </p:txBody>
      </p:sp>
      <p:sp>
        <p:nvSpPr>
          <p:cNvPr id="152" name="151 Forma libre"/>
          <p:cNvSpPr/>
          <p:nvPr/>
        </p:nvSpPr>
        <p:spPr>
          <a:xfrm>
            <a:off x="4582211" y="3303933"/>
            <a:ext cx="197510" cy="68061"/>
          </a:xfrm>
          <a:custGeom>
            <a:avLst/>
            <a:gdLst>
              <a:gd name="connsiteX0" fmla="*/ 197510 w 197510"/>
              <a:gd name="connsiteY0" fmla="*/ 58824 h 68061"/>
              <a:gd name="connsiteX1" fmla="*/ 138989 w 197510"/>
              <a:gd name="connsiteY1" fmla="*/ 29563 h 68061"/>
              <a:gd name="connsiteX2" fmla="*/ 117043 w 197510"/>
              <a:gd name="connsiteY2" fmla="*/ 22248 h 68061"/>
              <a:gd name="connsiteX3" fmla="*/ 87782 w 197510"/>
              <a:gd name="connsiteY3" fmla="*/ 14933 h 68061"/>
              <a:gd name="connsiteX4" fmla="*/ 65837 w 197510"/>
              <a:gd name="connsiteY4" fmla="*/ 7617 h 68061"/>
              <a:gd name="connsiteX5" fmla="*/ 0 w 197510"/>
              <a:gd name="connsiteY5" fmla="*/ 302 h 68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510" h="68061">
                <a:moveTo>
                  <a:pt x="197510" y="58824"/>
                </a:moveTo>
                <a:cubicBezTo>
                  <a:pt x="102324" y="42960"/>
                  <a:pt x="187111" y="68061"/>
                  <a:pt x="138989" y="29563"/>
                </a:cubicBezTo>
                <a:cubicBezTo>
                  <a:pt x="132968" y="24746"/>
                  <a:pt x="124457" y="24366"/>
                  <a:pt x="117043" y="22248"/>
                </a:cubicBezTo>
                <a:cubicBezTo>
                  <a:pt x="107376" y="19486"/>
                  <a:pt x="97449" y="17695"/>
                  <a:pt x="87782" y="14933"/>
                </a:cubicBezTo>
                <a:cubicBezTo>
                  <a:pt x="80368" y="12815"/>
                  <a:pt x="73423" y="8996"/>
                  <a:pt x="65837" y="7617"/>
                </a:cubicBezTo>
                <a:cubicBezTo>
                  <a:pt x="23943" y="0"/>
                  <a:pt x="24612" y="302"/>
                  <a:pt x="0" y="302"/>
                </a:cubicBezTo>
              </a:path>
            </a:pathLst>
          </a:custGeom>
          <a:ln w="38100">
            <a:solidFill>
              <a:srgbClr val="D65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Y" dirty="0">
              <a:solidFill>
                <a:srgbClr val="FF0000"/>
              </a:solidFill>
            </a:endParaRPr>
          </a:p>
        </p:txBody>
      </p:sp>
      <p:sp>
        <p:nvSpPr>
          <p:cNvPr id="153" name="AutoShape 144"/>
          <p:cNvSpPr>
            <a:spLocks noChangeArrowheads="1"/>
          </p:cNvSpPr>
          <p:nvPr/>
        </p:nvSpPr>
        <p:spPr bwMode="auto">
          <a:xfrm>
            <a:off x="1816646" y="4763368"/>
            <a:ext cx="561372" cy="369332"/>
          </a:xfrm>
          <a:prstGeom prst="wedgeRectCallout">
            <a:avLst>
              <a:gd name="adj1" fmla="val 261797"/>
              <a:gd name="adj2" fmla="val 17790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 dirty="0"/>
              <a:t>Puerto</a:t>
            </a:r>
            <a:br>
              <a:rPr lang="es-ES" sz="900" dirty="0"/>
            </a:br>
            <a:r>
              <a:rPr lang="es-ES" sz="900" dirty="0" smtClean="0"/>
              <a:t>Rosario</a:t>
            </a:r>
            <a:endParaRPr lang="es-ES" sz="900" dirty="0"/>
          </a:p>
        </p:txBody>
      </p:sp>
      <p:sp>
        <p:nvSpPr>
          <p:cNvPr id="154" name="AutoShape 142"/>
          <p:cNvSpPr>
            <a:spLocks noChangeArrowheads="1"/>
          </p:cNvSpPr>
          <p:nvPr/>
        </p:nvSpPr>
        <p:spPr bwMode="auto">
          <a:xfrm>
            <a:off x="8196804" y="2243088"/>
            <a:ext cx="665568" cy="369332"/>
          </a:xfrm>
          <a:prstGeom prst="wedgeRectCallout">
            <a:avLst>
              <a:gd name="adj1" fmla="val -150508"/>
              <a:gd name="adj2" fmla="val 165589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s-ES" sz="900" dirty="0"/>
              <a:t>Puerto</a:t>
            </a:r>
            <a:br>
              <a:rPr lang="es-ES" sz="900" dirty="0"/>
            </a:br>
            <a:r>
              <a:rPr lang="es-ES" sz="900" dirty="0" smtClean="0"/>
              <a:t>de Santos</a:t>
            </a:r>
            <a:endParaRPr lang="es-ES" sz="900" dirty="0"/>
          </a:p>
        </p:txBody>
      </p:sp>
      <p:sp>
        <p:nvSpPr>
          <p:cNvPr id="666758" name="Text Box 134"/>
          <p:cNvSpPr txBox="1">
            <a:spLocks noChangeArrowheads="1"/>
          </p:cNvSpPr>
          <p:nvPr/>
        </p:nvSpPr>
        <p:spPr bwMode="auto">
          <a:xfrm>
            <a:off x="7562850" y="2795588"/>
            <a:ext cx="354013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DF</a:t>
            </a:r>
          </a:p>
        </p:txBody>
      </p:sp>
      <p:sp>
        <p:nvSpPr>
          <p:cNvPr id="666761" name="Text Box 137"/>
          <p:cNvSpPr txBox="1">
            <a:spLocks noChangeArrowheads="1"/>
          </p:cNvSpPr>
          <p:nvPr/>
        </p:nvSpPr>
        <p:spPr bwMode="auto">
          <a:xfrm>
            <a:off x="3170238" y="5316538"/>
            <a:ext cx="339725" cy="244475"/>
          </a:xfrm>
          <a:prstGeom prst="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000" b="1">
                <a:solidFill>
                  <a:schemeClr val="bg1"/>
                </a:solidFill>
              </a:rPr>
              <a:t>ZF</a:t>
            </a:r>
          </a:p>
        </p:txBody>
      </p:sp>
    </p:spTree>
    <p:extLst>
      <p:ext uri="{BB962C8B-B14F-4D97-AF65-F5344CB8AC3E}">
        <p14:creationId xmlns:p14="http://schemas.microsoft.com/office/powerpoint/2010/main" val="17141326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3400" y="-457200"/>
            <a:ext cx="7924800" cy="13772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kern="1200" dirty="0"/>
              <a:t>Plan de Inversión en Obras </a:t>
            </a:r>
            <a:r>
              <a:rPr lang="es-PY" kern="1200" dirty="0" smtClean="0"/>
              <a:t>Publicas a </a:t>
            </a:r>
            <a:r>
              <a:rPr lang="es-PY" kern="1200" dirty="0"/>
              <a:t>10 años</a:t>
            </a: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9773950"/>
              </p:ext>
            </p:extLst>
          </p:nvPr>
        </p:nvGraphicFramePr>
        <p:xfrm>
          <a:off x="836847" y="1905000"/>
          <a:ext cx="7416824" cy="101917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367001"/>
                <a:gridCol w="2313519"/>
                <a:gridCol w="2736304"/>
              </a:tblGrid>
              <a:tr h="67627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2000" b="1" u="none" strike="noStrike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Plan Maestro de Transporte </a:t>
                      </a:r>
                      <a:endParaRPr lang="es-ES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Energía</a:t>
                      </a:r>
                    </a:p>
                    <a:p>
                      <a:pPr algn="ctr" rtl="0" fontAlgn="ctr"/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Eléctrica</a:t>
                      </a:r>
                      <a:endParaRPr lang="es-ES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2000" b="1" u="none" strike="noStrike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Agua y </a:t>
                      </a:r>
                      <a:endParaRPr lang="es-ES" sz="2000" b="1" u="none" strike="noStrike" dirty="0" smtClean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algn="ctr" rtl="0" fontAlgn="ctr"/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Saneamiento </a:t>
                      </a:r>
                      <a:endParaRPr lang="es-ES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USD </a:t>
                      </a:r>
                      <a:r>
                        <a:rPr lang="es-ES" sz="2000" b="1" u="none" strike="noStrike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.575 </a:t>
                      </a:r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MM</a:t>
                      </a:r>
                      <a:endParaRPr lang="es-ES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USD 2.573 </a:t>
                      </a:r>
                      <a:r>
                        <a:rPr lang="es-ES" sz="2000" b="1" u="none" strike="noStrike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MM</a:t>
                      </a:r>
                      <a:endParaRPr lang="es-ES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2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USD </a:t>
                      </a:r>
                      <a:r>
                        <a:rPr lang="es-ES" sz="2000" b="1" u="none" strike="noStrike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.378 MM </a:t>
                      </a:r>
                      <a:endParaRPr lang="es-ES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811762" y="3210532"/>
            <a:ext cx="26642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ES" sz="2000" dirty="0" smtClean="0">
                <a:latin typeface="Calibri" pitchFamily="34" charset="0"/>
                <a:cs typeface="Calibri" pitchFamily="34" charset="0"/>
              </a:rPr>
              <a:t>Aéreo 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 smtClean="0">
                <a:latin typeface="Calibri" pitchFamily="34" charset="0"/>
                <a:cs typeface="Calibri" pitchFamily="34" charset="0"/>
              </a:rPr>
              <a:t>Fluvial 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 smtClean="0">
                <a:latin typeface="Calibri" pitchFamily="34" charset="0"/>
                <a:cs typeface="Calibri" pitchFamily="34" charset="0"/>
              </a:rPr>
              <a:t>Carretero 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 smtClean="0">
                <a:latin typeface="Calibri" pitchFamily="34" charset="0"/>
                <a:cs typeface="Calibri" pitchFamily="34" charset="0"/>
              </a:rPr>
              <a:t>Ferroviario 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 smtClean="0">
                <a:latin typeface="Calibri" pitchFamily="34" charset="0"/>
                <a:cs typeface="Calibri" pitchFamily="34" charset="0"/>
              </a:rPr>
              <a:t>Transporte Público de Pasajeros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3116018" y="3223306"/>
            <a:ext cx="2376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ES" sz="2000" dirty="0">
                <a:latin typeface="Calibri" pitchFamily="34" charset="0"/>
                <a:cs typeface="Calibri" pitchFamily="34" charset="0"/>
              </a:rPr>
              <a:t>Generación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>
                <a:latin typeface="Calibri" pitchFamily="34" charset="0"/>
                <a:cs typeface="Calibri" pitchFamily="34" charset="0"/>
              </a:rPr>
              <a:t>Transmisión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>
                <a:latin typeface="Calibri" pitchFamily="34" charset="0"/>
                <a:cs typeface="Calibri" pitchFamily="34" charset="0"/>
              </a:rPr>
              <a:t>Distribución </a:t>
            </a:r>
          </a:p>
        </p:txBody>
      </p:sp>
      <p:sp>
        <p:nvSpPr>
          <p:cNvPr id="9" name="8 Rectángulo"/>
          <p:cNvSpPr/>
          <p:nvPr/>
        </p:nvSpPr>
        <p:spPr>
          <a:xfrm>
            <a:off x="5508104" y="3190110"/>
            <a:ext cx="28803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ES" sz="2000" dirty="0">
                <a:latin typeface="Calibri" pitchFamily="34" charset="0"/>
                <a:cs typeface="Calibri" pitchFamily="34" charset="0"/>
              </a:rPr>
              <a:t>Tratamiento de Aguas y Alcantarillado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>
                <a:latin typeface="Calibri" pitchFamily="34" charset="0"/>
                <a:cs typeface="Calibri" pitchFamily="34" charset="0"/>
              </a:rPr>
              <a:t>Agua Potable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ES" sz="2000" dirty="0">
                <a:latin typeface="Calibri" pitchFamily="34" charset="0"/>
                <a:cs typeface="Calibri" pitchFamily="34" charset="0"/>
              </a:rPr>
              <a:t>Agua Rural</a:t>
            </a:r>
          </a:p>
        </p:txBody>
      </p:sp>
    </p:spTree>
    <p:extLst>
      <p:ext uri="{BB962C8B-B14F-4D97-AF65-F5344CB8AC3E}">
        <p14:creationId xmlns:p14="http://schemas.microsoft.com/office/powerpoint/2010/main" val="216984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28600"/>
            <a:ext cx="7488832" cy="64807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kern="1200" dirty="0"/>
              <a:t>Inversión Privada en Obras Publicas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55576" y="1752600"/>
            <a:ext cx="7931224" cy="3886200"/>
          </a:xfrm>
        </p:spPr>
        <p:txBody>
          <a:bodyPr>
            <a:normAutofit/>
          </a:bodyPr>
          <a:lstStyle/>
          <a:p>
            <a:r>
              <a:rPr lang="es-ES" sz="2900" dirty="0" smtClean="0">
                <a:latin typeface="Calibri" pitchFamily="34" charset="0"/>
                <a:cs typeface="Calibri" pitchFamily="34" charset="0"/>
              </a:rPr>
              <a:t>Ley </a:t>
            </a:r>
            <a:r>
              <a:rPr lang="es-ES" sz="2900" dirty="0">
                <a:latin typeface="Calibri" pitchFamily="34" charset="0"/>
                <a:cs typeface="Calibri" pitchFamily="34" charset="0"/>
              </a:rPr>
              <a:t>N</a:t>
            </a:r>
            <a:r>
              <a:rPr lang="es-ES" sz="2900" dirty="0" smtClean="0">
                <a:latin typeface="Calibri" pitchFamily="34" charset="0"/>
                <a:cs typeface="Calibri" pitchFamily="34" charset="0"/>
              </a:rPr>
              <a:t>° 1618 de Concesiones de Obras y Servicios Públicos</a:t>
            </a:r>
            <a:endParaRPr lang="es-PY" sz="2900" dirty="0" smtClean="0">
              <a:latin typeface="Calibri" pitchFamily="34" charset="0"/>
              <a:cs typeface="Calibri" pitchFamily="34" charset="0"/>
            </a:endParaRPr>
          </a:p>
          <a:p>
            <a:endParaRPr lang="es-PY" sz="2900" dirty="0" smtClean="0">
              <a:latin typeface="Calibri" pitchFamily="34" charset="0"/>
              <a:cs typeface="Calibri" pitchFamily="34" charset="0"/>
            </a:endParaRPr>
          </a:p>
          <a:p>
            <a:r>
              <a:rPr lang="es-PY" sz="2900" dirty="0" smtClean="0">
                <a:latin typeface="Calibri" pitchFamily="34" charset="0"/>
                <a:cs typeface="Calibri" pitchFamily="34" charset="0"/>
              </a:rPr>
              <a:t>Proyecto de Ley de Alianza </a:t>
            </a:r>
            <a:r>
              <a:rPr lang="es-PY" sz="2900" dirty="0">
                <a:latin typeface="Calibri" pitchFamily="34" charset="0"/>
                <a:cs typeface="Calibri" pitchFamily="34" charset="0"/>
              </a:rPr>
              <a:t>Público </a:t>
            </a:r>
            <a:r>
              <a:rPr lang="es-PY" sz="2900" dirty="0" smtClean="0">
                <a:latin typeface="Calibri" pitchFamily="34" charset="0"/>
                <a:cs typeface="Calibri" pitchFamily="34" charset="0"/>
              </a:rPr>
              <a:t>Privada</a:t>
            </a:r>
          </a:p>
        </p:txBody>
      </p:sp>
    </p:spTree>
    <p:extLst>
      <p:ext uri="{BB962C8B-B14F-4D97-AF65-F5344CB8AC3E}">
        <p14:creationId xmlns:p14="http://schemas.microsoft.com/office/powerpoint/2010/main" val="1189661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0"/>
            <a:ext cx="7416824" cy="10031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kern="1200" dirty="0"/>
              <a:t>El Ministerio de Obras Publicas y Comunicaciones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62000" y="1752600"/>
            <a:ext cx="7543800" cy="3886200"/>
          </a:xfrm>
        </p:spPr>
        <p:txBody>
          <a:bodyPr>
            <a:noAutofit/>
          </a:bodyPr>
          <a:lstStyle/>
          <a:p>
            <a:r>
              <a:rPr lang="es-PY" sz="2900" dirty="0" smtClean="0">
                <a:latin typeface="Calibri" pitchFamily="34" charset="0"/>
                <a:cs typeface="Calibri" pitchFamily="34" charset="0"/>
              </a:rPr>
              <a:t>Plan Maestro de Inversión a largo plazo</a:t>
            </a:r>
          </a:p>
          <a:p>
            <a:r>
              <a:rPr lang="es-PY" sz="2900" dirty="0" smtClean="0">
                <a:latin typeface="Calibri" pitchFamily="34" charset="0"/>
                <a:cs typeface="Calibri" pitchFamily="34" charset="0"/>
              </a:rPr>
              <a:t>Reglas claras y transparentes</a:t>
            </a:r>
          </a:p>
          <a:p>
            <a:r>
              <a:rPr lang="es-PY" sz="2900" dirty="0" smtClean="0">
                <a:latin typeface="Calibri" pitchFamily="34" charset="0"/>
                <a:cs typeface="Calibri" pitchFamily="34" charset="0"/>
              </a:rPr>
              <a:t>Simplicidad en los procesos internos</a:t>
            </a:r>
          </a:p>
          <a:p>
            <a:r>
              <a:rPr lang="es-PY" sz="2900" dirty="0" smtClean="0">
                <a:latin typeface="Calibri" pitchFamily="34" charset="0"/>
                <a:cs typeface="Calibri" pitchFamily="34" charset="0"/>
              </a:rPr>
              <a:t>Previsibilidad de recursos para obras</a:t>
            </a:r>
          </a:p>
          <a:p>
            <a:endParaRPr lang="es-PY" sz="29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0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590800" y="1905000"/>
            <a:ext cx="5715000" cy="28194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800" b="1" dirty="0" smtClean="0">
                <a:solidFill>
                  <a:schemeClr val="accent3"/>
                </a:solidFill>
                <a:latin typeface="+mj-lt"/>
                <a:cs typeface="Arial" pitchFamily="34" charset="0"/>
              </a:rPr>
              <a:t>Gustavo Leite</a:t>
            </a:r>
          </a:p>
          <a:p>
            <a:pPr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Ministro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de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Industria</a:t>
            </a:r>
            <a:r>
              <a:rPr lang="en-US" sz="2000" i="1" dirty="0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 y </a:t>
            </a:r>
            <a:r>
              <a:rPr lang="en-US" sz="2000" i="1" dirty="0" err="1" smtClean="0">
                <a:solidFill>
                  <a:srgbClr val="FFFFFF"/>
                </a:solidFill>
                <a:latin typeface="Arial"/>
                <a:cs typeface="Times New Roman" pitchFamily="18" charset="0"/>
              </a:rPr>
              <a:t>Comercio</a:t>
            </a:r>
            <a:endParaRPr lang="en-US" sz="2000" i="1" dirty="0" smtClean="0">
              <a:solidFill>
                <a:srgbClr val="FFFFFF"/>
              </a:solidFill>
              <a:latin typeface="Arial"/>
              <a:cs typeface="Times New Roman" pitchFamily="18" charset="0"/>
            </a:endParaRPr>
          </a:p>
        </p:txBody>
      </p:sp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1400" y="2419350"/>
            <a:ext cx="14351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951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1 Título"/>
          <p:cNvSpPr>
            <a:spLocks noGrp="1"/>
          </p:cNvSpPr>
          <p:nvPr>
            <p:ph type="title"/>
          </p:nvPr>
        </p:nvSpPr>
        <p:spPr>
          <a:xfrm>
            <a:off x="457200" y="-152400"/>
            <a:ext cx="8229600" cy="1143001"/>
          </a:xfrm>
        </p:spPr>
        <p:txBody>
          <a:bodyPr/>
          <a:lstStyle/>
          <a:p>
            <a:r>
              <a:rPr lang="es-PY" dirty="0" smtClean="0"/>
              <a:t>Posicionamiento Mundial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2"/>
          </p:nvPr>
        </p:nvSpPr>
        <p:spPr>
          <a:xfrm>
            <a:off x="76200" y="1487487"/>
            <a:ext cx="4572000" cy="4608513"/>
          </a:xfrm>
        </p:spPr>
        <p:txBody>
          <a:bodyPr/>
          <a:lstStyle/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1er. exportador mundial neto de energía eléctrica</a:t>
            </a:r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1er. exportador mundial de azúcar orgánica</a:t>
            </a:r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2do. productor y exportador mundial de </a:t>
            </a:r>
            <a:r>
              <a:rPr lang="es-PY" sz="1800" b="1" i="1" dirty="0" err="1" smtClean="0"/>
              <a:t>stevia</a:t>
            </a:r>
            <a:endParaRPr lang="es-PY" sz="1800" b="1" i="1" dirty="0" smtClean="0"/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2do. productor mundial de </a:t>
            </a:r>
            <a:r>
              <a:rPr lang="es-PY" sz="1800" b="1" i="1" dirty="0" err="1" smtClean="0"/>
              <a:t>tung</a:t>
            </a:r>
            <a:endParaRPr lang="es-PY" sz="1800" b="1" i="1" dirty="0" smtClean="0"/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3era. flota mundial de barcazas (2.200 unidades con 200 remolcadores)luego de EEUU y China</a:t>
            </a:r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4to. exportador mundial de soja</a:t>
            </a:r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4to. exportador mundial de carbón vegetal</a:t>
            </a:r>
          </a:p>
          <a:p>
            <a:pPr marL="457200" indent="-457200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PY" sz="1800" b="1" i="1" dirty="0" smtClean="0"/>
              <a:t>4to. exportador mundial de almidón de mandioca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787900" y="1466850"/>
            <a:ext cx="4203700" cy="4857750"/>
          </a:xfrm>
        </p:spPr>
        <p:txBody>
          <a:bodyPr rtlCol="0">
            <a:normAutofit fontScale="70000" lnSpcReduction="20000"/>
          </a:bodyPr>
          <a:lstStyle/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4to. exportador mundial de aceite de soja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5to. exportador mundial de harina de soja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5to. mayor consumidor de asado en el mundo, después de Uruguay, Argentina, Brasil, EEUU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6to. productor mundial de soja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6to. exportador mundial de </a:t>
            </a:r>
            <a:r>
              <a:rPr lang="es-PY" b="1" i="1" dirty="0" err="1" smtClean="0"/>
              <a:t>maiz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8vo. industrializador mundial de soja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9no. exportador mundial de carne</a:t>
            </a:r>
            <a:endParaRPr lang="es-PY" dirty="0" smtClean="0"/>
          </a:p>
          <a:p>
            <a:pPr marL="457200" indent="-457200" fontAlgn="auto">
              <a:spcAft>
                <a:spcPts val="0"/>
              </a:spcAft>
              <a:buFont typeface="+mj-lt"/>
              <a:buAutoNum type="arabicPeriod" startAt="9"/>
              <a:defRPr/>
            </a:pPr>
            <a:r>
              <a:rPr lang="es-PY" b="1" i="1" dirty="0" smtClean="0"/>
              <a:t>10mo. exportador mundial de trigo</a:t>
            </a:r>
            <a:endParaRPr lang="es-PY" dirty="0" smtClean="0"/>
          </a:p>
        </p:txBody>
      </p:sp>
    </p:spTree>
    <p:extLst>
      <p:ext uri="{BB962C8B-B14F-4D97-AF65-F5344CB8AC3E}">
        <p14:creationId xmlns:p14="http://schemas.microsoft.com/office/powerpoint/2010/main" val="3686030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 Título"/>
          <p:cNvSpPr>
            <a:spLocks noGrp="1"/>
          </p:cNvSpPr>
          <p:nvPr>
            <p:ph type="title"/>
          </p:nvPr>
        </p:nvSpPr>
        <p:spPr>
          <a:xfrm>
            <a:off x="323850" y="-76200"/>
            <a:ext cx="8496300" cy="9906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s-PY" dirty="0" smtClean="0">
                <a:ea typeface="ＭＳ Ｐゴシック" pitchFamily="34" charset="-128"/>
              </a:rPr>
              <a:t>Menor costo comparativo del energía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4787900" y="6535738"/>
            <a:ext cx="3706813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Fuente: </a:t>
            </a:r>
            <a:r>
              <a:rPr lang="es-ES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CIER </a:t>
            </a:r>
            <a:r>
              <a:rPr lang="es-ES" sz="1000" i="1" dirty="0" err="1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Report</a:t>
            </a:r>
            <a:r>
              <a:rPr lang="es-ES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 </a:t>
            </a:r>
            <a:r>
              <a:rPr lang="es-ES" sz="1000" i="1" dirty="0" err="1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about</a:t>
            </a:r>
            <a:r>
              <a:rPr lang="es-ES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 Electric </a:t>
            </a:r>
            <a:r>
              <a:rPr lang="es-ES" sz="1000" i="1" dirty="0" err="1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Tariff</a:t>
            </a:r>
            <a:r>
              <a:rPr lang="es-ES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 in </a:t>
            </a:r>
            <a:r>
              <a:rPr lang="es-ES" sz="1000" i="1" dirty="0" err="1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Distribution</a:t>
            </a:r>
            <a:r>
              <a:rPr lang="es-ES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 </a:t>
            </a:r>
            <a:r>
              <a:rPr lang="es-ES" sz="1000" i="1" dirty="0" err="1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January</a:t>
            </a:r>
            <a:r>
              <a:rPr lang="es-ES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 / 2012</a:t>
            </a:r>
            <a:r>
              <a:rPr lang="es-PY" sz="1000" i="1" dirty="0">
                <a:solidFill>
                  <a:schemeClr val="bg2">
                    <a:lumMod val="50000"/>
                  </a:schemeClr>
                </a:solidFill>
                <a:latin typeface="+mn-lt"/>
                <a:cs typeface="Arial" pitchFamily="34" charset="0"/>
              </a:rPr>
              <a:t> </a:t>
            </a:r>
          </a:p>
        </p:txBody>
      </p:sp>
      <p:graphicFrame>
        <p:nvGraphicFramePr>
          <p:cNvPr id="6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1447123"/>
              </p:ext>
            </p:extLst>
          </p:nvPr>
        </p:nvGraphicFramePr>
        <p:xfrm>
          <a:off x="251520" y="1243367"/>
          <a:ext cx="4508511" cy="4685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6943940"/>
              </p:ext>
            </p:extLst>
          </p:nvPr>
        </p:nvGraphicFramePr>
        <p:xfrm>
          <a:off x="4788024" y="1243367"/>
          <a:ext cx="3960440" cy="4700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7159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Y" smtClean="0"/>
              <a:t>Costos Salariales Directos</a:t>
            </a:r>
          </a:p>
        </p:txBody>
      </p:sp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1412875"/>
            <a:ext cx="4249738" cy="38496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0487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0" y="1412875"/>
            <a:ext cx="4264025" cy="38877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0054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04800" y="457200"/>
            <a:ext cx="7199313" cy="565150"/>
          </a:xfrm>
        </p:spPr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Mano de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O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bra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J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oven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y </a:t>
            </a:r>
            <a:r>
              <a:rPr kumimoji="0" lang="en-GB" sz="2300" dirty="0">
                <a:solidFill>
                  <a:schemeClr val="accent3"/>
                </a:solidFill>
                <a:ea typeface="+mn-ea"/>
              </a:rPr>
              <a:t>B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ien </a:t>
            </a:r>
            <a:r>
              <a:rPr kumimoji="0" lang="en-GB" sz="2300" dirty="0" err="1">
                <a:solidFill>
                  <a:schemeClr val="accent3"/>
                </a:solidFill>
                <a:ea typeface="+mn-ea"/>
              </a:rPr>
              <a:t>F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ormada</a:t>
            </a:r>
            <a:endParaRPr kumimoji="0" lang="en-GB" sz="2300" dirty="0">
              <a:solidFill>
                <a:schemeClr val="accent3"/>
              </a:solidFill>
              <a:ea typeface="+mn-ea"/>
            </a:endParaRPr>
          </a:p>
        </p:txBody>
      </p:sp>
      <p:pic>
        <p:nvPicPr>
          <p:cNvPr id="18" name="9 Imagen" descr="uruguay.png"/>
          <p:cNvPicPr preferRelativeResize="0"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0" y="4959350"/>
            <a:ext cx="731838" cy="4572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9" name="10 Imagen" descr="argentina.png"/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326188" y="4959350"/>
            <a:ext cx="731837" cy="4572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33126" name="11 Imagen" descr="brasil.png"/>
          <p:cNvPicPr preferRelativeResize="0"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498975" y="4959350"/>
            <a:ext cx="7318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12 Imagen" descr="chile.png"/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411788" y="4972050"/>
            <a:ext cx="731837" cy="4572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33128" name="14 Imagen" descr="Paraguay.png"/>
          <p:cNvPicPr preferRelativeResize="0"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01700" y="4959350"/>
            <a:ext cx="730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9" name="16 Imagen" descr="colombia.png"/>
          <p:cNvPicPr preferRelativeResize="0">
            <a:picLocks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86163" y="4959350"/>
            <a:ext cx="7318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0" name="18 Imagen" descr="perú.jpg"/>
          <p:cNvPicPr preferRelativeResize="0"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673350" y="4959350"/>
            <a:ext cx="730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17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0641607"/>
              </p:ext>
            </p:extLst>
          </p:nvPr>
        </p:nvGraphicFramePr>
        <p:xfrm>
          <a:off x="660400" y="2260600"/>
          <a:ext cx="7442200" cy="261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609600" y="1676400"/>
            <a:ext cx="7543800" cy="358775"/>
          </a:xfrm>
          <a:prstGeom prst="roundRect">
            <a:avLst>
              <a:gd name="adj" fmla="val 22125"/>
            </a:avLst>
          </a:prstGeom>
          <a:solidFill>
            <a:schemeClr val="accent6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s-PY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Población </a:t>
            </a:r>
            <a:r>
              <a:rPr lang="es-PY" sz="12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entre </a:t>
            </a:r>
            <a:r>
              <a:rPr lang="es-PY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0-39 años </a:t>
            </a:r>
            <a:r>
              <a:rPr lang="es-PY" sz="12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/ </a:t>
            </a:r>
            <a:r>
              <a:rPr lang="es-PY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Población Total </a:t>
            </a:r>
            <a:r>
              <a:rPr lang="en-US" sz="1200" b="1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(2011)</a:t>
            </a:r>
            <a:endParaRPr lang="en-GB" sz="1200" b="1" baseline="7000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3133" name="7 Rectángulo"/>
          <p:cNvSpPr>
            <a:spLocks noChangeArrowheads="1"/>
          </p:cNvSpPr>
          <p:nvPr/>
        </p:nvSpPr>
        <p:spPr bwMode="auto">
          <a:xfrm>
            <a:off x="142875" y="6292971"/>
            <a:ext cx="3853940" cy="19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latinLnBrk="1" hangingPunct="0"/>
            <a:r>
              <a:rPr lang="es-PY" sz="1000" i="1" baseline="30000" dirty="0" smtClean="0">
                <a:solidFill>
                  <a:srgbClr val="000000"/>
                </a:solidFill>
              </a:rPr>
              <a:t>Fuente</a:t>
            </a:r>
            <a:r>
              <a:rPr lang="es-PY" sz="1000" i="1" baseline="30000" dirty="0">
                <a:solidFill>
                  <a:srgbClr val="000000"/>
                </a:solidFill>
              </a:rPr>
              <a:t>: Centro Latinoamericano y </a:t>
            </a:r>
            <a:r>
              <a:rPr lang="es-PY" sz="1000" i="1" baseline="30000" dirty="0" smtClean="0">
                <a:solidFill>
                  <a:srgbClr val="000000"/>
                </a:solidFill>
              </a:rPr>
              <a:t>del Caribe de Demografía (CELADE).</a:t>
            </a:r>
            <a:endParaRPr lang="en-US" sz="1000" i="1" baseline="30000" dirty="0">
              <a:solidFill>
                <a:srgbClr val="000000"/>
              </a:solidFill>
            </a:endParaRPr>
          </a:p>
        </p:txBody>
      </p:sp>
      <p:pic>
        <p:nvPicPr>
          <p:cNvPr id="133134" name="Picture 4" descr="https://www.cia.gov/library/publications/the-world-factbook/graphics/flags/large/bl-lgflag.gif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814513" y="4959350"/>
            <a:ext cx="676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903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2 Título"/>
          <p:cNvSpPr>
            <a:spLocks noGrp="1"/>
          </p:cNvSpPr>
          <p:nvPr>
            <p:ph type="title"/>
          </p:nvPr>
        </p:nvSpPr>
        <p:spPr>
          <a:xfrm>
            <a:off x="457200" y="-228601"/>
            <a:ext cx="8229600" cy="1143001"/>
          </a:xfrm>
        </p:spPr>
        <p:txBody>
          <a:bodyPr/>
          <a:lstStyle/>
          <a:p>
            <a:r>
              <a:rPr lang="es-PY" dirty="0" smtClean="0"/>
              <a:t>Sistema Tributario Simple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half" idx="2"/>
          </p:nvPr>
        </p:nvSpPr>
        <p:spPr>
          <a:xfrm>
            <a:off x="395288" y="1119188"/>
            <a:ext cx="8569325" cy="4824412"/>
          </a:xfrm>
        </p:spPr>
        <p:txBody>
          <a:bodyPr rtlCol="0">
            <a:noAutofit/>
          </a:bodyPr>
          <a:lstStyle/>
          <a:p>
            <a:pPr marL="0" indent="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s-PY" sz="1800" i="1" dirty="0" smtClean="0"/>
              <a:t>El sistema tributario paraguayo se apoya en cuatro impuestos básicos : </a:t>
            </a:r>
          </a:p>
          <a:p>
            <a:pPr marL="0" indent="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es-PY" sz="1800" i="1" dirty="0" smtClean="0">
              <a:solidFill>
                <a:schemeClr val="tx1"/>
              </a:solidFill>
            </a:endParaRPr>
          </a:p>
          <a:p>
            <a:pPr marL="742950" indent="-74295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sz="1800" b="1" i="1" dirty="0" smtClean="0">
                <a:solidFill>
                  <a:schemeClr val="tx1"/>
                </a:solidFill>
              </a:rPr>
              <a:t>Impuesto al Valor Agregado (IVA),</a:t>
            </a:r>
          </a:p>
          <a:p>
            <a:pPr marL="742950" indent="-74295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sz="1800" b="1" i="1" dirty="0" smtClean="0">
                <a:solidFill>
                  <a:schemeClr val="tx1"/>
                </a:solidFill>
              </a:rPr>
              <a:t>Impuesto a la Renta de la Empresas (IRACIS);</a:t>
            </a:r>
          </a:p>
          <a:p>
            <a:pPr marL="742950" indent="-74295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sz="1800" b="1" i="1" dirty="0" smtClean="0">
                <a:solidFill>
                  <a:schemeClr val="tx1"/>
                </a:solidFill>
              </a:rPr>
              <a:t>Impuesto Selectivo al Consumo (ISC), e,</a:t>
            </a:r>
          </a:p>
          <a:p>
            <a:pPr marL="742950" indent="-74295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s-PY" sz="1800" b="1" i="1" dirty="0" smtClean="0">
                <a:solidFill>
                  <a:schemeClr val="tx1"/>
                </a:solidFill>
              </a:rPr>
              <a:t>Gravamen aduanero</a:t>
            </a:r>
            <a:r>
              <a:rPr lang="es-PY" sz="1800" b="1" i="1" dirty="0" smtClean="0">
                <a:solidFill>
                  <a:schemeClr val="tx2"/>
                </a:solidFill>
              </a:rPr>
              <a:t>.  </a:t>
            </a:r>
            <a:r>
              <a:rPr lang="es-PY" sz="1800" i="1" dirty="0" smtClean="0"/>
              <a:t> </a:t>
            </a:r>
          </a:p>
          <a:p>
            <a:pPr marL="742950" indent="-742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es-PY" sz="1800" i="1" dirty="0" smtClean="0"/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s-PY" sz="1800" i="1" dirty="0" smtClean="0"/>
              <a:t>Los demás impuestos tienen un impacto marginal.</a:t>
            </a:r>
            <a:endParaRPr lang="es-PY" sz="1800" i="1" dirty="0"/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214716"/>
              </p:ext>
            </p:extLst>
          </p:nvPr>
        </p:nvGraphicFramePr>
        <p:xfrm>
          <a:off x="228600" y="3733800"/>
          <a:ext cx="8782049" cy="2471737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767594"/>
                <a:gridCol w="1332081"/>
                <a:gridCol w="1455976"/>
                <a:gridCol w="1252650"/>
                <a:gridCol w="1973748"/>
              </a:tblGrid>
              <a:tr h="464759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BUTOS</a:t>
                      </a:r>
                      <a:endParaRPr lang="es-ES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GUAY</a:t>
                      </a:r>
                      <a:endParaRPr lang="es-ES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GENTINA</a:t>
                      </a:r>
                      <a:endParaRPr lang="es-ES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UGUAY</a:t>
                      </a:r>
                      <a:endParaRPr lang="es-ES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ASIL</a:t>
                      </a:r>
                      <a:endParaRPr lang="es-ES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543592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A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-5-10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 (promedio)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169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. </a:t>
                      </a:r>
                      <a:r>
                        <a:rPr lang="es-ES" sz="16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s-ES" sz="16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a Renta – </a:t>
                      </a:r>
                      <a:r>
                        <a:rPr lang="es-ES" sz="16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presas</a:t>
                      </a:r>
                      <a:endParaRPr lang="es-ES" sz="16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169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. a la </a:t>
                      </a:r>
                      <a:r>
                        <a:rPr lang="es-ES" sz="16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nta – Personas Físicas</a:t>
                      </a:r>
                      <a:endParaRPr lang="es-ES" sz="16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-10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-35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25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- 27,5</a:t>
                      </a:r>
                    </a:p>
                  </a:txBody>
                  <a:tcPr marL="68579" marR="685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5477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043608" y="116632"/>
            <a:ext cx="7449825" cy="576064"/>
          </a:xfrm>
        </p:spPr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>
                <a:solidFill>
                  <a:schemeClr val="bg1"/>
                </a:solidFill>
                <a:ea typeface="+mn-ea"/>
              </a:rPr>
              <a:t>Paraguay </a:t>
            </a:r>
            <a:r>
              <a:rPr kumimoji="0" lang="en-GB" sz="2300" dirty="0" smtClean="0">
                <a:solidFill>
                  <a:schemeClr val="bg1"/>
                </a:solidFill>
                <a:ea typeface="+mn-ea"/>
              </a:rPr>
              <a:t>en </a:t>
            </a:r>
            <a:r>
              <a:rPr kumimoji="0" lang="en-GB" sz="2300" dirty="0" err="1" smtClean="0">
                <a:solidFill>
                  <a:schemeClr val="bg1"/>
                </a:solidFill>
                <a:ea typeface="+mn-ea"/>
              </a:rPr>
              <a:t>Cifras</a:t>
            </a:r>
            <a:endParaRPr kumimoji="0" lang="en-GB" sz="23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6147" name="AutoShape 3"/>
          <p:cNvSpPr>
            <a:spLocks noChangeArrowheads="1"/>
          </p:cNvSpPr>
          <p:nvPr/>
        </p:nvSpPr>
        <p:spPr bwMode="auto">
          <a:xfrm>
            <a:off x="2540000" y="3473996"/>
            <a:ext cx="4048074" cy="375691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Contribución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 del PIB Sectorial 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Times New Roman" pitchFamily="18" charset="0"/>
              </a:rPr>
              <a:t>(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2008-2012)</a:t>
            </a:r>
            <a:endParaRPr lang="en-GB" sz="1200" b="1" i="1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6148" name="AutoShape 4"/>
          <p:cNvSpPr>
            <a:spLocks noChangeArrowheads="1"/>
          </p:cNvSpPr>
          <p:nvPr/>
        </p:nvSpPr>
        <p:spPr bwMode="auto">
          <a:xfrm>
            <a:off x="76200" y="1123950"/>
            <a:ext cx="8839200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Dato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Relevantes</a:t>
            </a:r>
            <a:endParaRPr lang="en-GB" sz="1200" b="1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  <p:grpSp>
        <p:nvGrpSpPr>
          <p:cNvPr id="93190" name="Group 146"/>
          <p:cNvGrpSpPr>
            <a:grpSpLocks/>
          </p:cNvGrpSpPr>
          <p:nvPr/>
        </p:nvGrpSpPr>
        <p:grpSpPr bwMode="auto">
          <a:xfrm>
            <a:off x="2047875" y="1629173"/>
            <a:ext cx="1133475" cy="1352550"/>
            <a:chOff x="754" y="1136"/>
            <a:chExt cx="714" cy="853"/>
          </a:xfrm>
        </p:grpSpPr>
        <p:sp>
          <p:nvSpPr>
            <p:cNvPr id="93220" name="Freeform 147"/>
            <p:cNvSpPr>
              <a:spLocks noChangeArrowheads="1"/>
            </p:cNvSpPr>
            <p:nvPr/>
          </p:nvSpPr>
          <p:spPr bwMode="auto">
            <a:xfrm>
              <a:off x="754" y="1136"/>
              <a:ext cx="0" cy="0"/>
            </a:xfrm>
            <a:custGeom>
              <a:avLst/>
              <a:gdLst>
                <a:gd name="T0" fmla="*/ 0 w 194"/>
                <a:gd name="T1" fmla="*/ 0 h 253"/>
                <a:gd name="T2" fmla="*/ 0 w 194"/>
                <a:gd name="T3" fmla="*/ 0 h 253"/>
                <a:gd name="T4" fmla="*/ 0 w 194"/>
                <a:gd name="T5" fmla="*/ 0 h 253"/>
                <a:gd name="T6" fmla="*/ 0 w 194"/>
                <a:gd name="T7" fmla="*/ 0 h 253"/>
                <a:gd name="T8" fmla="*/ 0 w 194"/>
                <a:gd name="T9" fmla="*/ 0 h 253"/>
                <a:gd name="T10" fmla="*/ 0 w 194"/>
                <a:gd name="T11" fmla="*/ 0 h 253"/>
                <a:gd name="T12" fmla="*/ 0 w 194"/>
                <a:gd name="T13" fmla="*/ 0 h 253"/>
                <a:gd name="T14" fmla="*/ 0 w 194"/>
                <a:gd name="T15" fmla="*/ 0 h 253"/>
                <a:gd name="T16" fmla="*/ 0 w 194"/>
                <a:gd name="T17" fmla="*/ 0 h 253"/>
                <a:gd name="T18" fmla="*/ 0 w 194"/>
                <a:gd name="T19" fmla="*/ 0 h 253"/>
                <a:gd name="T20" fmla="*/ 0 w 194"/>
                <a:gd name="T21" fmla="*/ 0 h 253"/>
                <a:gd name="T22" fmla="*/ 0 w 194"/>
                <a:gd name="T23" fmla="*/ 0 h 253"/>
                <a:gd name="T24" fmla="*/ 0 w 194"/>
                <a:gd name="T25" fmla="*/ 0 h 253"/>
                <a:gd name="T26" fmla="*/ 0 w 194"/>
                <a:gd name="T27" fmla="*/ 0 h 253"/>
                <a:gd name="T28" fmla="*/ 0 w 194"/>
                <a:gd name="T29" fmla="*/ 0 h 253"/>
                <a:gd name="T30" fmla="*/ 0 w 194"/>
                <a:gd name="T31" fmla="*/ 0 h 253"/>
                <a:gd name="T32" fmla="*/ 0 w 194"/>
                <a:gd name="T33" fmla="*/ 0 h 253"/>
                <a:gd name="T34" fmla="*/ 0 w 194"/>
                <a:gd name="T35" fmla="*/ 0 h 253"/>
                <a:gd name="T36" fmla="*/ 0 w 194"/>
                <a:gd name="T37" fmla="*/ 0 h 253"/>
                <a:gd name="T38" fmla="*/ 0 w 194"/>
                <a:gd name="T39" fmla="*/ 0 h 253"/>
                <a:gd name="T40" fmla="*/ 0 w 194"/>
                <a:gd name="T41" fmla="*/ 0 h 253"/>
                <a:gd name="T42" fmla="*/ 0 w 194"/>
                <a:gd name="T43" fmla="*/ 0 h 253"/>
                <a:gd name="T44" fmla="*/ 0 w 194"/>
                <a:gd name="T45" fmla="*/ 0 h 253"/>
                <a:gd name="T46" fmla="*/ 0 w 194"/>
                <a:gd name="T47" fmla="*/ 0 h 253"/>
                <a:gd name="T48" fmla="*/ 0 w 194"/>
                <a:gd name="T49" fmla="*/ 0 h 253"/>
                <a:gd name="T50" fmla="*/ 0 w 194"/>
                <a:gd name="T51" fmla="*/ 0 h 253"/>
                <a:gd name="T52" fmla="*/ 0 w 194"/>
                <a:gd name="T53" fmla="*/ 0 h 253"/>
                <a:gd name="T54" fmla="*/ 0 w 194"/>
                <a:gd name="T55" fmla="*/ 0 h 253"/>
                <a:gd name="T56" fmla="*/ 0 w 194"/>
                <a:gd name="T57" fmla="*/ 0 h 253"/>
                <a:gd name="T58" fmla="*/ 0 w 194"/>
                <a:gd name="T59" fmla="*/ 0 h 253"/>
                <a:gd name="T60" fmla="*/ 0 w 194"/>
                <a:gd name="T61" fmla="*/ 0 h 25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4"/>
                <a:gd name="T94" fmla="*/ 0 h 253"/>
                <a:gd name="T95" fmla="*/ 194 w 194"/>
                <a:gd name="T96" fmla="*/ 253 h 25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4" h="253">
                  <a:moveTo>
                    <a:pt x="16" y="23"/>
                  </a:moveTo>
                  <a:lnTo>
                    <a:pt x="8" y="55"/>
                  </a:lnTo>
                  <a:lnTo>
                    <a:pt x="0" y="89"/>
                  </a:lnTo>
                  <a:lnTo>
                    <a:pt x="21" y="115"/>
                  </a:lnTo>
                  <a:lnTo>
                    <a:pt x="41" y="139"/>
                  </a:lnTo>
                  <a:lnTo>
                    <a:pt x="60" y="150"/>
                  </a:lnTo>
                  <a:lnTo>
                    <a:pt x="80" y="160"/>
                  </a:lnTo>
                  <a:lnTo>
                    <a:pt x="100" y="174"/>
                  </a:lnTo>
                  <a:lnTo>
                    <a:pt x="119" y="189"/>
                  </a:lnTo>
                  <a:lnTo>
                    <a:pt x="107" y="218"/>
                  </a:lnTo>
                  <a:lnTo>
                    <a:pt x="95" y="248"/>
                  </a:lnTo>
                  <a:lnTo>
                    <a:pt x="123" y="250"/>
                  </a:lnTo>
                  <a:lnTo>
                    <a:pt x="150" y="253"/>
                  </a:lnTo>
                  <a:lnTo>
                    <a:pt x="166" y="247"/>
                  </a:lnTo>
                  <a:lnTo>
                    <a:pt x="188" y="213"/>
                  </a:lnTo>
                  <a:lnTo>
                    <a:pt x="188" y="193"/>
                  </a:lnTo>
                  <a:lnTo>
                    <a:pt x="192" y="168"/>
                  </a:lnTo>
                  <a:lnTo>
                    <a:pt x="194" y="144"/>
                  </a:lnTo>
                  <a:lnTo>
                    <a:pt x="181" y="141"/>
                  </a:lnTo>
                  <a:lnTo>
                    <a:pt x="169" y="141"/>
                  </a:lnTo>
                  <a:lnTo>
                    <a:pt x="164" y="116"/>
                  </a:lnTo>
                  <a:lnTo>
                    <a:pt x="158" y="90"/>
                  </a:lnTo>
                  <a:lnTo>
                    <a:pt x="142" y="87"/>
                  </a:lnTo>
                  <a:lnTo>
                    <a:pt x="108" y="81"/>
                  </a:lnTo>
                  <a:lnTo>
                    <a:pt x="108" y="39"/>
                  </a:lnTo>
                  <a:lnTo>
                    <a:pt x="105" y="25"/>
                  </a:lnTo>
                  <a:lnTo>
                    <a:pt x="106" y="20"/>
                  </a:lnTo>
                  <a:lnTo>
                    <a:pt x="82" y="0"/>
                  </a:lnTo>
                  <a:lnTo>
                    <a:pt x="52" y="4"/>
                  </a:lnTo>
                  <a:lnTo>
                    <a:pt x="21" y="9"/>
                  </a:lnTo>
                  <a:lnTo>
                    <a:pt x="16" y="2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latinLnBrk="1" hangingPunct="0"/>
              <a:endParaRPr lang="en-US" b="1" i="1"/>
            </a:p>
          </p:txBody>
        </p:sp>
        <p:sp>
          <p:nvSpPr>
            <p:cNvPr id="93221" name="Freeform 148"/>
            <p:cNvSpPr>
              <a:spLocks noChangeArrowheads="1"/>
            </p:cNvSpPr>
            <p:nvPr/>
          </p:nvSpPr>
          <p:spPr bwMode="auto">
            <a:xfrm>
              <a:off x="754" y="1136"/>
              <a:ext cx="0" cy="0"/>
            </a:xfrm>
            <a:custGeom>
              <a:avLst/>
              <a:gdLst>
                <a:gd name="T0" fmla="*/ 0 w 194"/>
                <a:gd name="T1" fmla="*/ 0 h 253"/>
                <a:gd name="T2" fmla="*/ 0 w 194"/>
                <a:gd name="T3" fmla="*/ 0 h 253"/>
                <a:gd name="T4" fmla="*/ 0 w 194"/>
                <a:gd name="T5" fmla="*/ 0 h 253"/>
                <a:gd name="T6" fmla="*/ 0 w 194"/>
                <a:gd name="T7" fmla="*/ 0 h 253"/>
                <a:gd name="T8" fmla="*/ 0 w 194"/>
                <a:gd name="T9" fmla="*/ 0 h 253"/>
                <a:gd name="T10" fmla="*/ 0 w 194"/>
                <a:gd name="T11" fmla="*/ 0 h 253"/>
                <a:gd name="T12" fmla="*/ 0 w 194"/>
                <a:gd name="T13" fmla="*/ 0 h 253"/>
                <a:gd name="T14" fmla="*/ 0 w 194"/>
                <a:gd name="T15" fmla="*/ 0 h 253"/>
                <a:gd name="T16" fmla="*/ 0 w 194"/>
                <a:gd name="T17" fmla="*/ 0 h 253"/>
                <a:gd name="T18" fmla="*/ 0 w 194"/>
                <a:gd name="T19" fmla="*/ 0 h 253"/>
                <a:gd name="T20" fmla="*/ 0 w 194"/>
                <a:gd name="T21" fmla="*/ 0 h 253"/>
                <a:gd name="T22" fmla="*/ 0 w 194"/>
                <a:gd name="T23" fmla="*/ 0 h 253"/>
                <a:gd name="T24" fmla="*/ 0 w 194"/>
                <a:gd name="T25" fmla="*/ 0 h 253"/>
                <a:gd name="T26" fmla="*/ 0 w 194"/>
                <a:gd name="T27" fmla="*/ 0 h 253"/>
                <a:gd name="T28" fmla="*/ 0 w 194"/>
                <a:gd name="T29" fmla="*/ 0 h 253"/>
                <a:gd name="T30" fmla="*/ 0 w 194"/>
                <a:gd name="T31" fmla="*/ 0 h 253"/>
                <a:gd name="T32" fmla="*/ 0 w 194"/>
                <a:gd name="T33" fmla="*/ 0 h 253"/>
                <a:gd name="T34" fmla="*/ 0 w 194"/>
                <a:gd name="T35" fmla="*/ 0 h 253"/>
                <a:gd name="T36" fmla="*/ 0 w 194"/>
                <a:gd name="T37" fmla="*/ 0 h 253"/>
                <a:gd name="T38" fmla="*/ 0 w 194"/>
                <a:gd name="T39" fmla="*/ 0 h 253"/>
                <a:gd name="T40" fmla="*/ 0 w 194"/>
                <a:gd name="T41" fmla="*/ 0 h 253"/>
                <a:gd name="T42" fmla="*/ 0 w 194"/>
                <a:gd name="T43" fmla="*/ 0 h 253"/>
                <a:gd name="T44" fmla="*/ 0 w 194"/>
                <a:gd name="T45" fmla="*/ 0 h 253"/>
                <a:gd name="T46" fmla="*/ 0 w 194"/>
                <a:gd name="T47" fmla="*/ 0 h 253"/>
                <a:gd name="T48" fmla="*/ 0 w 194"/>
                <a:gd name="T49" fmla="*/ 0 h 253"/>
                <a:gd name="T50" fmla="*/ 0 w 194"/>
                <a:gd name="T51" fmla="*/ 0 h 253"/>
                <a:gd name="T52" fmla="*/ 0 w 194"/>
                <a:gd name="T53" fmla="*/ 0 h 253"/>
                <a:gd name="T54" fmla="*/ 0 w 194"/>
                <a:gd name="T55" fmla="*/ 0 h 253"/>
                <a:gd name="T56" fmla="*/ 0 w 194"/>
                <a:gd name="T57" fmla="*/ 0 h 253"/>
                <a:gd name="T58" fmla="*/ 0 w 194"/>
                <a:gd name="T59" fmla="*/ 0 h 253"/>
                <a:gd name="T60" fmla="*/ 0 w 194"/>
                <a:gd name="T61" fmla="*/ 0 h 25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4"/>
                <a:gd name="T94" fmla="*/ 0 h 253"/>
                <a:gd name="T95" fmla="*/ 194 w 194"/>
                <a:gd name="T96" fmla="*/ 253 h 25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4" h="253">
                  <a:moveTo>
                    <a:pt x="16" y="23"/>
                  </a:moveTo>
                  <a:lnTo>
                    <a:pt x="8" y="55"/>
                  </a:lnTo>
                  <a:lnTo>
                    <a:pt x="0" y="89"/>
                  </a:lnTo>
                  <a:lnTo>
                    <a:pt x="21" y="115"/>
                  </a:lnTo>
                  <a:lnTo>
                    <a:pt x="41" y="139"/>
                  </a:lnTo>
                  <a:lnTo>
                    <a:pt x="60" y="150"/>
                  </a:lnTo>
                  <a:lnTo>
                    <a:pt x="80" y="160"/>
                  </a:lnTo>
                  <a:lnTo>
                    <a:pt x="100" y="174"/>
                  </a:lnTo>
                  <a:lnTo>
                    <a:pt x="119" y="189"/>
                  </a:lnTo>
                  <a:lnTo>
                    <a:pt x="107" y="218"/>
                  </a:lnTo>
                  <a:lnTo>
                    <a:pt x="95" y="248"/>
                  </a:lnTo>
                  <a:lnTo>
                    <a:pt x="123" y="250"/>
                  </a:lnTo>
                  <a:lnTo>
                    <a:pt x="150" y="253"/>
                  </a:lnTo>
                  <a:lnTo>
                    <a:pt x="166" y="247"/>
                  </a:lnTo>
                  <a:lnTo>
                    <a:pt x="188" y="213"/>
                  </a:lnTo>
                  <a:lnTo>
                    <a:pt x="188" y="193"/>
                  </a:lnTo>
                  <a:lnTo>
                    <a:pt x="192" y="168"/>
                  </a:lnTo>
                  <a:lnTo>
                    <a:pt x="194" y="144"/>
                  </a:lnTo>
                  <a:lnTo>
                    <a:pt x="181" y="141"/>
                  </a:lnTo>
                  <a:lnTo>
                    <a:pt x="169" y="141"/>
                  </a:lnTo>
                  <a:lnTo>
                    <a:pt x="164" y="116"/>
                  </a:lnTo>
                  <a:lnTo>
                    <a:pt x="158" y="90"/>
                  </a:lnTo>
                  <a:lnTo>
                    <a:pt x="142" y="87"/>
                  </a:lnTo>
                  <a:lnTo>
                    <a:pt x="108" y="81"/>
                  </a:lnTo>
                  <a:lnTo>
                    <a:pt x="108" y="39"/>
                  </a:lnTo>
                  <a:lnTo>
                    <a:pt x="105" y="25"/>
                  </a:lnTo>
                  <a:lnTo>
                    <a:pt x="106" y="20"/>
                  </a:lnTo>
                  <a:lnTo>
                    <a:pt x="82" y="0"/>
                  </a:lnTo>
                  <a:lnTo>
                    <a:pt x="52" y="4"/>
                  </a:lnTo>
                  <a:lnTo>
                    <a:pt x="21" y="9"/>
                  </a:lnTo>
                  <a:lnTo>
                    <a:pt x="16" y="23"/>
                  </a:lnTo>
                  <a:close/>
                </a:path>
              </a:pathLst>
            </a:custGeom>
            <a:solidFill>
              <a:schemeClr val="accent1"/>
            </a:solidFill>
            <a:ln w="11113" cap="rnd">
              <a:solidFill>
                <a:srgbClr val="909090"/>
              </a:solidFill>
              <a:round/>
              <a:headEnd/>
              <a:tailEnd/>
            </a:ln>
          </p:spPr>
          <p:txBody>
            <a:bodyPr/>
            <a:lstStyle/>
            <a:p>
              <a:pPr eaLnBrk="0" latinLnBrk="1" hangingPunct="0"/>
              <a:endParaRPr lang="en-US" b="1" i="1"/>
            </a:p>
          </p:txBody>
        </p:sp>
      </p:grpSp>
      <p:sp>
        <p:nvSpPr>
          <p:cNvPr id="93203" name="28 CuadroTexto"/>
          <p:cNvSpPr txBox="1">
            <a:spLocks noChangeArrowheads="1"/>
          </p:cNvSpPr>
          <p:nvPr/>
        </p:nvSpPr>
        <p:spPr bwMode="auto">
          <a:xfrm>
            <a:off x="285750" y="6551613"/>
            <a:ext cx="883575" cy="19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eaLnBrk="0" latinLnBrk="1" hangingPunct="0">
              <a:defRPr sz="1000" i="1" baseline="30000"/>
            </a:lvl1pPr>
          </a:lstStyle>
          <a:p>
            <a:r>
              <a:rPr lang="en-US" dirty="0" err="1" smtClean="0"/>
              <a:t>Fuente</a:t>
            </a:r>
            <a:r>
              <a:rPr lang="en-US" dirty="0" smtClean="0"/>
              <a:t>: </a:t>
            </a:r>
            <a:r>
              <a:rPr lang="en-US" dirty="0" err="1" smtClean="0"/>
              <a:t>BCPy</a:t>
            </a:r>
            <a:r>
              <a:rPr lang="en-US" dirty="0"/>
              <a:t>, EIU.</a:t>
            </a:r>
          </a:p>
        </p:txBody>
      </p:sp>
      <p:graphicFrame>
        <p:nvGraphicFramePr>
          <p:cNvPr id="8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0195157"/>
              </p:ext>
            </p:extLst>
          </p:nvPr>
        </p:nvGraphicFramePr>
        <p:xfrm>
          <a:off x="2209800" y="3962400"/>
          <a:ext cx="48006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93223" name="Picture 3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25" y="1674019"/>
            <a:ext cx="942975" cy="1678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Isosceles Triangle 3"/>
          <p:cNvSpPr/>
          <p:nvPr/>
        </p:nvSpPr>
        <p:spPr bwMode="auto">
          <a:xfrm rot="16200000">
            <a:off x="861249" y="2061002"/>
            <a:ext cx="1239043" cy="838935"/>
          </a:xfrm>
          <a:prstGeom prst="triangle">
            <a:avLst/>
          </a:prstGeom>
          <a:solidFill>
            <a:srgbClr val="CCDCF6">
              <a:alpha val="5098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1896858" y="1855392"/>
            <a:ext cx="1251866" cy="1244599"/>
          </a:xfrm>
          <a:prstGeom prst="rect">
            <a:avLst/>
          </a:prstGeom>
          <a:solidFill>
            <a:srgbClr val="CCDCF6">
              <a:alpha val="5098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latinLnBrk="1" hangingPunct="0"/>
            <a:endParaRPr lang="en-US">
              <a:cs typeface="Arial" pitchFamily="34" charset="0"/>
            </a:endParaRPr>
          </a:p>
        </p:txBody>
      </p:sp>
      <p:pic>
        <p:nvPicPr>
          <p:cNvPr id="3" name="Picture 37"/>
          <p:cNvPicPr>
            <a:picLocks noChangeAspect="1" noChangeArrowheads="1"/>
          </p:cNvPicPr>
          <p:nvPr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126" y="1866107"/>
            <a:ext cx="1142326" cy="122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3193" name="Freeform 153"/>
          <p:cNvSpPr>
            <a:spLocks noChangeArrowheads="1"/>
          </p:cNvSpPr>
          <p:nvPr/>
        </p:nvSpPr>
        <p:spPr bwMode="auto">
          <a:xfrm>
            <a:off x="2663823" y="2686448"/>
            <a:ext cx="123825" cy="123825"/>
          </a:xfrm>
          <a:custGeom>
            <a:avLst/>
            <a:gdLst>
              <a:gd name="T0" fmla="*/ 0 w 130175"/>
              <a:gd name="T1" fmla="*/ 47297 h 130175"/>
              <a:gd name="T2" fmla="*/ 47297 w 130175"/>
              <a:gd name="T3" fmla="*/ 47297 h 130175"/>
              <a:gd name="T4" fmla="*/ 61913 w 130175"/>
              <a:gd name="T5" fmla="*/ 0 h 130175"/>
              <a:gd name="T6" fmla="*/ 76528 w 130175"/>
              <a:gd name="T7" fmla="*/ 47297 h 130175"/>
              <a:gd name="T8" fmla="*/ 123825 w 130175"/>
              <a:gd name="T9" fmla="*/ 47297 h 130175"/>
              <a:gd name="T10" fmla="*/ 85560 w 130175"/>
              <a:gd name="T11" fmla="*/ 76528 h 130175"/>
              <a:gd name="T12" fmla="*/ 100177 w 130175"/>
              <a:gd name="T13" fmla="*/ 123825 h 130175"/>
              <a:gd name="T14" fmla="*/ 61913 w 130175"/>
              <a:gd name="T15" fmla="*/ 94593 h 130175"/>
              <a:gd name="T16" fmla="*/ 23648 w 130175"/>
              <a:gd name="T17" fmla="*/ 123825 h 130175"/>
              <a:gd name="T18" fmla="*/ 38265 w 130175"/>
              <a:gd name="T19" fmla="*/ 76528 h 130175"/>
              <a:gd name="T20" fmla="*/ 0 w 130175"/>
              <a:gd name="T21" fmla="*/ 47297 h 13017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30175"/>
              <a:gd name="T34" fmla="*/ 0 h 130175"/>
              <a:gd name="T35" fmla="*/ 130175 w 130175"/>
              <a:gd name="T36" fmla="*/ 130175 h 13017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30175" h="130175">
                <a:moveTo>
                  <a:pt x="0" y="49722"/>
                </a:moveTo>
                <a:lnTo>
                  <a:pt x="49723" y="49723"/>
                </a:lnTo>
                <a:lnTo>
                  <a:pt x="65088" y="0"/>
                </a:lnTo>
                <a:lnTo>
                  <a:pt x="80452" y="49723"/>
                </a:lnTo>
                <a:lnTo>
                  <a:pt x="130175" y="49722"/>
                </a:lnTo>
                <a:lnTo>
                  <a:pt x="89948" y="80452"/>
                </a:lnTo>
                <a:lnTo>
                  <a:pt x="105314" y="130175"/>
                </a:lnTo>
                <a:lnTo>
                  <a:pt x="65088" y="99444"/>
                </a:lnTo>
                <a:lnTo>
                  <a:pt x="24861" y="130175"/>
                </a:lnTo>
                <a:lnTo>
                  <a:pt x="40227" y="80452"/>
                </a:lnTo>
                <a:lnTo>
                  <a:pt x="0" y="49722"/>
                </a:lnTo>
                <a:close/>
              </a:path>
            </a:pathLst>
          </a:custGeom>
          <a:solidFill>
            <a:schemeClr val="hlink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latinLnBrk="1" hangingPunct="0"/>
            <a:endParaRPr lang="en-US" b="1" i="1"/>
          </a:p>
        </p:txBody>
      </p:sp>
      <p:sp>
        <p:nvSpPr>
          <p:cNvPr id="93192" name="Rectangle 151"/>
          <p:cNvSpPr>
            <a:spLocks noChangeArrowheads="1"/>
          </p:cNvSpPr>
          <p:nvPr/>
        </p:nvSpPr>
        <p:spPr bwMode="auto">
          <a:xfrm>
            <a:off x="2432050" y="2477691"/>
            <a:ext cx="73977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1" hangingPunct="0">
              <a:spcBef>
                <a:spcPct val="50000"/>
              </a:spcBef>
            </a:pPr>
            <a:r>
              <a:rPr lang="en-GB" sz="700" b="1" dirty="0" smtClean="0">
                <a:latin typeface="+mj-lt"/>
                <a:cs typeface="Times New Roman" pitchFamily="18" charset="0"/>
              </a:rPr>
              <a:t>Asunción</a:t>
            </a:r>
            <a:endParaRPr lang="en-GB" sz="700" b="1" i="1" dirty="0">
              <a:latin typeface="+mj-lt"/>
              <a:cs typeface="Times New Roman" pitchFamily="18" charset="0"/>
            </a:endParaRPr>
          </a:p>
        </p:txBody>
      </p:sp>
      <p:pic>
        <p:nvPicPr>
          <p:cNvPr id="93195" name="Picture 155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1552575" y="2284016"/>
            <a:ext cx="34766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96" name="Rectangle 156"/>
          <p:cNvSpPr>
            <a:spLocks noChangeArrowheads="1"/>
          </p:cNvSpPr>
          <p:nvPr/>
        </p:nvSpPr>
        <p:spPr bwMode="auto">
          <a:xfrm>
            <a:off x="1371600" y="2477691"/>
            <a:ext cx="7556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1" hangingPunct="0">
              <a:spcBef>
                <a:spcPct val="50000"/>
              </a:spcBef>
            </a:pPr>
            <a:r>
              <a:rPr lang="en-GB" sz="800" b="1" dirty="0">
                <a:solidFill>
                  <a:schemeClr val="accent2"/>
                </a:solidFill>
                <a:latin typeface="+mj-lt"/>
                <a:cs typeface="Times New Roman" pitchFamily="18" charset="0"/>
              </a:rPr>
              <a:t>Paraguay</a:t>
            </a:r>
            <a:endParaRPr lang="en-GB" sz="800" b="1" i="1" dirty="0">
              <a:solidFill>
                <a:schemeClr val="accent2"/>
              </a:solidFill>
              <a:latin typeface="+mj-lt"/>
              <a:cs typeface="Times New Roman" pitchFamily="18" charset="0"/>
            </a:endParaRPr>
          </a:p>
        </p:txBody>
      </p:sp>
      <p:graphicFrame>
        <p:nvGraphicFramePr>
          <p:cNvPr id="74" name="Group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35492"/>
              </p:ext>
            </p:extLst>
          </p:nvPr>
        </p:nvGraphicFramePr>
        <p:xfrm>
          <a:off x="5826912" y="1513443"/>
          <a:ext cx="2859888" cy="1760220"/>
        </p:xfrm>
        <a:graphic>
          <a:graphicData uri="http://schemas.openxmlformats.org/drawingml/2006/table">
            <a:tbl>
              <a:tblPr/>
              <a:tblGrid>
                <a:gridCol w="1747709"/>
                <a:gridCol w="1112179"/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publica</a:t>
                      </a: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del Paraguay</a:t>
                      </a:r>
                      <a:endParaRPr kumimoji="0" lang="en-US" sz="105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oblación</a:t>
                      </a: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(2012)</a:t>
                      </a:r>
                    </a:p>
                  </a:txBody>
                  <a:tcPr marL="45720" marR="457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6.7 </a:t>
                      </a: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millones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Tamaño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fontAlgn="auto">
                        <a:spcBef>
                          <a:spcPts val="500"/>
                        </a:spcBef>
                        <a:spcAft>
                          <a:spcPts val="300"/>
                        </a:spcAft>
                        <a:buClr>
                          <a:srgbClr val="9F2936"/>
                        </a:buClr>
                        <a:buFont typeface="Wingdings" pitchFamily="2" charset="2"/>
                        <a:buNone/>
                        <a:defRPr/>
                      </a:pPr>
                      <a:r>
                        <a:rPr kumimoji="0" lang="en-GB" sz="1050" kern="0" dirty="0" smtClean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06,752 km2</a:t>
                      </a:r>
                      <a:endParaRPr kumimoji="0" lang="en-GB" sz="1050" kern="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Capital</a:t>
                      </a:r>
                    </a:p>
                  </a:txBody>
                  <a:tcPr marL="45720" marR="457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Asunción</a:t>
                      </a: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IB Nominal  (2012)</a:t>
                      </a:r>
                    </a:p>
                  </a:txBody>
                  <a:tcPr marL="45720" marR="457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US$25.5 </a:t>
                      </a: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billones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IB/Capita (2012)</a:t>
                      </a:r>
                    </a:p>
                  </a:txBody>
                  <a:tcPr marL="45720" marR="457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US$3,829</a:t>
                      </a: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atings </a:t>
                      </a: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oberano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Ba3/BB-/BB-</a:t>
                      </a: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7" name="Group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377583"/>
              </p:ext>
            </p:extLst>
          </p:nvPr>
        </p:nvGraphicFramePr>
        <p:xfrm>
          <a:off x="3949700" y="1519514"/>
          <a:ext cx="1676399" cy="1802132"/>
        </p:xfrm>
        <a:graphic>
          <a:graphicData uri="http://schemas.openxmlformats.org/drawingml/2006/table">
            <a:tbl>
              <a:tblPr/>
              <a:tblGrid>
                <a:gridCol w="1676399"/>
              </a:tblGrid>
              <a:tr h="1968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Referencia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 Global:</a:t>
                      </a: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76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Exportador</a:t>
                      </a: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de </a:t>
                      </a: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Electricidad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76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Exportador</a:t>
                      </a: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de Carn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76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Exportador</a:t>
                      </a: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de </a:t>
                      </a: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Granos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76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Exportador</a:t>
                      </a: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de </a:t>
                      </a:r>
                      <a:r>
                        <a:rPr kumimoji="0" 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Alimentos</a:t>
                      </a: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87" name="Group 64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05205" y="2958590"/>
            <a:ext cx="389763" cy="355436"/>
            <a:chOff x="1606" y="1933"/>
            <a:chExt cx="206" cy="188"/>
          </a:xfrm>
        </p:grpSpPr>
        <p:pic>
          <p:nvPicPr>
            <p:cNvPr id="88" name="Picture 65" descr="Award_Small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9" name="Text Box 66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>
                <a:spcBef>
                  <a:spcPct val="50000"/>
                </a:spcBef>
              </a:pPr>
              <a:endParaRPr lang="en-US" sz="900" b="1" dirty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90" name="Group 64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505205" y="2563076"/>
            <a:ext cx="389763" cy="355436"/>
            <a:chOff x="1606" y="1933"/>
            <a:chExt cx="206" cy="188"/>
          </a:xfrm>
        </p:grpSpPr>
        <p:pic>
          <p:nvPicPr>
            <p:cNvPr id="91" name="Picture 65" descr="Award_Small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" name="Text Box 6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>
                <a:spcBef>
                  <a:spcPct val="50000"/>
                </a:spcBef>
              </a:pPr>
              <a:endParaRPr lang="en-US" sz="900" b="1" dirty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93" name="Group 64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3505205" y="1772048"/>
            <a:ext cx="389763" cy="355436"/>
            <a:chOff x="1606" y="1933"/>
            <a:chExt cx="206" cy="188"/>
          </a:xfrm>
        </p:grpSpPr>
        <p:pic>
          <p:nvPicPr>
            <p:cNvPr id="94" name="Picture 65" descr="Award_Small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5" name="Text Box 6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>
                <a:spcBef>
                  <a:spcPct val="50000"/>
                </a:spcBef>
              </a:pPr>
              <a:endParaRPr lang="en-US" sz="900" b="1" dirty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96" name="Group 64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505205" y="2167562"/>
            <a:ext cx="389763" cy="355436"/>
            <a:chOff x="1606" y="1933"/>
            <a:chExt cx="206" cy="188"/>
          </a:xfrm>
        </p:grpSpPr>
        <p:pic>
          <p:nvPicPr>
            <p:cNvPr id="97" name="Picture 65" descr="Award_Small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8" name="Text Box 6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06" y="1933"/>
              <a:ext cx="206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>
                <a:spcBef>
                  <a:spcPct val="50000"/>
                </a:spcBef>
              </a:pPr>
              <a:endParaRPr lang="en-US" sz="900" b="1" dirty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5" name="Text Box 98"/>
          <p:cNvSpPr txBox="1">
            <a:spLocks noChangeArrowheads="1"/>
          </p:cNvSpPr>
          <p:nvPr/>
        </p:nvSpPr>
        <p:spPr bwMode="auto">
          <a:xfrm>
            <a:off x="3556417" y="1751328"/>
            <a:ext cx="287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2000" b="1" dirty="0">
                <a:solidFill>
                  <a:srgbClr val="003082"/>
                </a:solidFill>
                <a:sym typeface="Wingdings 2" pitchFamily="18" charset="2"/>
              </a:rPr>
              <a:t></a:t>
            </a:r>
          </a:p>
        </p:txBody>
      </p:sp>
      <p:sp>
        <p:nvSpPr>
          <p:cNvPr id="36" name="Text Box 98"/>
          <p:cNvSpPr txBox="1">
            <a:spLocks noChangeArrowheads="1"/>
          </p:cNvSpPr>
          <p:nvPr/>
        </p:nvSpPr>
        <p:spPr bwMode="auto">
          <a:xfrm>
            <a:off x="3556417" y="2140272"/>
            <a:ext cx="287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2000" b="1" dirty="0">
                <a:solidFill>
                  <a:srgbClr val="003082"/>
                </a:solidFill>
                <a:sym typeface="Wingdings 2" pitchFamily="18" charset="2"/>
              </a:rPr>
              <a:t></a:t>
            </a:r>
          </a:p>
        </p:txBody>
      </p:sp>
      <p:sp>
        <p:nvSpPr>
          <p:cNvPr id="37" name="Text Box 98"/>
          <p:cNvSpPr txBox="1">
            <a:spLocks noChangeArrowheads="1"/>
          </p:cNvSpPr>
          <p:nvPr/>
        </p:nvSpPr>
        <p:spPr bwMode="auto">
          <a:xfrm>
            <a:off x="3556417" y="2541773"/>
            <a:ext cx="287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2000" b="1" dirty="0">
                <a:solidFill>
                  <a:srgbClr val="003082"/>
                </a:solidFill>
                <a:sym typeface="Wingdings 2" pitchFamily="18" charset="2"/>
              </a:rPr>
              <a:t></a:t>
            </a:r>
          </a:p>
        </p:txBody>
      </p:sp>
      <p:sp>
        <p:nvSpPr>
          <p:cNvPr id="38" name="Text Box 98"/>
          <p:cNvSpPr txBox="1">
            <a:spLocks noChangeArrowheads="1"/>
          </p:cNvSpPr>
          <p:nvPr/>
        </p:nvSpPr>
        <p:spPr bwMode="auto">
          <a:xfrm>
            <a:off x="3562567" y="2941316"/>
            <a:ext cx="287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2000" b="1" dirty="0">
                <a:solidFill>
                  <a:srgbClr val="003082"/>
                </a:solidFill>
                <a:sym typeface="Wingdings 2" pitchFamily="18" charset="2"/>
              </a:rPr>
              <a:t>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9853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1 Título"/>
          <p:cNvSpPr>
            <a:spLocks noGrp="1"/>
          </p:cNvSpPr>
          <p:nvPr>
            <p:ph type="title"/>
          </p:nvPr>
        </p:nvSpPr>
        <p:spPr>
          <a:xfrm>
            <a:off x="457200" y="-152400"/>
            <a:ext cx="8229600" cy="1143001"/>
          </a:xfrm>
        </p:spPr>
        <p:txBody>
          <a:bodyPr/>
          <a:lstStyle/>
          <a:p>
            <a:r>
              <a:rPr lang="es-PY" dirty="0" smtClean="0"/>
              <a:t>Presión Tributaria </a:t>
            </a:r>
            <a:r>
              <a:rPr lang="es-PY" dirty="0"/>
              <a:t>C</a:t>
            </a:r>
            <a:r>
              <a:rPr lang="es-PY" dirty="0" smtClean="0"/>
              <a:t>omparada </a:t>
            </a:r>
            <a:r>
              <a:rPr lang="es-PY" sz="1400" dirty="0" smtClean="0"/>
              <a:t>(% del PIB)</a:t>
            </a:r>
            <a:endParaRPr lang="es-PY" dirty="0" smtClean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02524911"/>
              </p:ext>
            </p:extLst>
          </p:nvPr>
        </p:nvGraphicFramePr>
        <p:xfrm>
          <a:off x="406400" y="1217613"/>
          <a:ext cx="8331200" cy="4959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3018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7 Título"/>
          <p:cNvSpPr>
            <a:spLocks noGrp="1"/>
          </p:cNvSpPr>
          <p:nvPr>
            <p:ph type="title"/>
          </p:nvPr>
        </p:nvSpPr>
        <p:spPr>
          <a:xfrm>
            <a:off x="250825" y="-76200"/>
            <a:ext cx="8642350" cy="1052513"/>
          </a:xfrm>
        </p:spPr>
        <p:txBody>
          <a:bodyPr/>
          <a:lstStyle/>
          <a:p>
            <a:r>
              <a:rPr lang="es-PY" sz="2000" b="1" dirty="0" smtClean="0">
                <a:ea typeface="ＭＳ Ｐゴシック" pitchFamily="34" charset="-128"/>
              </a:rPr>
              <a:t>LEY 60/90 : </a:t>
            </a:r>
            <a:r>
              <a:rPr lang="es-PY" sz="2000" dirty="0" smtClean="0">
                <a:ea typeface="ＭＳ Ｐゴシック" pitchFamily="34" charset="-128"/>
              </a:rPr>
              <a:t>Incentivos Fiscales para la Inversión de Capital </a:t>
            </a:r>
          </a:p>
        </p:txBody>
      </p:sp>
      <p:sp>
        <p:nvSpPr>
          <p:cNvPr id="10" name="9 Recortar rectángulo de esquina diagonal"/>
          <p:cNvSpPr/>
          <p:nvPr/>
        </p:nvSpPr>
        <p:spPr>
          <a:xfrm>
            <a:off x="971600" y="1340768"/>
            <a:ext cx="6984776" cy="936104"/>
          </a:xfrm>
          <a:prstGeom prst="snip2DiagRect">
            <a:avLst/>
          </a:prstGeom>
          <a:solidFill>
            <a:schemeClr val="accent2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Arancel de importación de </a:t>
            </a:r>
            <a:r>
              <a:rPr lang="en-US" sz="2000" i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Bienes de Capital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(Maquinarias y equipos)</a:t>
            </a:r>
          </a:p>
        </p:txBody>
      </p:sp>
      <p:sp>
        <p:nvSpPr>
          <p:cNvPr id="11" name="10 Recortar rectángulo de esquina diagonal"/>
          <p:cNvSpPr/>
          <p:nvPr/>
        </p:nvSpPr>
        <p:spPr>
          <a:xfrm>
            <a:off x="971600" y="5157192"/>
            <a:ext cx="6957986" cy="1008112"/>
          </a:xfrm>
          <a:prstGeom prst="snip2DiagRect">
            <a:avLst/>
          </a:prstGeom>
          <a:solidFill>
            <a:schemeClr val="accent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mpuesto al pago de dividendos y envio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de utilidades al exterior</a:t>
            </a:r>
            <a:endParaRPr lang="en-US" sz="2000" i="1" smtClean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 MT" pitchFamily="34" charset="0"/>
              <a:cs typeface="Arial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(aplicado a inversiones superiores a US$ 5 mill. en un lapso de 10 años)</a:t>
            </a:r>
          </a:p>
        </p:txBody>
      </p:sp>
      <p:sp>
        <p:nvSpPr>
          <p:cNvPr id="16" name="15 Elipse"/>
          <p:cNvSpPr/>
          <p:nvPr/>
        </p:nvSpPr>
        <p:spPr>
          <a:xfrm>
            <a:off x="7236296" y="1268760"/>
            <a:ext cx="1224136" cy="1084680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2800" dirty="0"/>
              <a:t>0%</a:t>
            </a:r>
            <a:endParaRPr lang="es-PY" sz="1000" dirty="0"/>
          </a:p>
        </p:txBody>
      </p:sp>
      <p:sp>
        <p:nvSpPr>
          <p:cNvPr id="19468" name="11 CuadroTexto"/>
          <p:cNvSpPr txBox="1">
            <a:spLocks noChangeArrowheads="1"/>
          </p:cNvSpPr>
          <p:nvPr/>
        </p:nvSpPr>
        <p:spPr bwMode="auto">
          <a:xfrm>
            <a:off x="4932363" y="6489700"/>
            <a:ext cx="39290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1000" i="1">
                <a:solidFill>
                  <a:srgbClr val="6F6F6F"/>
                </a:solidFill>
                <a:latin typeface="Gill Sans MT" pitchFamily="34" charset="0"/>
              </a:rPr>
              <a:t>Fuente: Ministerio de Hacienda – </a:t>
            </a:r>
            <a:r>
              <a:rPr lang="en-US" sz="1000" i="1">
                <a:solidFill>
                  <a:srgbClr val="6F6F6F"/>
                </a:solidFill>
                <a:latin typeface="Gill Sans MT" pitchFamily="34" charset="0"/>
                <a:hlinkClick r:id="rId3"/>
              </a:rPr>
              <a:t>www.hacienda.gov.py</a:t>
            </a:r>
            <a:r>
              <a:rPr lang="en-US" sz="1000" i="1">
                <a:solidFill>
                  <a:srgbClr val="6F6F6F"/>
                </a:solidFill>
                <a:latin typeface="Gill Sans MT" pitchFamily="34" charset="0"/>
              </a:rPr>
              <a:t> </a:t>
            </a:r>
          </a:p>
        </p:txBody>
      </p:sp>
      <p:sp>
        <p:nvSpPr>
          <p:cNvPr id="8" name="7 Elipse"/>
          <p:cNvSpPr/>
          <p:nvPr/>
        </p:nvSpPr>
        <p:spPr>
          <a:xfrm>
            <a:off x="7236296" y="5085184"/>
            <a:ext cx="1264794" cy="1129898"/>
          </a:xfrm>
          <a:prstGeom prst="ellips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2800" dirty="0"/>
              <a:t>0%</a:t>
            </a:r>
          </a:p>
        </p:txBody>
      </p:sp>
      <p:sp>
        <p:nvSpPr>
          <p:cNvPr id="13" name="12 Recortar rectángulo de esquina diagonal"/>
          <p:cNvSpPr/>
          <p:nvPr/>
        </p:nvSpPr>
        <p:spPr>
          <a:xfrm>
            <a:off x="971600" y="3861048"/>
            <a:ext cx="6717452" cy="1008112"/>
          </a:xfrm>
          <a:prstGeom prst="snip2DiagRect">
            <a:avLst/>
          </a:prstGeom>
          <a:solidFill>
            <a:schemeClr val="accent2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mpuesto</a:t>
            </a:r>
            <a:r>
              <a:rPr lang="en-US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a </a:t>
            </a: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las</a:t>
            </a:r>
            <a:r>
              <a:rPr lang="en-US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</a:t>
            </a: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remesas</a:t>
            </a:r>
            <a:r>
              <a:rPr lang="en-US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y </a:t>
            </a: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pagos</a:t>
            </a:r>
            <a:r>
              <a:rPr lang="en-US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al exterior en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concepto</a:t>
            </a:r>
            <a:r>
              <a:rPr lang="en-US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de capital, </a:t>
            </a: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ntereses</a:t>
            </a:r>
            <a:r>
              <a:rPr lang="en-US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y </a:t>
            </a:r>
            <a:r>
              <a:rPr lang="en-US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comisiones</a:t>
            </a:r>
            <a:endParaRPr lang="en-US" sz="2000" dirty="0" smtClean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 MT" pitchFamily="34" charset="0"/>
              <a:cs typeface="Arial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(</a:t>
            </a:r>
            <a:r>
              <a:rPr lang="en-US" sz="14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aplicado</a:t>
            </a:r>
            <a:r>
              <a:rPr lang="en-US" sz="14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a </a:t>
            </a:r>
            <a:r>
              <a:rPr lang="en-US" sz="14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nversiones</a:t>
            </a:r>
            <a:r>
              <a:rPr lang="en-US" sz="14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superiores</a:t>
            </a:r>
            <a:r>
              <a:rPr lang="en-US" sz="14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a US$ 5 mill. )</a:t>
            </a:r>
          </a:p>
        </p:txBody>
      </p:sp>
      <p:sp>
        <p:nvSpPr>
          <p:cNvPr id="14" name="13 Elipse"/>
          <p:cNvSpPr/>
          <p:nvPr/>
        </p:nvSpPr>
        <p:spPr>
          <a:xfrm>
            <a:off x="7236296" y="3789040"/>
            <a:ext cx="1296144" cy="1143008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2800" dirty="0"/>
              <a:t>0%</a:t>
            </a:r>
            <a:endParaRPr lang="es-PY" sz="1000" dirty="0"/>
          </a:p>
        </p:txBody>
      </p:sp>
      <p:sp>
        <p:nvSpPr>
          <p:cNvPr id="15" name="14 Recortar rectángulo de esquina diagonal"/>
          <p:cNvSpPr/>
          <p:nvPr/>
        </p:nvSpPr>
        <p:spPr>
          <a:xfrm>
            <a:off x="971600" y="2564904"/>
            <a:ext cx="6859758" cy="1008112"/>
          </a:xfrm>
          <a:prstGeom prst="snip2DiagRect">
            <a:avLst/>
          </a:prstGeom>
          <a:solidFill>
            <a:schemeClr val="accent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mpuesto al Valor Agregado (IVA) sobre los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i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Bienes de Capital </a:t>
            </a:r>
            <a:r>
              <a:rPr lang="en-US" sz="20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adquirido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(Dentro o fuera del pais) </a:t>
            </a:r>
          </a:p>
        </p:txBody>
      </p:sp>
      <p:sp>
        <p:nvSpPr>
          <p:cNvPr id="17" name="16 Elipse"/>
          <p:cNvSpPr/>
          <p:nvPr/>
        </p:nvSpPr>
        <p:spPr>
          <a:xfrm>
            <a:off x="7236296" y="2492896"/>
            <a:ext cx="1283034" cy="1140728"/>
          </a:xfrm>
          <a:prstGeom prst="ellips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2800" dirty="0"/>
              <a:t>0%</a:t>
            </a:r>
          </a:p>
        </p:txBody>
      </p:sp>
    </p:spTree>
    <p:extLst>
      <p:ext uri="{BB962C8B-B14F-4D97-AF65-F5344CB8AC3E}">
        <p14:creationId xmlns:p14="http://schemas.microsoft.com/office/powerpoint/2010/main" val="36463625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94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6" grpId="0" animBg="1"/>
      <p:bldP spid="19468" grpId="0"/>
      <p:bldP spid="8" grpId="0" animBg="1"/>
      <p:bldP spid="13" grpId="0" animBg="1"/>
      <p:bldP spid="14" grpId="0" animBg="1"/>
      <p:bldP spid="15" grpId="0" animBg="1"/>
      <p:bldP spid="1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Extracto"/>
          <p:cNvSpPr/>
          <p:nvPr/>
        </p:nvSpPr>
        <p:spPr>
          <a:xfrm rot="16200000">
            <a:off x="4139407" y="2924969"/>
            <a:ext cx="2160587" cy="1584325"/>
          </a:xfrm>
          <a:prstGeom prst="flowChartExtra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PY"/>
          </a:p>
        </p:txBody>
      </p:sp>
      <p:sp>
        <p:nvSpPr>
          <p:cNvPr id="60417" name="1 Título"/>
          <p:cNvSpPr>
            <a:spLocks noGrp="1"/>
          </p:cNvSpPr>
          <p:nvPr>
            <p:ph type="title"/>
          </p:nvPr>
        </p:nvSpPr>
        <p:spPr>
          <a:xfrm>
            <a:off x="485775" y="0"/>
            <a:ext cx="8353425" cy="9906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sz="2000" dirty="0">
                <a:ea typeface="ＭＳ Ｐゴシック" pitchFamily="34" charset="-128"/>
              </a:rPr>
              <a:t>Arancel Externo Común MERCOSUR </a:t>
            </a:r>
          </a:p>
        </p:txBody>
      </p:sp>
      <p:grpSp>
        <p:nvGrpSpPr>
          <p:cNvPr id="2" name="15 Grupo"/>
          <p:cNvGrpSpPr>
            <a:grpSpLocks/>
          </p:cNvGrpSpPr>
          <p:nvPr/>
        </p:nvGrpSpPr>
        <p:grpSpPr bwMode="auto">
          <a:xfrm>
            <a:off x="4211638" y="2292350"/>
            <a:ext cx="5400675" cy="2865438"/>
            <a:chOff x="2089334" y="1285875"/>
            <a:chExt cx="6526212" cy="3927475"/>
          </a:xfrm>
        </p:grpSpPr>
        <p:graphicFrame>
          <p:nvGraphicFramePr>
            <p:cNvPr id="1026" name="9 Gráfico"/>
            <p:cNvGraphicFramePr>
              <a:graphicFrameLocks/>
            </p:cNvGraphicFramePr>
            <p:nvPr/>
          </p:nvGraphicFramePr>
          <p:xfrm>
            <a:off x="2089334" y="1285875"/>
            <a:ext cx="6526212" cy="39274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46" r:id="rId3" imgW="6529382" imgH="3926164" progId="Excel.Sheet.8">
                    <p:embed/>
                  </p:oleObj>
                </mc:Choice>
                <mc:Fallback>
                  <p:oleObj r:id="rId3" imgW="6529382" imgH="3926164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089334" y="1285875"/>
                          <a:ext cx="6526212" cy="3927475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" name="4 CuadroTexto"/>
            <p:cNvSpPr txBox="1"/>
            <p:nvPr/>
          </p:nvSpPr>
          <p:spPr>
            <a:xfrm>
              <a:off x="5528597" y="2049369"/>
              <a:ext cx="2428955" cy="2152161"/>
            </a:xfrm>
            <a:prstGeom prst="rect">
              <a:avLst/>
            </a:prstGeom>
            <a:noFill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umos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artes y </a:t>
              </a:r>
              <a:b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mponentes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abajo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ervicios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ergia, agua</a:t>
              </a:r>
            </a:p>
            <a:p>
              <a:pPr lvl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lete de </a:t>
              </a:r>
            </a:p>
            <a:p>
              <a:pPr lvl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mport.*</a:t>
              </a:r>
            </a:p>
          </p:txBody>
        </p:sp>
        <p:sp>
          <p:nvSpPr>
            <p:cNvPr id="11" name="10 CuadroTexto"/>
            <p:cNvSpPr txBox="1"/>
            <p:nvPr/>
          </p:nvSpPr>
          <p:spPr>
            <a:xfrm>
              <a:off x="4171275" y="4000504"/>
              <a:ext cx="2643207" cy="1139380"/>
            </a:xfrm>
            <a:prstGeom prst="rect">
              <a:avLst/>
            </a:prstGeom>
            <a:noFill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bg1">
                      <a:lumMod val="85000"/>
                    </a:schemeClr>
                  </a:solidFill>
                </a:rPr>
                <a:t>Componentes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bg1">
                      <a:lumMod val="85000"/>
                    </a:schemeClr>
                  </a:solidFill>
                </a:rPr>
                <a:t>Importados de extra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Y" sz="1200" dirty="0">
                  <a:solidFill>
                    <a:schemeClr val="bg1">
                      <a:lumMod val="85000"/>
                    </a:schemeClr>
                  </a:solidFill>
                </a:rPr>
                <a:t>	zona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s-PY" sz="12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2" name="2 Marcador de contenido"/>
            <p:cNvSpPr txBox="1">
              <a:spLocks/>
            </p:cNvSpPr>
            <p:nvPr/>
          </p:nvSpPr>
          <p:spPr bwMode="auto">
            <a:xfrm>
              <a:off x="5172115" y="1570917"/>
              <a:ext cx="1141416" cy="500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273050" indent="-273050" algn="ctr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76000"/>
                <a:defRPr/>
              </a:pPr>
              <a:r>
                <a:rPr lang="en-US" sz="2400" dirty="0">
                  <a:solidFill>
                    <a:schemeClr val="bg2">
                      <a:lumMod val="25000"/>
                    </a:schemeClr>
                  </a:solidFill>
                  <a:latin typeface="+mn-lt"/>
                  <a:cs typeface="+mn-cs"/>
                </a:rPr>
                <a:t>40%</a:t>
              </a:r>
            </a:p>
          </p:txBody>
        </p:sp>
        <p:sp>
          <p:nvSpPr>
            <p:cNvPr id="13" name="2 Marcador de contenido"/>
            <p:cNvSpPr txBox="1">
              <a:spLocks/>
            </p:cNvSpPr>
            <p:nvPr/>
          </p:nvSpPr>
          <p:spPr bwMode="auto">
            <a:xfrm>
              <a:off x="3742948" y="3500927"/>
              <a:ext cx="1285292" cy="500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273050" indent="-273050" algn="ctr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76000"/>
                <a:defRPr/>
              </a:pPr>
              <a:r>
                <a:rPr lang="en-US" sz="2400" dirty="0">
                  <a:solidFill>
                    <a:schemeClr val="bg1">
                      <a:lumMod val="85000"/>
                    </a:schemeClr>
                  </a:solidFill>
                  <a:latin typeface="+mn-lt"/>
                  <a:cs typeface="+mn-cs"/>
                </a:rPr>
                <a:t>60%</a:t>
              </a:r>
            </a:p>
          </p:txBody>
        </p:sp>
      </p:grpSp>
      <p:sp>
        <p:nvSpPr>
          <p:cNvPr id="4112" name="13 CuadroTexto"/>
          <p:cNvSpPr txBox="1">
            <a:spLocks noChangeArrowheads="1"/>
          </p:cNvSpPr>
          <p:nvPr/>
        </p:nvSpPr>
        <p:spPr bwMode="auto">
          <a:xfrm>
            <a:off x="1403350" y="1181893"/>
            <a:ext cx="60483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PY" sz="2400" b="1" dirty="0"/>
              <a:t>Contenido regional necesario en % hasta 2023</a:t>
            </a:r>
          </a:p>
        </p:txBody>
      </p:sp>
      <p:graphicFrame>
        <p:nvGraphicFramePr>
          <p:cNvPr id="15" name="2 Gráfico"/>
          <p:cNvGraphicFramePr/>
          <p:nvPr>
            <p:extLst>
              <p:ext uri="{D42A27DB-BD31-4B8C-83A1-F6EECF244321}">
                <p14:modId xmlns:p14="http://schemas.microsoft.com/office/powerpoint/2010/main" val="1264853357"/>
              </p:ext>
            </p:extLst>
          </p:nvPr>
        </p:nvGraphicFramePr>
        <p:xfrm>
          <a:off x="251520" y="1844824"/>
          <a:ext cx="4860032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39792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4112" grpId="0" build="allAtOnce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1 Título"/>
          <p:cNvSpPr>
            <a:spLocks noGrp="1"/>
          </p:cNvSpPr>
          <p:nvPr>
            <p:ph type="title"/>
          </p:nvPr>
        </p:nvSpPr>
        <p:spPr>
          <a:xfrm>
            <a:off x="457200" y="-228600"/>
            <a:ext cx="8229600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sz="2000" dirty="0">
                <a:ea typeface="ＭＳ Ｐゴシック" pitchFamily="34" charset="-128"/>
              </a:rPr>
              <a:t>Incentivos y regímenes especiales</a:t>
            </a:r>
          </a:p>
        </p:txBody>
      </p:sp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2506475048"/>
              </p:ext>
            </p:extLst>
          </p:nvPr>
        </p:nvGraphicFramePr>
        <p:xfrm>
          <a:off x="395536" y="1072208"/>
          <a:ext cx="8424936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79097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1 Título"/>
          <p:cNvSpPr txBox="1">
            <a:spLocks/>
          </p:cNvSpPr>
          <p:nvPr/>
        </p:nvSpPr>
        <p:spPr bwMode="auto">
          <a:xfrm>
            <a:off x="539750" y="-228600"/>
            <a:ext cx="799306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latinLnBrk="1" hangingPunct="0">
              <a:defRPr sz="2000" b="1">
                <a:solidFill>
                  <a:schemeClr val="bg1"/>
                </a:solidFill>
                <a:latin typeface="+mj-lt"/>
                <a:ea typeface="ＭＳ Ｐゴシック" pitchFamily="34" charset="-128"/>
                <a:cs typeface="+mj-cs"/>
              </a:defRPr>
            </a:lvl1pPr>
            <a:lvl2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eaLnBrk="0" latinLnBrk="1" hangingPunct="0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latinLnBrk="1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MX" dirty="0"/>
              <a:t>Otros Regímenes de incentivo vigentes</a:t>
            </a:r>
          </a:p>
        </p:txBody>
      </p:sp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1828534288"/>
              </p:ext>
            </p:extLst>
          </p:nvPr>
        </p:nvGraphicFramePr>
        <p:xfrm>
          <a:off x="239688" y="980728"/>
          <a:ext cx="8580784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808303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026" name="Imagen 7" descr="http://t2.gstatic.com/images?q=tbn:VP1u4oDCDoe1WM:http://luduran.files.wordpress.com/2008/02/energia2.jpg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04025" y="3644900"/>
            <a:ext cx="2016125" cy="1728788"/>
          </a:xfrm>
          <a:prstGeom prst="rect">
            <a:avLst/>
          </a:prstGeom>
          <a:noFill/>
          <a:ln w="9525" cmpd="dbl">
            <a:solidFill>
              <a:schemeClr val="tx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  <a:extLst/>
        </p:spPr>
      </p:pic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2325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s-PY">
              <a:latin typeface="Calibri" pitchFamily="34" charset="0"/>
            </a:endParaRPr>
          </a:p>
        </p:txBody>
      </p:sp>
      <p:sp>
        <p:nvSpPr>
          <p:cNvPr id="23556" name="Rectangle 4"/>
          <p:cNvSpPr>
            <a:spLocks noChangeArrowheads="1"/>
          </p:cNvSpPr>
          <p:nvPr/>
        </p:nvSpPr>
        <p:spPr bwMode="auto">
          <a:xfrm>
            <a:off x="0" y="1638300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2325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s-PY">
              <a:latin typeface="Calibri" pitchFamily="34" charset="0"/>
            </a:endParaRPr>
          </a:p>
        </p:txBody>
      </p:sp>
      <p:sp>
        <p:nvSpPr>
          <p:cNvPr id="23557" name="Rectangle 5"/>
          <p:cNvSpPr>
            <a:spLocks noChangeArrowheads="1"/>
          </p:cNvSpPr>
          <p:nvPr/>
        </p:nvSpPr>
        <p:spPr bwMode="auto">
          <a:xfrm>
            <a:off x="0" y="3286125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2325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endParaRPr lang="es-PY">
              <a:latin typeface="Calibri" pitchFamily="34" charset="0"/>
            </a:endParaRPr>
          </a:p>
        </p:txBody>
      </p:sp>
      <p:sp>
        <p:nvSpPr>
          <p:cNvPr id="19" name="18 CuadroTexto"/>
          <p:cNvSpPr txBox="1"/>
          <p:nvPr/>
        </p:nvSpPr>
        <p:spPr bwMode="auto">
          <a:xfrm>
            <a:off x="179388" y="2997200"/>
            <a:ext cx="2305050" cy="5222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nfraestructura Portuaria y navegabilidad</a:t>
            </a:r>
          </a:p>
        </p:txBody>
      </p:sp>
      <p:sp>
        <p:nvSpPr>
          <p:cNvPr id="24" name="23 CuadroTexto"/>
          <p:cNvSpPr txBox="1"/>
          <p:nvPr/>
        </p:nvSpPr>
        <p:spPr bwMode="auto">
          <a:xfrm>
            <a:off x="6464300" y="5354638"/>
            <a:ext cx="2500313" cy="7381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Energía Limpia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(</a:t>
            </a:r>
            <a:r>
              <a:rPr lang="es-PY" sz="1400" b="1" dirty="0" err="1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Generac</a:t>
            </a: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., Transmisión y Distribución)</a:t>
            </a:r>
          </a:p>
        </p:txBody>
      </p:sp>
      <p:pic>
        <p:nvPicPr>
          <p:cNvPr id="129031" name="Picture 7" descr="http://t1.gstatic.com/images?q=tbn:6pMVOLc0NtR_SM:http://1.bp.blogspot.com/_kdKWRjTUu0E/Sj4ao3MVURI/AAAAAAAAAoU/lT8wEYLgSKI/s400/vista-puerto.jpg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5913" y="1268413"/>
            <a:ext cx="1952625" cy="1728787"/>
          </a:xfrm>
          <a:prstGeom prst="rect">
            <a:avLst/>
          </a:prstGeom>
          <a:noFill/>
          <a:ln>
            <a:noFill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  <a:extLst/>
        </p:spPr>
      </p:pic>
      <p:sp>
        <p:nvSpPr>
          <p:cNvPr id="25" name="1 Título"/>
          <p:cNvSpPr>
            <a:spLocks noGrp="1"/>
          </p:cNvSpPr>
          <p:nvPr>
            <p:ph type="title"/>
          </p:nvPr>
        </p:nvSpPr>
        <p:spPr>
          <a:xfrm>
            <a:off x="533400" y="0"/>
            <a:ext cx="6729413" cy="9906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sz="2000" kern="1200" dirty="0">
                <a:ea typeface="ＭＳ Ｐゴシック" pitchFamily="34" charset="-128"/>
              </a:rPr>
              <a:t>Sectores con importante potencial</a:t>
            </a:r>
          </a:p>
        </p:txBody>
      </p:sp>
      <p:pic>
        <p:nvPicPr>
          <p:cNvPr id="2356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413" y="1268413"/>
            <a:ext cx="1944687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26 CuadroTexto"/>
          <p:cNvSpPr txBox="1"/>
          <p:nvPr/>
        </p:nvSpPr>
        <p:spPr bwMode="auto">
          <a:xfrm>
            <a:off x="2411413" y="3068638"/>
            <a:ext cx="2305050" cy="5238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Infraestructur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 Vial</a:t>
            </a:r>
          </a:p>
        </p:txBody>
      </p:sp>
      <p:pic>
        <p:nvPicPr>
          <p:cNvPr id="2356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268413"/>
            <a:ext cx="201612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29 CuadroTexto"/>
          <p:cNvSpPr txBox="1"/>
          <p:nvPr/>
        </p:nvSpPr>
        <p:spPr bwMode="auto">
          <a:xfrm>
            <a:off x="4356100" y="2978150"/>
            <a:ext cx="2303463" cy="5222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Tren de Cercanía para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Pasajeros</a:t>
            </a:r>
          </a:p>
        </p:txBody>
      </p:sp>
      <p:sp>
        <p:nvSpPr>
          <p:cNvPr id="31" name="30 CuadroTexto"/>
          <p:cNvSpPr txBox="1"/>
          <p:nvPr/>
        </p:nvSpPr>
        <p:spPr bwMode="auto">
          <a:xfrm>
            <a:off x="6732588" y="3068638"/>
            <a:ext cx="2303462" cy="5238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Transporte Ferroviario de Cargas</a:t>
            </a:r>
          </a:p>
        </p:txBody>
      </p:sp>
      <p:pic>
        <p:nvPicPr>
          <p:cNvPr id="23567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1268413"/>
            <a:ext cx="2163762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8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644900"/>
            <a:ext cx="208915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32 CuadroTexto"/>
          <p:cNvSpPr txBox="1"/>
          <p:nvPr/>
        </p:nvSpPr>
        <p:spPr bwMode="auto">
          <a:xfrm>
            <a:off x="179388" y="5354638"/>
            <a:ext cx="2305050" cy="5222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Aeropuertos de pasajeros</a:t>
            </a:r>
          </a:p>
        </p:txBody>
      </p:sp>
      <p:pic>
        <p:nvPicPr>
          <p:cNvPr id="23570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413" y="3644900"/>
            <a:ext cx="2016125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34 CuadroTexto"/>
          <p:cNvSpPr txBox="1"/>
          <p:nvPr/>
        </p:nvSpPr>
        <p:spPr bwMode="auto">
          <a:xfrm>
            <a:off x="2195513" y="5354638"/>
            <a:ext cx="2305050" cy="5222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Aeropuertos para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cargas</a:t>
            </a:r>
          </a:p>
        </p:txBody>
      </p:sp>
      <p:pic>
        <p:nvPicPr>
          <p:cNvPr id="23572" name="Picture 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563" y="3644900"/>
            <a:ext cx="2159000" cy="174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36 CuadroTexto"/>
          <p:cNvSpPr txBox="1"/>
          <p:nvPr/>
        </p:nvSpPr>
        <p:spPr bwMode="auto">
          <a:xfrm>
            <a:off x="4211638" y="5300663"/>
            <a:ext cx="2305050" cy="5238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b="1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Agua Potable y Alcantarillado</a:t>
            </a:r>
          </a:p>
        </p:txBody>
      </p:sp>
    </p:spTree>
    <p:extLst>
      <p:ext uri="{BB962C8B-B14F-4D97-AF65-F5344CB8AC3E}">
        <p14:creationId xmlns:p14="http://schemas.microsoft.com/office/powerpoint/2010/main" val="1168292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1 Título"/>
          <p:cNvSpPr>
            <a:spLocks noGrp="1"/>
          </p:cNvSpPr>
          <p:nvPr>
            <p:ph type="title"/>
          </p:nvPr>
        </p:nvSpPr>
        <p:spPr>
          <a:xfrm>
            <a:off x="609600" y="0"/>
            <a:ext cx="6729413" cy="9906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PY" sz="2000" kern="1200" dirty="0">
                <a:ea typeface="ＭＳ Ｐゴシック" pitchFamily="34" charset="-128"/>
              </a:rPr>
              <a:t>Sectores con importante potencial</a:t>
            </a:r>
          </a:p>
        </p:txBody>
      </p:sp>
      <p:pic>
        <p:nvPicPr>
          <p:cNvPr id="19" name="Picture 12" descr="notebook"/>
          <p:cNvPicPr>
            <a:picLocks noChangeAspect="1" noChangeArrowheads="1"/>
          </p:cNvPicPr>
          <p:nvPr/>
        </p:nvPicPr>
        <p:blipFill>
          <a:blip r:embed="rId2" cstate="print"/>
          <a:srcRect l="10228" r="6198"/>
          <a:stretch>
            <a:fillRect/>
          </a:stretch>
        </p:blipFill>
        <p:spPr bwMode="auto">
          <a:xfrm>
            <a:off x="2987824" y="3573016"/>
            <a:ext cx="2298741" cy="18157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20 CuadroTexto"/>
          <p:cNvSpPr txBox="1"/>
          <p:nvPr/>
        </p:nvSpPr>
        <p:spPr bwMode="auto">
          <a:xfrm>
            <a:off x="539750" y="5445125"/>
            <a:ext cx="1400175" cy="3175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Biocombustibles</a:t>
            </a:r>
          </a:p>
        </p:txBody>
      </p:sp>
      <p:sp>
        <p:nvSpPr>
          <p:cNvPr id="22" name="21 CuadroTexto"/>
          <p:cNvSpPr txBox="1"/>
          <p:nvPr/>
        </p:nvSpPr>
        <p:spPr bwMode="auto">
          <a:xfrm>
            <a:off x="2916238" y="5516563"/>
            <a:ext cx="2336800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Tecnologías de la Información</a:t>
            </a:r>
          </a:p>
        </p:txBody>
      </p:sp>
      <p:pic>
        <p:nvPicPr>
          <p:cNvPr id="245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268413"/>
            <a:ext cx="2376488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35 CuadroTexto"/>
          <p:cNvSpPr txBox="1"/>
          <p:nvPr/>
        </p:nvSpPr>
        <p:spPr bwMode="auto">
          <a:xfrm>
            <a:off x="539750" y="3111500"/>
            <a:ext cx="1631950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Telecomunicaciones</a:t>
            </a:r>
          </a:p>
        </p:txBody>
      </p:sp>
      <p:pic>
        <p:nvPicPr>
          <p:cNvPr id="2458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1268413"/>
            <a:ext cx="260985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37 CuadroTexto"/>
          <p:cNvSpPr txBox="1"/>
          <p:nvPr/>
        </p:nvSpPr>
        <p:spPr bwMode="auto">
          <a:xfrm>
            <a:off x="2916238" y="2997200"/>
            <a:ext cx="2568575" cy="5222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Producción y comercialización de </a:t>
            </a:r>
            <a:r>
              <a:rPr lang="es-PY" sz="1400" dirty="0" err="1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clinker</a:t>
            </a:r>
            <a:r>
              <a:rPr lang="es-PY" sz="1400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, cemento, y derivados</a:t>
            </a:r>
          </a:p>
        </p:txBody>
      </p:sp>
      <p:pic>
        <p:nvPicPr>
          <p:cNvPr id="2458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1196975"/>
            <a:ext cx="260985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39 CuadroTexto"/>
          <p:cNvSpPr txBox="1"/>
          <p:nvPr/>
        </p:nvSpPr>
        <p:spPr bwMode="auto">
          <a:xfrm>
            <a:off x="5867400" y="2924175"/>
            <a:ext cx="2568575" cy="7397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dirty="0" smtClean="0">
                <a:solidFill>
                  <a:srgbClr val="3260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ill Sans MT" pitchFamily="34" charset="0"/>
                <a:cs typeface="Arial" pitchFamily="34" charset="0"/>
              </a:rPr>
              <a:t>Refinamiento,  almacenamiento, y comercialización de crudo y derivados</a:t>
            </a:r>
          </a:p>
        </p:txBody>
      </p:sp>
      <p:pic>
        <p:nvPicPr>
          <p:cNvPr id="24588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500438"/>
            <a:ext cx="2376488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41 Imagen" descr="costureras2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5940152" y="3625342"/>
            <a:ext cx="2355850" cy="18002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3" name="42 CuadroTexto"/>
          <p:cNvSpPr txBox="1"/>
          <p:nvPr/>
        </p:nvSpPr>
        <p:spPr bwMode="auto">
          <a:xfrm>
            <a:off x="6194425" y="5568950"/>
            <a:ext cx="174942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Y" sz="14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Textil y confecciones</a:t>
            </a:r>
            <a:r>
              <a:rPr lang="es-PY" sz="1400" b="1" dirty="0">
                <a:latin typeface="+mn-lt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039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1 Título"/>
          <p:cNvSpPr>
            <a:spLocks noGrp="1"/>
          </p:cNvSpPr>
          <p:nvPr>
            <p:ph type="title"/>
          </p:nvPr>
        </p:nvSpPr>
        <p:spPr>
          <a:xfrm>
            <a:off x="755650" y="-76200"/>
            <a:ext cx="7632700" cy="9906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s-ES" sz="2000" kern="1200">
                <a:ea typeface="ＭＳ Ｐゴシック" pitchFamily="34" charset="-128"/>
              </a:rPr>
              <a:t>Razones objetivas para Invertir en Paraguay</a:t>
            </a:r>
            <a:endParaRPr lang="es-PY" sz="2000" kern="1200">
              <a:ea typeface="ＭＳ Ｐゴシック" pitchFamily="34" charset="-128"/>
            </a:endParaRPr>
          </a:p>
        </p:txBody>
      </p:sp>
      <p:sp>
        <p:nvSpPr>
          <p:cNvPr id="25603" name="Rectangle 3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2325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s-PY">
              <a:latin typeface="Calibri" pitchFamily="34" charset="0"/>
            </a:endParaRPr>
          </a:p>
        </p:txBody>
      </p:sp>
      <p:sp>
        <p:nvSpPr>
          <p:cNvPr id="25604" name="Rectangle 4"/>
          <p:cNvSpPr>
            <a:spLocks noChangeArrowheads="1"/>
          </p:cNvSpPr>
          <p:nvPr/>
        </p:nvSpPr>
        <p:spPr bwMode="auto">
          <a:xfrm>
            <a:off x="0" y="1638300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2325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s-PY">
              <a:latin typeface="Calibri" pitchFamily="34" charset="0"/>
            </a:endParaRPr>
          </a:p>
        </p:txBody>
      </p:sp>
      <p:sp>
        <p:nvSpPr>
          <p:cNvPr id="25605" name="Rectangle 5"/>
          <p:cNvSpPr>
            <a:spLocks noChangeArrowheads="1"/>
          </p:cNvSpPr>
          <p:nvPr/>
        </p:nvSpPr>
        <p:spPr bwMode="auto">
          <a:xfrm>
            <a:off x="0" y="3286125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2325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endParaRPr lang="es-PY">
              <a:latin typeface="Calibri" pitchFamily="34" charset="0"/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539552" y="1219200"/>
            <a:ext cx="8280920" cy="48936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/>
            </a:pPr>
            <a:endParaRPr lang="es-ES" sz="1800" dirty="0">
              <a:solidFill>
                <a:schemeClr val="tx1"/>
              </a:solidFill>
              <a:cs typeface="Arial" pitchFamily="34" charset="0"/>
            </a:endParaRPr>
          </a:p>
          <a:p>
            <a:pPr marL="342900" lvl="7" indent="-342900"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Localización geográfica estratégica</a:t>
            </a:r>
            <a:r>
              <a:rPr lang="es-ES" sz="1800" dirty="0">
                <a:solidFill>
                  <a:schemeClr val="tx1"/>
                </a:solidFill>
                <a:cs typeface="Arial" pitchFamily="34" charset="0"/>
              </a:rPr>
              <a:t>.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Macroeconomía estable.</a:t>
            </a:r>
            <a:r>
              <a:rPr lang="es-ES" sz="1800" b="1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s-ES" sz="1800" dirty="0">
                <a:solidFill>
                  <a:schemeClr val="tx1"/>
                </a:solidFill>
                <a:cs typeface="Arial" pitchFamily="34" charset="0"/>
              </a:rPr>
              <a:t>Política fiscal con la carga tributaria más baja de la región.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Costos industriales y laborales bajos. </a:t>
            </a:r>
            <a:r>
              <a:rPr lang="es-ES" sz="1800" dirty="0">
                <a:solidFill>
                  <a:schemeClr val="tx1"/>
                </a:solidFill>
                <a:cs typeface="Arial" pitchFamily="34" charset="0"/>
              </a:rPr>
              <a:t>Comparados con promedio de la región.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Estructura de población </a:t>
            </a:r>
            <a:r>
              <a:rPr lang="es-ES" sz="1800" dirty="0">
                <a:solidFill>
                  <a:schemeClr val="tx1"/>
                </a:solidFill>
                <a:cs typeface="Arial" pitchFamily="34" charset="0"/>
              </a:rPr>
              <a:t>mayormente joven y abierta al entrenamiento.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Ventajas e incentivos</a:t>
            </a:r>
            <a:r>
              <a:rPr lang="es-ES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s-ES" sz="1800" dirty="0">
                <a:solidFill>
                  <a:schemeClr val="tx1"/>
                </a:solidFill>
                <a:cs typeface="Arial" pitchFamily="34" charset="0"/>
              </a:rPr>
              <a:t>amplios para la inversión de capital extranjero y nacional.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Rápida recuperación de la </a:t>
            </a:r>
            <a:r>
              <a:rPr lang="es-ES" b="1" dirty="0" smtClean="0">
                <a:solidFill>
                  <a:schemeClr val="tx1"/>
                </a:solidFill>
                <a:cs typeface="Arial" pitchFamily="34" charset="0"/>
              </a:rPr>
              <a:t>inversión </a:t>
            </a:r>
            <a:endParaRPr lang="es-ES" sz="1800" dirty="0">
              <a:solidFill>
                <a:schemeClr val="tx1"/>
              </a:solidFill>
              <a:cs typeface="Arial" pitchFamily="34" charset="0"/>
            </a:endParaRPr>
          </a:p>
          <a:p>
            <a:pPr marL="342900" lvl="7" indent="-342900"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s-ES" b="1" dirty="0">
                <a:solidFill>
                  <a:schemeClr val="tx1"/>
                </a:solidFill>
                <a:cs typeface="Arial" pitchFamily="34" charset="0"/>
              </a:rPr>
              <a:t>Fuerte presencia internacional</a:t>
            </a:r>
            <a:r>
              <a:rPr lang="es-ES" sz="1800" dirty="0">
                <a:solidFill>
                  <a:schemeClr val="tx1"/>
                </a:solidFill>
                <a:cs typeface="Arial" pitchFamily="34" charset="0"/>
              </a:rPr>
              <a:t>, especialmente en granos y carne.</a:t>
            </a:r>
          </a:p>
          <a:p>
            <a:pPr marL="342900" lvl="7" indent="-342900"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endParaRPr lang="es-ES" sz="180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/>
            </a:pPr>
            <a:endParaRPr lang="es-ES" sz="18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981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914400" y="2819400"/>
            <a:ext cx="7199313" cy="565150"/>
          </a:xfrm>
          <a:ln>
            <a:noFill/>
          </a:ln>
        </p:spPr>
        <p:txBody>
          <a:bodyPr/>
          <a:lstStyle/>
          <a:p>
            <a:pPr algn="ctr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kumimoji="0" lang="en-GB" sz="4000" dirty="0" smtClean="0">
                <a:solidFill>
                  <a:schemeClr val="tx1"/>
                </a:solidFill>
              </a:rPr>
              <a:t>Paraguay, País de </a:t>
            </a:r>
            <a:r>
              <a:rPr kumimoji="0" lang="en-GB" sz="4000" dirty="0" err="1" smtClean="0">
                <a:solidFill>
                  <a:schemeClr val="tx1"/>
                </a:solidFill>
              </a:rPr>
              <a:t>Oportunidades</a:t>
            </a:r>
            <a:endParaRPr kumimoji="0" lang="en-GB" sz="4000" dirty="0" smtClean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4541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16" name="Line 70"/>
          <p:cNvSpPr>
            <a:spLocks noChangeShapeType="1"/>
          </p:cNvSpPr>
          <p:nvPr/>
        </p:nvSpPr>
        <p:spPr bwMode="auto">
          <a:xfrm flipV="1">
            <a:off x="1357313" y="2044700"/>
            <a:ext cx="2514600" cy="30480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23922" name="Text Box 77"/>
          <p:cNvSpPr txBox="1">
            <a:spLocks noChangeArrowheads="1"/>
          </p:cNvSpPr>
          <p:nvPr/>
        </p:nvSpPr>
        <p:spPr bwMode="auto">
          <a:xfrm>
            <a:off x="468313" y="6553200"/>
            <a:ext cx="3256020" cy="451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eaLnBrk="0" latinLnBrk="1" hangingPunct="0">
              <a:defRPr sz="900" i="1" baseline="30000"/>
            </a:lvl1pPr>
          </a:lstStyle>
          <a:p>
            <a:r>
              <a:rPr lang="en-US" sz="1000" dirty="0"/>
              <a:t>Source:  Ministry of Finance </a:t>
            </a:r>
            <a:r>
              <a:rPr lang="en-US" sz="1000" dirty="0" smtClean="0"/>
              <a:t>of Paraguay</a:t>
            </a:r>
            <a:r>
              <a:rPr lang="en-US" sz="1000" baseline="0" dirty="0" smtClean="0"/>
              <a:t> </a:t>
            </a:r>
            <a:r>
              <a:rPr lang="en-US" sz="1000" dirty="0" smtClean="0"/>
              <a:t>and </a:t>
            </a:r>
            <a:r>
              <a:rPr lang="en-US" sz="1000" dirty="0"/>
              <a:t>Central Bank of </a:t>
            </a:r>
            <a:r>
              <a:rPr lang="en-US" sz="1000" dirty="0" smtClean="0"/>
              <a:t>Paraguay</a:t>
            </a:r>
          </a:p>
          <a:p>
            <a:r>
              <a:rPr lang="en-US" sz="1000" dirty="0"/>
              <a:t> </a:t>
            </a:r>
            <a:r>
              <a:rPr lang="en-US" sz="1000" dirty="0" smtClean="0"/>
              <a:t>               </a:t>
            </a:r>
            <a:r>
              <a:rPr kumimoji="0" lang="en-US" sz="1000" dirty="0">
                <a:solidFill>
                  <a:prstClr val="black"/>
                </a:solidFill>
                <a:latin typeface="Calibri" pitchFamily="34" charset="0"/>
                <a:ea typeface="ＭＳ Ｐゴシック" charset="-128"/>
              </a:rPr>
              <a:t>International Monetary Fund, World Economic Outlook Database, October 2012</a:t>
            </a:r>
            <a:endParaRPr kumimoji="0" lang="es-ES" sz="1000" dirty="0">
              <a:solidFill>
                <a:prstClr val="black"/>
              </a:solidFill>
              <a:latin typeface="Calibri" pitchFamily="34" charset="0"/>
              <a:ea typeface="ＭＳ Ｐゴシック" charset="-128"/>
            </a:endParaRPr>
          </a:p>
          <a:p>
            <a:endParaRPr lang="en-US" sz="1000" dirty="0"/>
          </a:p>
        </p:txBody>
      </p:sp>
      <p:sp>
        <p:nvSpPr>
          <p:cNvPr id="123924" name="Line 81"/>
          <p:cNvSpPr>
            <a:spLocks noChangeShapeType="1"/>
          </p:cNvSpPr>
          <p:nvPr/>
        </p:nvSpPr>
        <p:spPr bwMode="auto">
          <a:xfrm>
            <a:off x="5795963" y="4665663"/>
            <a:ext cx="2447925" cy="708025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0" name="AutoShape 4"/>
          <p:cNvSpPr>
            <a:spLocks noChangeArrowheads="1"/>
          </p:cNvSpPr>
          <p:nvPr/>
        </p:nvSpPr>
        <p:spPr bwMode="auto">
          <a:xfrm>
            <a:off x="4914900" y="3730625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1200" b="1" kern="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Deuda</a:t>
            </a:r>
            <a:r>
              <a:rPr kumimoji="0" lang="en-GB" sz="12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/ PIB (%) </a:t>
            </a:r>
            <a:endParaRPr kumimoji="0" lang="en-GB" sz="1200" b="1" kern="0" baseline="300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7" name="Rectangle 2"/>
          <p:cNvSpPr txBox="1">
            <a:spLocks noChangeArrowheads="1"/>
          </p:cNvSpPr>
          <p:nvPr/>
        </p:nvSpPr>
        <p:spPr>
          <a:xfrm>
            <a:off x="1045095" y="127546"/>
            <a:ext cx="7199313" cy="565150"/>
          </a:xfrm>
          <a:prstGeom prst="rect">
            <a:avLst/>
          </a:prstGeom>
        </p:spPr>
        <p:txBody>
          <a:bodyPr anchor="ctr"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 err="1" smtClean="0"/>
              <a:t>Estabilidad</a:t>
            </a:r>
            <a:r>
              <a:rPr kumimoji="0" lang="en-GB" sz="2300" dirty="0" smtClean="0"/>
              <a:t> </a:t>
            </a:r>
            <a:r>
              <a:rPr kumimoji="0" lang="en-GB" sz="2300" dirty="0" err="1" smtClean="0"/>
              <a:t>Macroeconómica</a:t>
            </a:r>
            <a:endParaRPr kumimoji="0" lang="en-GB" sz="2300" dirty="0">
              <a:ea typeface="+mn-ea"/>
            </a:endParaRPr>
          </a:p>
        </p:txBody>
      </p:sp>
      <p:graphicFrame>
        <p:nvGraphicFramePr>
          <p:cNvPr id="21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5888142"/>
              </p:ext>
            </p:extLst>
          </p:nvPr>
        </p:nvGraphicFramePr>
        <p:xfrm>
          <a:off x="4781079" y="4191000"/>
          <a:ext cx="3867150" cy="236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1294197"/>
              </p:ext>
            </p:extLst>
          </p:nvPr>
        </p:nvGraphicFramePr>
        <p:xfrm>
          <a:off x="431007" y="4221088"/>
          <a:ext cx="3789363" cy="207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072606"/>
              </p:ext>
            </p:extLst>
          </p:nvPr>
        </p:nvGraphicFramePr>
        <p:xfrm>
          <a:off x="430821" y="1600200"/>
          <a:ext cx="3789363" cy="207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AutoShape 4"/>
          <p:cNvSpPr>
            <a:spLocks noChangeArrowheads="1"/>
          </p:cNvSpPr>
          <p:nvPr/>
        </p:nvSpPr>
        <p:spPr bwMode="auto">
          <a:xfrm>
            <a:off x="431007" y="11430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kumimoji="0" lang="en-GB" sz="1200" b="1" kern="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recimiento</a:t>
            </a:r>
            <a:r>
              <a:rPr kumimoji="0" lang="en-GB" sz="12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del PIB (%)</a:t>
            </a:r>
            <a:endParaRPr kumimoji="0" lang="en-GB" sz="1200" b="1" kern="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669925" y="3730625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12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Balance Fiscal (% del PIB)</a:t>
            </a:r>
            <a:endParaRPr kumimoji="0" lang="en-GB" sz="1200" b="1" kern="0" baseline="300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4869557" y="1150937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</a:pPr>
            <a:r>
              <a:rPr kumimoji="0" lang="en-US" sz="1200" b="1" kern="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recimiento</a:t>
            </a:r>
            <a:r>
              <a:rPr kumimoji="0" lang="en-US" sz="12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del PIB en la </a:t>
            </a:r>
            <a:r>
              <a:rPr kumimoji="0" lang="en-US" sz="1200" b="1" kern="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Región</a:t>
            </a:r>
            <a:r>
              <a:rPr kumimoji="0" lang="en-US" sz="12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(%)</a:t>
            </a:r>
            <a:endParaRPr kumimoji="0" lang="en-GB" sz="1200" b="1" kern="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4099864551"/>
              </p:ext>
            </p:extLst>
          </p:nvPr>
        </p:nvGraphicFramePr>
        <p:xfrm>
          <a:off x="4884717" y="1598880"/>
          <a:ext cx="3874215" cy="1982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67905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Title 1"/>
          <p:cNvSpPr>
            <a:spLocks noGrp="1"/>
          </p:cNvSpPr>
          <p:nvPr>
            <p:ph type="title"/>
          </p:nvPr>
        </p:nvSpPr>
        <p:spPr>
          <a:xfrm>
            <a:off x="631187" y="152400"/>
            <a:ext cx="7449825" cy="576064"/>
          </a:xfrm>
        </p:spPr>
        <p:txBody>
          <a:bodyPr/>
          <a:lstStyle/>
          <a:p>
            <a:r>
              <a:rPr lang="en-US" dirty="0" err="1" smtClean="0"/>
              <a:t>Disciplina</a:t>
            </a:r>
            <a:r>
              <a:rPr lang="en-US" dirty="0" smtClean="0"/>
              <a:t> y </a:t>
            </a:r>
            <a:r>
              <a:rPr lang="en-US" dirty="0" err="1" smtClean="0"/>
              <a:t>Sustentabilidad</a:t>
            </a:r>
            <a:r>
              <a:rPr lang="en-US" dirty="0" smtClean="0"/>
              <a:t> de la </a:t>
            </a:r>
            <a:r>
              <a:rPr lang="en-US" dirty="0" err="1" smtClean="0"/>
              <a:t>Política</a:t>
            </a:r>
            <a:r>
              <a:rPr lang="en-US" dirty="0" smtClean="0"/>
              <a:t> Fiscal</a:t>
            </a:r>
          </a:p>
        </p:txBody>
      </p:sp>
      <p:sp>
        <p:nvSpPr>
          <p:cNvPr id="3" name="AutoShape 5"/>
          <p:cNvSpPr>
            <a:spLocks noChangeArrowheads="1"/>
          </p:cNvSpPr>
          <p:nvPr/>
        </p:nvSpPr>
        <p:spPr bwMode="auto">
          <a:xfrm>
            <a:off x="466725" y="16002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Ingreso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del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Gobierno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(% del PIB)*</a:t>
            </a:r>
            <a:endParaRPr lang="en-GB" sz="1200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4" name="1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7674557"/>
              </p:ext>
            </p:extLst>
          </p:nvPr>
        </p:nvGraphicFramePr>
        <p:xfrm>
          <a:off x="336550" y="1903912"/>
          <a:ext cx="4017963" cy="330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4876800" y="16002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>
              <a:defRPr/>
            </a:pP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Gasto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Corrientes (% del PIB)</a:t>
            </a:r>
            <a:endParaRPr lang="en-GB" sz="1200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2" name="1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9956055"/>
              </p:ext>
            </p:extLst>
          </p:nvPr>
        </p:nvGraphicFramePr>
        <p:xfrm>
          <a:off x="4746625" y="1913640"/>
          <a:ext cx="4017963" cy="330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23 Rectángulo"/>
          <p:cNvSpPr>
            <a:spLocks noChangeArrowheads="1"/>
          </p:cNvSpPr>
          <p:nvPr/>
        </p:nvSpPr>
        <p:spPr bwMode="auto">
          <a:xfrm>
            <a:off x="366067" y="6544664"/>
            <a:ext cx="1388522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lang="en-US" sz="1000" i="1" baseline="30000" dirty="0"/>
              <a:t>Source: Central Bank of </a:t>
            </a:r>
            <a:r>
              <a:rPr lang="en-US" sz="1000" i="1" baseline="30000" dirty="0" smtClean="0"/>
              <a:t>Paraguay</a:t>
            </a:r>
          </a:p>
          <a:p>
            <a:pPr eaLnBrk="0" latinLnBrk="1" hangingPunct="0"/>
            <a:r>
              <a:rPr lang="en-US" sz="1000" i="1" baseline="30000" dirty="0" smtClean="0"/>
              <a:t>*Central Government</a:t>
            </a:r>
            <a:endParaRPr lang="en-US" sz="1000" i="1" baseline="30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81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0216025"/>
              </p:ext>
            </p:extLst>
          </p:nvPr>
        </p:nvGraphicFramePr>
        <p:xfrm>
          <a:off x="4762500" y="1574800"/>
          <a:ext cx="3873500" cy="1671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1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504319"/>
              </p:ext>
            </p:extLst>
          </p:nvPr>
        </p:nvGraphicFramePr>
        <p:xfrm>
          <a:off x="260350" y="1663700"/>
          <a:ext cx="4017963" cy="160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 err="1" smtClean="0">
                <a:ea typeface="+mn-ea"/>
              </a:rPr>
              <a:t>Deuda</a:t>
            </a:r>
            <a:r>
              <a:rPr kumimoji="0" lang="en-GB" sz="2300" dirty="0" smtClean="0">
                <a:ea typeface="+mn-ea"/>
              </a:rPr>
              <a:t> </a:t>
            </a:r>
            <a:r>
              <a:rPr kumimoji="0" lang="en-GB" sz="2300" dirty="0" err="1" smtClean="0">
                <a:ea typeface="+mn-ea"/>
              </a:rPr>
              <a:t>Pública</a:t>
            </a:r>
            <a:r>
              <a:rPr kumimoji="0" lang="en-GB" sz="2300" dirty="0" smtClean="0">
                <a:ea typeface="+mn-ea"/>
              </a:rPr>
              <a:t> </a:t>
            </a:r>
            <a:r>
              <a:rPr kumimoji="0" lang="en-GB" sz="2300" dirty="0" err="1" smtClean="0">
                <a:ea typeface="+mn-ea"/>
              </a:rPr>
              <a:t>Prudente</a:t>
            </a:r>
            <a:endParaRPr kumimoji="0" lang="en-GB" sz="23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2533" name="AutoShape 5"/>
          <p:cNvSpPr>
            <a:spLocks noChangeArrowheads="1"/>
          </p:cNvSpPr>
          <p:nvPr/>
        </p:nvSpPr>
        <p:spPr bwMode="auto">
          <a:xfrm>
            <a:off x="390525" y="11430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/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Net Debt (as % of GDP) </a:t>
            </a:r>
            <a:r>
              <a:rPr lang="en-GB" sz="1200" b="1" baseline="30000" dirty="0">
                <a:solidFill>
                  <a:schemeClr val="bg1"/>
                </a:solidFill>
                <a:latin typeface="+mj-lt"/>
                <a:cs typeface="Arial" pitchFamily="34" charset="0"/>
              </a:rPr>
              <a:t>(1)</a:t>
            </a:r>
          </a:p>
        </p:txBody>
      </p:sp>
      <p:pic>
        <p:nvPicPr>
          <p:cNvPr id="106501" name="16 Imagen" descr="perú.jpg"/>
          <p:cNvPicPr preferRelativeResize="0">
            <a:picLocks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544737" y="3224988"/>
            <a:ext cx="2730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2" name="18 Imagen" descr="py.jpg"/>
          <p:cNvPicPr preferRelativeResize="0">
            <a:picLocks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5029200" y="3224988"/>
            <a:ext cx="2746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3" name="19 Imagen" descr="chile.jpg"/>
          <p:cNvPicPr preferRelativeResize="0">
            <a:picLocks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58687" y="3224988"/>
            <a:ext cx="2746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4" name="20 Imagen" descr="brasil.jpg"/>
          <p:cNvPicPr preferRelativeResize="0">
            <a:picLocks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8119251" y="3224988"/>
            <a:ext cx="2746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5" name="21 Imagen" descr="argentina.jpg"/>
          <p:cNvPicPr preferRelativeResize="0">
            <a:picLocks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7089762" y="3224988"/>
            <a:ext cx="2746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6" name="22 Imagen" descr="colombia.jpg"/>
          <p:cNvPicPr preferRelativeResize="0">
            <a:picLocks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605300" y="3224988"/>
            <a:ext cx="2730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507" name="23 Rectángulo"/>
          <p:cNvSpPr>
            <a:spLocks noChangeArrowheads="1"/>
          </p:cNvSpPr>
          <p:nvPr/>
        </p:nvSpPr>
        <p:spPr bwMode="auto">
          <a:xfrm>
            <a:off x="76200" y="6560483"/>
            <a:ext cx="3488455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lang="en-US" sz="1000" i="1" baseline="30000" dirty="0"/>
              <a:t>Source: Central Bank of Paraguay, WEO</a:t>
            </a:r>
          </a:p>
          <a:p>
            <a:pPr eaLnBrk="0" latinLnBrk="1" hangingPunct="0"/>
            <a:r>
              <a:rPr lang="en-US" sz="1000" i="1" baseline="30000" dirty="0"/>
              <a:t>(1) Calculated as Public Debt minus international reserves (including gold) over nominal GDP</a:t>
            </a:r>
          </a:p>
        </p:txBody>
      </p:sp>
      <p:sp>
        <p:nvSpPr>
          <p:cNvPr id="106509" name="AutoShape 2" descr="data:image/jpeg;base64,/9j/4AAQSkZJRgABAQAAAQABAAD/2wBDAAkGBwgHBgkIBwgKCgkLDRYPDQwMDRsUFRAWIB0iIiAdHx8kKDQsJCYxJx8fLT0tMTU3Ojo6Iys/RD84QzQ5Ojf/2wBDAQoKCg0MDRoPDxo3JR8lNzc3Nzc3Nzc3Nzc3Nzc3Nzc3Nzc3Nzc3Nzc3Nzc3Nzc3Nzc3Nzc3Nzc3Nzc3Nzc3Nzf/wAARCABPAHUDASIAAhEBAxEB/8QAGwABAAIDAQEAAAAAAAAAAAAAAAIHAwQGAQX/xAA/EAABAgIGBwUDCgcBAAAAAAAAAQIDBAUGERZVlBITFVKx0dIhMUFkk3FygRQjJDIzNEJDUWEiJURUhJGi4f/EABsBAQACAwEBAAAAAAAAAAAAAAABAgMEBgUH/8QAMBEAAQEFBgUDAwUAAAAAAAAAAQACAwQRkRMVUVJh0QUWIaHhEjEyIkFxBiSB8PH/2gAMAwEAAhEDEQA/AOPbS1J6KfzKd7k/qH8z3a9J4nO5h/M0m/VT2IDUkvobLl36R9Iot7a9J4nO5h/MbXpPE53MP5miBJWsXWUUW7tek8Tncw/me7XpPE53MP5miBJLF1lFFvbXpPE53MP5nm16TxOdzD+ZpASSxdZRRb216TxOdzD+Y2vSeJzuYfzNECSWLrKKLd2vSeJzuYfzPdr0nic7mH8zRAkli6yii3tr0nic7mH8zza9J4nO5h/M0gJJYusoovpQaUpF1ulSU6v+Q/mDUl/xfAErWeOnfqP0iiwN+qnsQ9Lil6i1cdLwnLIOtViKv0iJ+nvGS4dW8PdmInUeCf1FCgkSaoN1rM8XcAASPbdUyC5rh1bw92YidQuHVvD3ZiJ1EcxQmVqg3U3w4wPbdUyC5rh1bw92YidQuHVvD3ZiJ1DmKEytUG6Xw4wPbdUyC5rh1bw92YidQuJVpFRFkFtXu+kRO3/ocxQmVqg3S+HGB7bqmQXNcOreHuzETqFw6t4e7MROocxQmVqg3S+HGB7bqmQXNcOreHuzETqFw6t4e7MROocxQmVqg3S+HGB7bqmQXNcOreHuzETqFw6t4e7MROocxQmVqg3S+HGB7bqn5f8AF8AW9EqRV2HZoSDkt7/n4nUDIzx+GInJqg3WFvijktTkf7/K6KV+6wfcbwMpilfusH3G8DKcQ38yvBCAAqpQi/S0V1bUc7wRVst+JIJ2LaB7oq5nqwzNLScWNAbFasvH0ZV0NP4okSyxzFRO5LHItqrYi296dqYVm6Qlp+LNR0V0xKS+vhNZHV2kit0l018HIxFcrFsts71S01ZaWmKFiTFG/Osmflz4sCEyGkRHQkZar3+Css0Fs77Wp+5B0WHMOmpp07NRnTkvEhQ5h8J2hEjLDVLHdqqqoxVRF8LVO9duXDMO0GJS+34O/XuqP3X7llhlmbJIM5/Yf4rFq3Sa0vRMGdRtjIiKjVVe1VRVRez2p8f0Q+ofEqXR8xRdWZKUm2aEdqOc9ltujpPVyJ/pUPtnExYYD9sO/jMy/CyvAyGyGfZAAYFVAAEWKP3N+IEfub8QbTv4hVK+BL1vopsvCavyi1GJ+V+3tJ3xonzPpFfwvsme6nAkdUeBQhJPWq5k8XiQZdKeV318aJ8z6QvjRPmfSOBBFwwmtUviK0p5XfXxonzPpC+NE+Z9I4EC4YTWqXvFaU8rvlrjRK/3PpBK4UQ1LGpMIieCQbDgQTcUJrVRe8TpTyu+vjRPmfSF8aJ8z6RwIIuGE1qpveK0p5XfXxonzPpC+NE+Z9I4EC4YTWqXvFaU8rvr40T5n0hfGifM+kcCBcMJrVL3itKeV3UauFFLZ948fyv/AEHBRPAGRngsKyJCdVI4tEHCnlewvsme6nAkYocRqQ2Iq9zUJa1m9xPWkV5xdtzPQ0UwQ1rN7iNaze4iRUWbeBopghrWb3Ea1m9xEilm3gaKYIa1m9xGtZvcRIpZt4GimCGtZvcRrWb3ESKWbeBopghrWb3Ea1m9xEilm3gaKYIa1m9xGtZvcRIpZt4GiRPAEXxGLZY4EyKsHbcvYr//2Q=="/>
          <p:cNvSpPr>
            <a:spLocks noChangeAspect="1" noChangeArrowheads="1"/>
          </p:cNvSpPr>
          <p:nvPr/>
        </p:nvSpPr>
        <p:spPr bwMode="auto">
          <a:xfrm>
            <a:off x="0" y="-342900"/>
            <a:ext cx="10572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latinLnBrk="1" hangingPunct="0"/>
            <a:endParaRPr lang="en-US"/>
          </a:p>
        </p:txBody>
      </p:sp>
      <p:pic>
        <p:nvPicPr>
          <p:cNvPr id="106510" name="Picture 4" descr="https://www.cia.gov/library/publications/the-world-factbook/graphics/flags/large/bl-lgflag.gif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74225" y="3224988"/>
            <a:ext cx="274637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511" name="Freeform 23"/>
          <p:cNvSpPr>
            <a:spLocks noChangeArrowheads="1"/>
          </p:cNvSpPr>
          <p:nvPr/>
        </p:nvSpPr>
        <p:spPr bwMode="auto">
          <a:xfrm rot="-5400000">
            <a:off x="4090988" y="2334518"/>
            <a:ext cx="911225" cy="288925"/>
          </a:xfrm>
          <a:custGeom>
            <a:avLst/>
            <a:gdLst>
              <a:gd name="T0" fmla="*/ 459599 w 5216"/>
              <a:gd name="T1" fmla="*/ 288925 h 363"/>
              <a:gd name="T2" fmla="*/ 0 w 5216"/>
              <a:gd name="T3" fmla="*/ 0 h 363"/>
              <a:gd name="T4" fmla="*/ 911162 w 5216"/>
              <a:gd name="T5" fmla="*/ 0 h 363"/>
              <a:gd name="T6" fmla="*/ 459599 w 5216"/>
              <a:gd name="T7" fmla="*/ 288925 h 363"/>
              <a:gd name="T8" fmla="*/ 0 60000 65536"/>
              <a:gd name="T9" fmla="*/ 0 60000 65536"/>
              <a:gd name="T10" fmla="*/ 0 60000 65536"/>
              <a:gd name="T11" fmla="*/ 0 60000 65536"/>
              <a:gd name="T12" fmla="*/ 0 w 5216"/>
              <a:gd name="T13" fmla="*/ 0 h 363"/>
              <a:gd name="T14" fmla="*/ 5216 w 5216"/>
              <a:gd name="T15" fmla="*/ 363 h 3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216" h="363">
                <a:moveTo>
                  <a:pt x="2631" y="363"/>
                </a:moveTo>
                <a:lnTo>
                  <a:pt x="0" y="0"/>
                </a:lnTo>
                <a:lnTo>
                  <a:pt x="5216" y="0"/>
                </a:lnTo>
                <a:lnTo>
                  <a:pt x="2631" y="363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latinLnBrk="1" hangingPunct="0"/>
            <a:endParaRPr lang="en-US" b="1" i="1"/>
          </a:p>
        </p:txBody>
      </p:sp>
      <p:sp>
        <p:nvSpPr>
          <p:cNvPr id="24" name="16 Rectángulo"/>
          <p:cNvSpPr/>
          <p:nvPr/>
        </p:nvSpPr>
        <p:spPr>
          <a:xfrm>
            <a:off x="5033963" y="2057400"/>
            <a:ext cx="10534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latinLnBrk="1" hangingPunct="0">
              <a:defRPr/>
            </a:pPr>
            <a:r>
              <a:rPr lang="en-US" sz="1400" b="1" baseline="30000" dirty="0" err="1">
                <a:latin typeface="+mj-lt"/>
                <a:cs typeface="Arial" pitchFamily="34" charset="0"/>
              </a:rPr>
              <a:t>P</a:t>
            </a:r>
            <a:r>
              <a:rPr lang="en-US" sz="1400" b="1" baseline="30000" dirty="0" err="1" smtClean="0">
                <a:latin typeface="+mj-lt"/>
                <a:cs typeface="Arial" pitchFamily="34" charset="0"/>
              </a:rPr>
              <a:t>romedio</a:t>
            </a:r>
            <a:r>
              <a:rPr lang="en-US" sz="1400" b="1" baseline="30000" dirty="0" smtClean="0">
                <a:latin typeface="+mj-lt"/>
                <a:cs typeface="Arial" pitchFamily="34" charset="0"/>
              </a:rPr>
              <a:t>: </a:t>
            </a:r>
            <a:r>
              <a:rPr lang="en-US" sz="1400" b="1" baseline="30000" dirty="0">
                <a:latin typeface="+mj-lt"/>
                <a:cs typeface="Arial" pitchFamily="34" charset="0"/>
              </a:rPr>
              <a:t>13%</a:t>
            </a:r>
            <a:endParaRPr lang="en-US" sz="1400" b="1" dirty="0">
              <a:latin typeface="+mj-lt"/>
              <a:cs typeface="Arial" pitchFamily="34" charset="0"/>
            </a:endParaRPr>
          </a:p>
        </p:txBody>
      </p:sp>
      <p:sp>
        <p:nvSpPr>
          <p:cNvPr id="25" name="AutoShape 4"/>
          <p:cNvSpPr>
            <a:spLocks noChangeArrowheads="1"/>
          </p:cNvSpPr>
          <p:nvPr/>
        </p:nvSpPr>
        <p:spPr bwMode="auto">
          <a:xfrm>
            <a:off x="4711700" y="3581400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/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Perfil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de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Deuda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(Principal US$ mm)</a:t>
            </a:r>
            <a:endParaRPr lang="en-GB" sz="12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28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5177148"/>
              </p:ext>
            </p:extLst>
          </p:nvPr>
        </p:nvGraphicFramePr>
        <p:xfrm>
          <a:off x="390525" y="4064000"/>
          <a:ext cx="386715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7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6775030"/>
              </p:ext>
            </p:extLst>
          </p:nvPr>
        </p:nvGraphicFramePr>
        <p:xfrm>
          <a:off x="4445775" y="4360659"/>
          <a:ext cx="4241025" cy="1725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9" name="AutoShape 4"/>
          <p:cNvSpPr>
            <a:spLocks noChangeArrowheads="1"/>
          </p:cNvSpPr>
          <p:nvPr/>
        </p:nvSpPr>
        <p:spPr bwMode="auto">
          <a:xfrm>
            <a:off x="4767649" y="1149310"/>
            <a:ext cx="3887788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/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2012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Deuda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Neta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/ 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PIB </a:t>
            </a:r>
            <a:r>
              <a:rPr lang="en-GB" sz="1200" b="1" baseline="30000" dirty="0">
                <a:solidFill>
                  <a:schemeClr val="bg1"/>
                </a:solidFill>
                <a:latin typeface="+mj-lt"/>
                <a:cs typeface="Arial" pitchFamily="34" charset="0"/>
              </a:rPr>
              <a:t>(1)</a:t>
            </a:r>
          </a:p>
        </p:txBody>
      </p:sp>
      <p:sp>
        <p:nvSpPr>
          <p:cNvPr id="30" name="AutoShape 5"/>
          <p:cNvSpPr>
            <a:spLocks noChangeArrowheads="1"/>
          </p:cNvSpPr>
          <p:nvPr/>
        </p:nvSpPr>
        <p:spPr bwMode="auto">
          <a:xfrm>
            <a:off x="452437" y="11430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/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Deuda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Neta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(% del PIB) </a:t>
            </a:r>
            <a:r>
              <a:rPr lang="en-GB" sz="1200" b="1" baseline="30000" dirty="0">
                <a:solidFill>
                  <a:schemeClr val="bg1"/>
                </a:solidFill>
                <a:latin typeface="+mj-lt"/>
                <a:cs typeface="Arial" pitchFamily="34" charset="0"/>
              </a:rPr>
              <a:t>(1)</a:t>
            </a: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452437" y="3581400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anchor="ctr"/>
          <a:lstStyle/>
          <a:p>
            <a:pPr algn="ctr" eaLnBrk="0" latinLnBrk="1" hangingPunct="0"/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Ingreso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tributario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(US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$ mm) 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y  </a:t>
            </a:r>
          </a:p>
          <a:p>
            <a:pPr algn="ctr" eaLnBrk="0" latinLnBrk="1" hangingPunct="0"/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Servicio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Deuda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(% 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de Ing. </a:t>
            </a:r>
            <a:r>
              <a:rPr lang="en-GB" sz="12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Tributarios</a:t>
            </a:r>
            <a:r>
              <a:rPr lang="en-GB" sz="12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16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3"/>
          <p:cNvSpPr>
            <a:spLocks noGrp="1" noChangeArrowheads="1"/>
          </p:cNvSpPr>
          <p:nvPr>
            <p:ph type="title"/>
          </p:nvPr>
        </p:nvSpPr>
        <p:spPr/>
        <p:txBody>
          <a:bodyPr anchor="ctr"/>
          <a:lstStyle/>
          <a:p>
            <a:pPr eaLnBrk="1" fontAlgn="auto" latinLnBrk="0" hangingPunct="1">
              <a:spcBef>
                <a:spcPts val="300"/>
              </a:spcBef>
              <a:spcAft>
                <a:spcPts val="300"/>
              </a:spcAft>
              <a:buClr>
                <a:srgbClr val="9F2936"/>
              </a:buClr>
              <a:defRPr/>
            </a:pP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Resultado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: 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Mejora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del 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Perfil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de </a:t>
            </a:r>
            <a:r>
              <a:rPr kumimoji="0" lang="en-GB" sz="2300" dirty="0" err="1" smtClean="0">
                <a:solidFill>
                  <a:schemeClr val="accent3"/>
                </a:solidFill>
                <a:ea typeface="+mn-ea"/>
              </a:rPr>
              <a:t>Riesgo</a:t>
            </a:r>
            <a:r>
              <a:rPr kumimoji="0" lang="en-GB" sz="2300" dirty="0" smtClean="0">
                <a:solidFill>
                  <a:schemeClr val="accent3"/>
                </a:solidFill>
                <a:ea typeface="+mn-ea"/>
              </a:rPr>
              <a:t> País</a:t>
            </a:r>
            <a:endParaRPr kumimoji="0" lang="en-GB" sz="2300" dirty="0">
              <a:solidFill>
                <a:schemeClr val="accent3"/>
              </a:solidFill>
              <a:ea typeface="+mn-ea"/>
            </a:endParaRPr>
          </a:p>
        </p:txBody>
      </p:sp>
      <p:sp>
        <p:nvSpPr>
          <p:cNvPr id="108561" name="6 Rectángulo"/>
          <p:cNvSpPr>
            <a:spLocks noChangeArrowheads="1"/>
          </p:cNvSpPr>
          <p:nvPr/>
        </p:nvSpPr>
        <p:spPr bwMode="auto">
          <a:xfrm>
            <a:off x="176213" y="6551613"/>
            <a:ext cx="47498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latinLnBrk="1" hangingPunct="0">
              <a:spcBef>
                <a:spcPts val="0"/>
              </a:spcBef>
              <a:spcAft>
                <a:spcPts val="600"/>
              </a:spcAft>
            </a:pPr>
            <a:r>
              <a:rPr lang="en-US" sz="700" i="1" dirty="0">
                <a:solidFill>
                  <a:srgbClr val="000000"/>
                </a:solidFill>
                <a:cs typeface="Arial"/>
              </a:rPr>
              <a:t>Source: Central Bank of Paraguay, EIU, Moody’s, S&amp;P.</a:t>
            </a:r>
          </a:p>
        </p:txBody>
      </p:sp>
      <p:sp>
        <p:nvSpPr>
          <p:cNvPr id="108562" name="6 Rectángulo"/>
          <p:cNvSpPr>
            <a:spLocks noChangeArrowheads="1"/>
          </p:cNvSpPr>
          <p:nvPr/>
        </p:nvSpPr>
        <p:spPr bwMode="auto">
          <a:xfrm>
            <a:off x="179622" y="6705600"/>
            <a:ext cx="1568058" cy="19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latinLnBrk="1" hangingPunct="0"/>
            <a:r>
              <a:rPr lang="en-US" sz="1000" i="1" baseline="30000" dirty="0">
                <a:solidFill>
                  <a:srgbClr val="000000"/>
                </a:solidFill>
                <a:cs typeface="Arial"/>
              </a:rPr>
              <a:t>(1) </a:t>
            </a:r>
            <a:r>
              <a:rPr lang="en-US" sz="1000" i="1" baseline="30000" dirty="0" smtClean="0">
                <a:solidFill>
                  <a:srgbClr val="000000"/>
                </a:solidFill>
                <a:cs typeface="Arial"/>
              </a:rPr>
              <a:t>Foreign Currency Long Term rating</a:t>
            </a:r>
            <a:endParaRPr lang="en-US" sz="1000" i="1" baseline="30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9" name="AutoShape 68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8952" y="1034928"/>
            <a:ext cx="4318584" cy="368832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28575">
            <a:noFill/>
            <a:round/>
            <a:headEnd/>
            <a:tailEnd/>
          </a:ln>
        </p:spPr>
        <p:txBody>
          <a:bodyPr lIns="82058" tIns="9692" rIns="82058" bIns="9692" anchor="ctr"/>
          <a:lstStyle/>
          <a:p>
            <a:pPr algn="ctr" eaLnBrk="1" hangingPunct="1">
              <a:spcBef>
                <a:spcPct val="50000"/>
              </a:spcBef>
            </a:pPr>
            <a:r>
              <a:rPr lang="en-US" sz="1200" b="1" dirty="0" err="1" smtClean="0">
                <a:solidFill>
                  <a:schemeClr val="bg1"/>
                </a:solidFill>
                <a:latin typeface="+mn-lt"/>
              </a:rPr>
              <a:t>Calificación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 y </a:t>
            </a:r>
            <a:r>
              <a:rPr lang="en-US" sz="1200" b="1" dirty="0" err="1" smtClean="0">
                <a:solidFill>
                  <a:schemeClr val="bg1"/>
                </a:solidFill>
                <a:latin typeface="+mn-lt"/>
              </a:rPr>
              <a:t>Perspectivas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 de </a:t>
            </a:r>
            <a:r>
              <a:rPr lang="en-US" sz="1200" b="1" dirty="0" err="1" smtClean="0">
                <a:solidFill>
                  <a:schemeClr val="bg1"/>
                </a:solidFill>
                <a:latin typeface="+mn-lt"/>
              </a:rPr>
              <a:t>Agencias</a:t>
            </a:r>
            <a:endParaRPr lang="en-US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0" name="Picture 35" descr="peru"/>
          <p:cNvPicPr preferRelativeResize="0"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7715272" y="5535522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36" descr="ARGNTINA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5429256" y="4392514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102" descr="uruguay-flag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715272" y="4749704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101" descr="paraguay_flag_1"/>
          <p:cNvPicPr preferRelativeResize="0">
            <a:picLocks noChangeArrowheads="1"/>
          </p:cNvPicPr>
          <p:nvPr>
            <p:custDataLst>
              <p:tags r:id="rId6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7715272" y="5106894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9" descr="COLOMBIA"/>
          <p:cNvPicPr preferRelativeResize="0"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5429256" y="5892712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37" descr="BRAZIL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5429256" y="5106894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38" descr="CHILE"/>
          <p:cNvPicPr preferRelativeResize="0"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5429256" y="5535522"/>
            <a:ext cx="358195" cy="2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43 Imagen" descr="descarga (1)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429256" y="4749704"/>
            <a:ext cx="357190" cy="237694"/>
          </a:xfrm>
          <a:prstGeom prst="rect">
            <a:avLst/>
          </a:prstGeom>
        </p:spPr>
      </p:pic>
      <p:sp>
        <p:nvSpPr>
          <p:cNvPr id="45" name="44 CuadroTexto"/>
          <p:cNvSpPr txBox="1"/>
          <p:nvPr/>
        </p:nvSpPr>
        <p:spPr>
          <a:xfrm>
            <a:off x="285720" y="1463556"/>
            <a:ext cx="414340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Y" sz="1200" dirty="0" smtClean="0">
                <a:latin typeface="+mn-lt"/>
              </a:rPr>
              <a:t>“Estamos afirmando nuestra calificación 'BB-/B' de créditos soberanos locales y extranjeros para Paraguay. En nuestra opinión, el impacto de la rápida destitución del ex presidente Lugo, en junio, ha sido y seguirá siendo limitado. Estamos removiendo las calificaciones del </a:t>
            </a:r>
            <a:r>
              <a:rPr lang="es-PY" sz="1200" dirty="0" err="1" smtClean="0">
                <a:latin typeface="+mn-lt"/>
              </a:rPr>
              <a:t>CreditWatch</a:t>
            </a:r>
            <a:r>
              <a:rPr lang="es-PY" sz="1200" dirty="0" smtClean="0">
                <a:latin typeface="+mn-lt"/>
              </a:rPr>
              <a:t> con implicaciones negativas. </a:t>
            </a:r>
            <a:r>
              <a:rPr lang="es-PY" sz="1200" u="sng" dirty="0" smtClean="0">
                <a:latin typeface="+mn-lt"/>
              </a:rPr>
              <a:t>La perspectiva equilibrada, la limitada economía del país y las necesidades sustanciales de infraestructura contra el mejoramiento gubernamental del apuntalamiento fiscal y la baja deuda</a:t>
            </a:r>
            <a:r>
              <a:rPr lang="es-PY" sz="1200" dirty="0" smtClean="0">
                <a:latin typeface="+mn-lt"/>
              </a:rPr>
              <a:t>. Al mismo tiempo, los indicadores externos han seguido fortaleciéndose como resultado de un sólido crecimiento de la exportación… y crecientes reservas internacionales ahora cubren más de cinco meses de la actual cuenta de pagos”. </a:t>
            </a:r>
          </a:p>
          <a:p>
            <a:pPr algn="r"/>
            <a:r>
              <a:rPr lang="es-PY" sz="1200" i="1" dirty="0" smtClean="0">
                <a:latin typeface="+mn-lt"/>
              </a:rPr>
              <a:t>S&amp;P Enero 2013</a:t>
            </a:r>
            <a:endParaRPr lang="es-PY" sz="1200" i="1" dirty="0">
              <a:latin typeface="+mn-lt"/>
            </a:endParaRPr>
          </a:p>
        </p:txBody>
      </p:sp>
      <p:sp>
        <p:nvSpPr>
          <p:cNvPr id="46" name="45 CuadroTexto"/>
          <p:cNvSpPr txBox="1"/>
          <p:nvPr/>
        </p:nvSpPr>
        <p:spPr>
          <a:xfrm>
            <a:off x="285720" y="4267200"/>
            <a:ext cx="41434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Y" sz="1200" dirty="0" smtClean="0">
                <a:latin typeface="+mn-lt"/>
              </a:rPr>
              <a:t>“</a:t>
            </a:r>
            <a:r>
              <a:rPr lang="es-PY" sz="1200" dirty="0" err="1" smtClean="0">
                <a:latin typeface="+mn-lt"/>
              </a:rPr>
              <a:t>Moody’s</a:t>
            </a:r>
            <a:r>
              <a:rPr lang="es-PY" sz="1200" dirty="0" smtClean="0">
                <a:latin typeface="+mn-lt"/>
              </a:rPr>
              <a:t>... Ha ascendido la calificación del bono del Gobierno de Paraguay a Ba3 de B1. Los conductores claves que apoyan este ascenso son: (1) </a:t>
            </a:r>
            <a:r>
              <a:rPr lang="es-PY" sz="1200" u="sng" dirty="0" smtClean="0">
                <a:latin typeface="+mn-lt"/>
              </a:rPr>
              <a:t>Las finanzas del Gobierno, que esperamos continúen bien alineadas </a:t>
            </a:r>
            <a:r>
              <a:rPr lang="es-PY" sz="1200" dirty="0" smtClean="0">
                <a:latin typeface="+mn-lt"/>
              </a:rPr>
              <a:t>con los pares en la categoría de calificación “Ba”, a pesar del crecimiento volátil, (2) Un sustancial</a:t>
            </a:r>
            <a:r>
              <a:rPr lang="es-PY" sz="1200" u="sng" dirty="0" smtClean="0">
                <a:latin typeface="+mn-lt"/>
              </a:rPr>
              <a:t> aumento en las reservas internacionales</a:t>
            </a:r>
            <a:r>
              <a:rPr lang="es-PY" sz="1200" dirty="0" smtClean="0">
                <a:latin typeface="+mn-lt"/>
              </a:rPr>
              <a:t>, que resultó en una liquidez métrica externa en línea con la media ‘Ba’, y (3) perspectivas mejoradas a medio plazo, apoyadas por los planes del Gobierno para</a:t>
            </a:r>
            <a:r>
              <a:rPr lang="es-PY" sz="1200" u="sng" dirty="0" smtClean="0">
                <a:latin typeface="+mn-lt"/>
              </a:rPr>
              <a:t> incrementar la inversión e infraestructura</a:t>
            </a:r>
            <a:r>
              <a:rPr lang="es-PY" sz="1200" dirty="0" smtClean="0">
                <a:latin typeface="+mn-lt"/>
              </a:rPr>
              <a:t>”. </a:t>
            </a:r>
          </a:p>
          <a:p>
            <a:pPr algn="r"/>
            <a:r>
              <a:rPr lang="es-PY" sz="1200" i="1" dirty="0" err="1" smtClean="0">
                <a:latin typeface="+mn-lt"/>
              </a:rPr>
              <a:t>Moody’s</a:t>
            </a:r>
            <a:r>
              <a:rPr lang="es-PY" sz="1200" i="1" dirty="0" smtClean="0">
                <a:latin typeface="+mn-lt"/>
              </a:rPr>
              <a:t> Enero 2013</a:t>
            </a:r>
            <a:endParaRPr lang="es-PY" sz="1200" i="1" dirty="0">
              <a:latin typeface="+mn-lt"/>
            </a:endParaRPr>
          </a:p>
        </p:txBody>
      </p:sp>
      <p:sp>
        <p:nvSpPr>
          <p:cNvPr id="47" name="AutoShape 68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643438" y="1034928"/>
            <a:ext cx="4318584" cy="368832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28575">
            <a:noFill/>
            <a:round/>
            <a:headEnd/>
            <a:tailEnd/>
          </a:ln>
        </p:spPr>
        <p:txBody>
          <a:bodyPr lIns="82058" tIns="9692" rIns="82058" bIns="9692" anchor="ctr"/>
          <a:lstStyle/>
          <a:p>
            <a:pPr algn="ctr" eaLnBrk="1" hangingPunct="1">
              <a:spcBef>
                <a:spcPct val="50000"/>
              </a:spcBef>
            </a:pPr>
            <a:r>
              <a:rPr lang="en-US" sz="1200" b="1" dirty="0" err="1" smtClean="0">
                <a:solidFill>
                  <a:schemeClr val="bg1"/>
                </a:solidFill>
                <a:latin typeface="+mn-lt"/>
              </a:rPr>
              <a:t>Evolución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 de la </a:t>
            </a:r>
            <a:r>
              <a:rPr lang="en-US" sz="1200" b="1" dirty="0" err="1" smtClean="0">
                <a:solidFill>
                  <a:schemeClr val="bg1"/>
                </a:solidFill>
                <a:latin typeface="+mn-lt"/>
              </a:rPr>
              <a:t>Calificación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 del País</a:t>
            </a:r>
            <a:endParaRPr lang="en-US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21"/>
          <a:srcRect t="6896"/>
          <a:stretch>
            <a:fillRect/>
          </a:stretch>
        </p:blipFill>
        <p:spPr bwMode="auto">
          <a:xfrm>
            <a:off x="4572000" y="1677870"/>
            <a:ext cx="4447404" cy="192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9" name="AutoShape 68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643438" y="3809368"/>
            <a:ext cx="4318584" cy="368832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28575">
            <a:noFill/>
            <a:round/>
            <a:headEnd/>
            <a:tailEnd/>
          </a:ln>
        </p:spPr>
        <p:txBody>
          <a:bodyPr lIns="82058" tIns="9692" rIns="82058" bIns="9692" anchor="ctr"/>
          <a:lstStyle/>
          <a:p>
            <a:pPr algn="ctr" eaLnBrk="1" hangingPunct="1">
              <a:spcBef>
                <a:spcPct val="50000"/>
              </a:spcBef>
            </a:pPr>
            <a:r>
              <a:rPr lang="en-US" sz="1200" b="1" dirty="0" err="1" smtClean="0">
                <a:solidFill>
                  <a:schemeClr val="bg1"/>
                </a:solidFill>
                <a:latin typeface="+mn-lt"/>
              </a:rPr>
              <a:t>Comparación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 Regional (Moody’s / S&amp;P)</a:t>
            </a:r>
            <a:endParaRPr lang="en-US" sz="1400" b="1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50" name="4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422010"/>
              </p:ext>
            </p:extLst>
          </p:nvPr>
        </p:nvGraphicFramePr>
        <p:xfrm>
          <a:off x="4554226" y="4321076"/>
          <a:ext cx="4589806" cy="1854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19468"/>
                <a:gridCol w="537854"/>
                <a:gridCol w="946468"/>
                <a:gridCol w="849313"/>
                <a:gridCol w="490235"/>
                <a:gridCol w="946468"/>
              </a:tblGrid>
              <a:tr h="370840"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Argentina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3 / B-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Ecuador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Caa1 / B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Bolivia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a3 / BB-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Uruguay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aa3 / BBB-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Brasil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aa2 /</a:t>
                      </a:r>
                      <a:r>
                        <a:rPr lang="es-ES_tradnl" sz="1050" baseline="0" dirty="0" smtClean="0"/>
                        <a:t> </a:t>
                      </a:r>
                      <a:r>
                        <a:rPr lang="es-ES_tradnl" sz="1050" dirty="0" smtClean="0"/>
                        <a:t>BBB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Paraguay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a3</a:t>
                      </a:r>
                      <a:r>
                        <a:rPr lang="es-ES_tradnl" sz="1050" baseline="0" dirty="0" smtClean="0"/>
                        <a:t> / BB-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Chile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Aa3 / AA-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Perú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aa2 /  BBB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Colombia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aa3 /</a:t>
                      </a:r>
                      <a:r>
                        <a:rPr lang="es-ES_tradnl" sz="1050" baseline="0" dirty="0" smtClean="0"/>
                        <a:t> BBB-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100" dirty="0" smtClean="0"/>
                        <a:t>Venezuela</a:t>
                      </a:r>
                      <a:endParaRPr lang="es-PY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PY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50" dirty="0" smtClean="0"/>
                        <a:t>B2 / B+</a:t>
                      </a:r>
                      <a:endParaRPr lang="es-PY" sz="105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51" name="2 Marcador de contenido" descr="descarga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 bwMode="auto">
          <a:xfrm>
            <a:off x="7715272" y="4392514"/>
            <a:ext cx="357190" cy="237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51 Imagen" descr="descarga (2).jp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7715272" y="5867786"/>
            <a:ext cx="357190" cy="2325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694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5064113"/>
              </p:ext>
            </p:extLst>
          </p:nvPr>
        </p:nvGraphicFramePr>
        <p:xfrm>
          <a:off x="4788024" y="1947956"/>
          <a:ext cx="4190999" cy="1737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243" name="3 Objeto"/>
          <p:cNvGraphicFramePr>
            <a:graphicFrameLocks/>
          </p:cNvGraphicFramePr>
          <p:nvPr/>
        </p:nvGraphicFramePr>
        <p:xfrm>
          <a:off x="4881563" y="4333875"/>
          <a:ext cx="4262437" cy="2524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8" name="Worksheet" r:id="rId6" imgW="4200525" imgH="2200275" progId="Excel.Sheet.8">
                  <p:embed/>
                </p:oleObj>
              </mc:Choice>
              <mc:Fallback>
                <p:oleObj name="Worksheet" r:id="rId6" imgW="4200525" imgH="2200275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1563" y="4333875"/>
                        <a:ext cx="4262437" cy="25241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4" name="AutoShape 5"/>
          <p:cNvSpPr>
            <a:spLocks noChangeArrowheads="1"/>
          </p:cNvSpPr>
          <p:nvPr/>
        </p:nvSpPr>
        <p:spPr bwMode="auto">
          <a:xfrm>
            <a:off x="5003800" y="1246188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 eaLnBrk="0" latinLnBrk="1" hangingPunct="0"/>
            <a:r>
              <a:rPr lang="es-ES" sz="1200" b="1" dirty="0" smtClean="0">
                <a:solidFill>
                  <a:srgbClr val="FFFFFF"/>
                </a:solidFill>
                <a:latin typeface="+mn-lt"/>
              </a:rPr>
              <a:t>Solicitudes y Adjudicaciones</a:t>
            </a:r>
            <a:endParaRPr lang="es-ES" sz="1200" b="1" i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245" name="AutoShape 5"/>
          <p:cNvSpPr>
            <a:spLocks noChangeArrowheads="1"/>
          </p:cNvSpPr>
          <p:nvPr/>
        </p:nvSpPr>
        <p:spPr bwMode="auto">
          <a:xfrm>
            <a:off x="4857750" y="3789363"/>
            <a:ext cx="4035425" cy="503237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 eaLnBrk="0" latinLnBrk="1" hangingPunct="0"/>
            <a:r>
              <a:rPr lang="en-US" sz="1200" b="1" dirty="0" err="1" smtClean="0">
                <a:solidFill>
                  <a:srgbClr val="FFFFFF"/>
                </a:solidFill>
                <a:latin typeface="+mn-lt"/>
              </a:rPr>
              <a:t>Rendimiento</a:t>
            </a:r>
            <a:r>
              <a:rPr lang="en-US" sz="1200" b="1" dirty="0" smtClean="0">
                <a:solidFill>
                  <a:srgbClr val="FFFFFF"/>
                </a:solidFill>
                <a:latin typeface="+mn-lt"/>
              </a:rPr>
              <a:t> de la </a:t>
            </a:r>
            <a:r>
              <a:rPr lang="en-US" sz="1200" b="1" dirty="0" err="1" smtClean="0">
                <a:solidFill>
                  <a:srgbClr val="FFFFFF"/>
                </a:solidFill>
                <a:latin typeface="+mn-lt"/>
              </a:rPr>
              <a:t>Emisión</a:t>
            </a:r>
            <a:r>
              <a:rPr lang="en-US" sz="1200" b="1" dirty="0" smtClean="0">
                <a:solidFill>
                  <a:srgbClr val="FFFFFF"/>
                </a:solidFill>
                <a:latin typeface="+mn-lt"/>
              </a:rPr>
              <a:t> </a:t>
            </a:r>
            <a:r>
              <a:rPr lang="en-US" sz="1200" b="1" dirty="0" err="1" smtClean="0">
                <a:solidFill>
                  <a:srgbClr val="FFFFFF"/>
                </a:solidFill>
                <a:latin typeface="+mn-lt"/>
              </a:rPr>
              <a:t>Soberana</a:t>
            </a:r>
            <a:r>
              <a:rPr lang="en-US" sz="1200" b="1" dirty="0" smtClean="0">
                <a:solidFill>
                  <a:srgbClr val="FFFFFF"/>
                </a:solidFill>
                <a:latin typeface="+mn-lt"/>
              </a:rPr>
              <a:t> </a:t>
            </a:r>
            <a:r>
              <a:rPr lang="en-US" sz="1200" b="1" dirty="0">
                <a:solidFill>
                  <a:srgbClr val="FFFFFF"/>
                </a:solidFill>
                <a:latin typeface="+mn-lt"/>
              </a:rPr>
              <a:t>BBB/BB Peers</a:t>
            </a:r>
          </a:p>
        </p:txBody>
      </p:sp>
      <p:sp>
        <p:nvSpPr>
          <p:cNvPr id="16" name="15 Título"/>
          <p:cNvSpPr>
            <a:spLocks noGrp="1"/>
          </p:cNvSpPr>
          <p:nvPr>
            <p:ph type="title"/>
          </p:nvPr>
        </p:nvSpPr>
        <p:spPr>
          <a:xfrm>
            <a:off x="466725" y="228600"/>
            <a:ext cx="7305675" cy="565150"/>
          </a:xfrm>
          <a:extLst>
            <a:ext uri="{FAA26D3D-D897-4be2-8F04-BA451C77F1D7}"/>
          </a:extLst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/>
              <a:t>Paraguay se abre</a:t>
            </a:r>
            <a:r>
              <a:rPr lang="es-ES" dirty="0" smtClean="0">
                <a:ea typeface="+mj-ea"/>
              </a:rPr>
              <a:t>: </a:t>
            </a:r>
            <a:r>
              <a:rPr lang="es-ES" dirty="0" smtClean="0"/>
              <a:t>Emisión de Bonos Internacionales</a:t>
            </a:r>
            <a:endParaRPr lang="es-PY" dirty="0">
              <a:ea typeface="+mj-ea"/>
            </a:endParaRPr>
          </a:p>
        </p:txBody>
      </p:sp>
      <p:sp>
        <p:nvSpPr>
          <p:cNvPr id="10247" name="AutoShape 5"/>
          <p:cNvSpPr>
            <a:spLocks noChangeArrowheads="1"/>
          </p:cNvSpPr>
          <p:nvPr/>
        </p:nvSpPr>
        <p:spPr bwMode="auto">
          <a:xfrm>
            <a:off x="395288" y="1246188"/>
            <a:ext cx="3889375" cy="358775"/>
          </a:xfrm>
          <a:prstGeom prst="roundRect">
            <a:avLst>
              <a:gd name="adj" fmla="val 22125"/>
            </a:avLst>
          </a:pr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 eaLnBrk="0" latinLnBrk="1" hangingPunct="0"/>
            <a:r>
              <a:rPr lang="es-ES" sz="1200" b="1" dirty="0" smtClean="0">
                <a:solidFill>
                  <a:srgbClr val="FFFFFF"/>
                </a:solidFill>
                <a:latin typeface="+mn-lt"/>
              </a:rPr>
              <a:t>Reunión con más de 50 inversores</a:t>
            </a:r>
            <a:endParaRPr lang="es-ES" sz="1200" b="1" i="1" dirty="0">
              <a:solidFill>
                <a:srgbClr val="FFFFFF"/>
              </a:solidFill>
              <a:latin typeface="+mn-lt"/>
            </a:endParaRPr>
          </a:p>
        </p:txBody>
      </p:sp>
      <p:graphicFrame>
        <p:nvGraphicFramePr>
          <p:cNvPr id="14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995609"/>
              </p:ext>
            </p:extLst>
          </p:nvPr>
        </p:nvGraphicFramePr>
        <p:xfrm>
          <a:off x="625475" y="2420938"/>
          <a:ext cx="1800225" cy="777875"/>
        </p:xfrm>
        <a:graphic>
          <a:graphicData uri="http://schemas.openxmlformats.org/drawingml/2006/table">
            <a:tbl>
              <a:tblPr/>
              <a:tblGrid>
                <a:gridCol w="923925"/>
                <a:gridCol w="876300"/>
              </a:tblGrid>
              <a:tr h="273050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Santiago, Chile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448" marR="91448" marT="45651" marB="456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82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CHL Capital</a:t>
                      </a:r>
                    </a:p>
                  </a:txBody>
                  <a:tcPr marL="45720" marR="45720" marT="952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Moneda</a:t>
                      </a:r>
                    </a:p>
                  </a:txBody>
                  <a:tcPr marL="45720" marR="45720" marT="952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  <a:tr h="1682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Fratelli</a:t>
                      </a:r>
                    </a:p>
                  </a:txBody>
                  <a:tcPr marL="45720" marR="45720" marT="952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Munita Y Cruzat</a:t>
                      </a:r>
                    </a:p>
                  </a:txBody>
                  <a:tcPr marL="45720" marR="45720" marT="952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</a:tr>
              <a:tr h="1682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MetLife</a:t>
                      </a:r>
                    </a:p>
                  </a:txBody>
                  <a:tcPr marL="45720" marR="45720" marT="952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Megeve</a:t>
                      </a: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 </a:t>
                      </a:r>
                    </a:p>
                  </a:txBody>
                  <a:tcPr marL="45720" marR="45720" marT="9511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Table 4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8807281"/>
              </p:ext>
            </p:extLst>
          </p:nvPr>
        </p:nvGraphicFramePr>
        <p:xfrm>
          <a:off x="625475" y="1773238"/>
          <a:ext cx="1800225" cy="495301"/>
        </p:xfrm>
        <a:graphic>
          <a:graphicData uri="http://schemas.openxmlformats.org/drawingml/2006/table">
            <a:tbl>
              <a:tblPr/>
              <a:tblGrid>
                <a:gridCol w="996950"/>
                <a:gridCol w="803275"/>
              </a:tblGrid>
              <a:tr h="231775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ima, Peru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391" marR="91391" marT="45759" marB="45759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17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FP Horizonte</a:t>
                      </a:r>
                    </a:p>
                  </a:txBody>
                  <a:tcPr marL="114239" marR="9520" marT="953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BCP</a:t>
                      </a:r>
                    </a:p>
                  </a:txBody>
                  <a:tcPr marL="114239" marR="9520" marT="953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  <a:tr h="1317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FP Integra</a:t>
                      </a:r>
                    </a:p>
                  </a:txBody>
                  <a:tcPr marL="114239" marR="9520" marT="953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Prima AFP</a:t>
                      </a:r>
                    </a:p>
                  </a:txBody>
                  <a:tcPr marL="114239" marR="9520" marT="9533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Table 4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692804"/>
              </p:ext>
            </p:extLst>
          </p:nvPr>
        </p:nvGraphicFramePr>
        <p:xfrm>
          <a:off x="611188" y="4221163"/>
          <a:ext cx="1800225" cy="887413"/>
        </p:xfrm>
        <a:graphic>
          <a:graphicData uri="http://schemas.openxmlformats.org/drawingml/2006/table">
            <a:tbl>
              <a:tblPr/>
              <a:tblGrid>
                <a:gridCol w="900112"/>
                <a:gridCol w="900113"/>
              </a:tblGrid>
              <a:tr h="252413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Boston, USA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003082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479" marR="91479" marT="45706" marB="4570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587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Eaton Vance</a:t>
                      </a: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MassFi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  <a:tr h="1587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Fidelity</a:t>
                      </a: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Standish Mellon</a:t>
                      </a: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</a:tr>
              <a:tr h="1587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Grantham Mayo</a:t>
                      </a: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Wellington</a:t>
                      </a: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  <a:tr h="1587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oomis Sayles</a:t>
                      </a: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9525" marR="9525" marT="951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Table 3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4792401"/>
              </p:ext>
            </p:extLst>
          </p:nvPr>
        </p:nvGraphicFramePr>
        <p:xfrm>
          <a:off x="611188" y="3357563"/>
          <a:ext cx="1800225" cy="660400"/>
        </p:xfrm>
        <a:graphic>
          <a:graphicData uri="http://schemas.openxmlformats.org/drawingml/2006/table">
            <a:tbl>
              <a:tblPr/>
              <a:tblGrid>
                <a:gridCol w="923925"/>
                <a:gridCol w="876300"/>
              </a:tblGrid>
              <a:tr h="231775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New York, USA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448" marR="91448" marT="45641" marB="4564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Franklin Resources</a:t>
                      </a:r>
                    </a:p>
                  </a:txBody>
                  <a:tcPr marL="9525" marR="9525" marT="9521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NWI</a:t>
                      </a:r>
                    </a:p>
                  </a:txBody>
                  <a:tcPr marL="9529" marR="9529" marT="9486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  <a:tr h="142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JP Morgan IM</a:t>
                      </a:r>
                    </a:p>
                  </a:txBody>
                  <a:tcPr marL="9525" marR="9525" marT="9521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Oppenheimer</a:t>
                      </a:r>
                    </a:p>
                  </a:txBody>
                  <a:tcPr marL="9529" marR="9529" marT="9486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FEA"/>
                    </a:solidFill>
                  </a:tcPr>
                </a:tc>
              </a:tr>
              <a:tr h="142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ogan Circle</a:t>
                      </a:r>
                    </a:p>
                  </a:txBody>
                  <a:tcPr marL="9525" marR="9525" marT="9521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9529" marR="9529" marT="9486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DDD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Table 426"/>
          <p:cNvGraphicFramePr>
            <a:graphicFrameLocks noGrp="1"/>
          </p:cNvGraphicFramePr>
          <p:nvPr/>
        </p:nvGraphicFramePr>
        <p:xfrm>
          <a:off x="2516188" y="3143250"/>
          <a:ext cx="1800225" cy="690563"/>
        </p:xfrm>
        <a:graphic>
          <a:graphicData uri="http://schemas.openxmlformats.org/drawingml/2006/table">
            <a:tbl>
              <a:tblPr/>
              <a:tblGrid>
                <a:gridCol w="860425"/>
                <a:gridCol w="939800"/>
              </a:tblGrid>
              <a:tr h="309563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os Angeles, USA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479" marR="91479" marT="45837" marB="458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Doubleline</a:t>
                      </a:r>
                    </a:p>
                  </a:txBody>
                  <a:tcPr marL="114348" marR="9529" marT="955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Payden &amp; Rygel</a:t>
                      </a:r>
                    </a:p>
                  </a:txBody>
                  <a:tcPr marL="114348" marR="9529" marT="955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TCW</a:t>
                      </a:r>
                    </a:p>
                  </a:txBody>
                  <a:tcPr marL="114348" marR="9529" marT="955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PIMCO</a:t>
                      </a:r>
                    </a:p>
                  </a:txBody>
                  <a:tcPr marL="114348" marR="9529" marT="955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" name="Table 427"/>
          <p:cNvGraphicFramePr>
            <a:graphicFrameLocks noGrp="1"/>
          </p:cNvGraphicFramePr>
          <p:nvPr/>
        </p:nvGraphicFramePr>
        <p:xfrm>
          <a:off x="2516188" y="3973513"/>
          <a:ext cx="1800225" cy="1474788"/>
        </p:xfrm>
        <a:graphic>
          <a:graphicData uri="http://schemas.openxmlformats.org/drawingml/2006/table">
            <a:tbl>
              <a:tblPr/>
              <a:tblGrid>
                <a:gridCol w="900112"/>
                <a:gridCol w="900113"/>
              </a:tblGrid>
              <a:tr h="312738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New York, USA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479" marR="91479" marT="45708" marB="4570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etna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HSBC Global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llianceBernstein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ING AM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Blackrock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Invesco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Capital Research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azard </a:t>
                      </a:r>
                      <a:r>
                        <a:rPr kumimoji="0" 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Freres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GE AM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Marathon Am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Goldman Sachs 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TIAA-CREF</a:t>
                      </a:r>
                    </a:p>
                  </a:txBody>
                  <a:tcPr marL="9525" marR="9525" marT="9522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Table 428"/>
          <p:cNvGraphicFramePr>
            <a:graphicFrameLocks noGrp="1"/>
          </p:cNvGraphicFramePr>
          <p:nvPr/>
        </p:nvGraphicFramePr>
        <p:xfrm>
          <a:off x="2516188" y="1733550"/>
          <a:ext cx="1800225" cy="1266825"/>
        </p:xfrm>
        <a:graphic>
          <a:graphicData uri="http://schemas.openxmlformats.org/drawingml/2006/table">
            <a:tbl>
              <a:tblPr/>
              <a:tblGrid>
                <a:gridCol w="900112"/>
                <a:gridCol w="900113"/>
              </a:tblGrid>
              <a:tr h="276225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ondon, UK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  <a:cs typeface="Times New Roman" charset="0"/>
                      </a:endParaRPr>
                    </a:p>
                  </a:txBody>
                  <a:tcPr marL="91417" marR="91417" marT="45692" marB="4569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51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berdeen AM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Finisterre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651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delante AM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Franklin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  <a:tr h="1651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Ashmore AM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Investec AM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651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BlueBay AM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LTD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  <a:tr h="1651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BTG 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Pictet AM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8CC"/>
                    </a:solidFill>
                  </a:tcPr>
                </a:tc>
              </a:tr>
              <a:tr h="1651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EMSO 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0"/>
                          <a:cs typeface="Arial" charset="0"/>
                        </a:rPr>
                        <a:t>Rogge Global</a:t>
                      </a:r>
                    </a:p>
                  </a:txBody>
                  <a:tcPr marL="9525" marR="952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CE7"/>
                    </a:solidFill>
                  </a:tcPr>
                </a:tc>
              </a:tr>
            </a:tbl>
          </a:graphicData>
        </a:graphic>
      </p:graphicFrame>
      <p:sp>
        <p:nvSpPr>
          <p:cNvPr id="10375" name="AutoShape 192"/>
          <p:cNvSpPr>
            <a:spLocks noChangeArrowheads="1"/>
          </p:cNvSpPr>
          <p:nvPr/>
        </p:nvSpPr>
        <p:spPr bwMode="auto">
          <a:xfrm flipV="1">
            <a:off x="369888" y="5567363"/>
            <a:ext cx="4274120" cy="376237"/>
          </a:xfrm>
          <a:prstGeom prst="triangle">
            <a:avLst>
              <a:gd name="adj" fmla="val 50944"/>
            </a:avLst>
          </a:prstGeom>
          <a:solidFill>
            <a:schemeClr val="accent3"/>
          </a:solidFill>
          <a:ln>
            <a:noFill/>
          </a:ln>
        </p:spPr>
        <p:txBody>
          <a:bodyPr rot="10800000" lIns="0" tIns="0" rIns="0" bIns="0"/>
          <a:lstStyle/>
          <a:p>
            <a:pPr algn="ctr" eaLnBrk="0" latinLnBrk="1" hangingPunct="0"/>
            <a:r>
              <a:rPr lang="es-ES" sz="1600" b="1" dirty="0" smtClean="0">
                <a:latin typeface="Arial" pitchFamily="34" charset="0"/>
              </a:rPr>
              <a:t>Ofertas Recibidas</a:t>
            </a:r>
            <a:endParaRPr lang="es-ES" sz="1600" b="1" dirty="0">
              <a:latin typeface="Arial" pitchFamily="34" charset="0"/>
            </a:endParaRPr>
          </a:p>
        </p:txBody>
      </p:sp>
      <p:sp>
        <p:nvSpPr>
          <p:cNvPr id="10376" name="Rectangle 38"/>
          <p:cNvSpPr txBox="1">
            <a:spLocks noChangeArrowheads="1"/>
          </p:cNvSpPr>
          <p:nvPr/>
        </p:nvSpPr>
        <p:spPr bwMode="auto">
          <a:xfrm>
            <a:off x="1" y="5805264"/>
            <a:ext cx="4788024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266700" indent="-180975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180975" lvl="2" indent="-95250" algn="just" latinLnBrk="1">
              <a:spcBef>
                <a:spcPts val="600"/>
              </a:spcBef>
              <a:buClr>
                <a:schemeClr val="accent2"/>
              </a:buClr>
              <a:buSzPct val="150000"/>
              <a:buFont typeface="Wingdings" pitchFamily="2" charset="2"/>
              <a:buChar char="ü"/>
            </a:pPr>
            <a:r>
              <a:rPr kumimoji="1" lang="es-ES" sz="1400" dirty="0">
                <a:latin typeface="Arial" pitchFamily="34" charset="0"/>
                <a:ea typeface="SimHei" pitchFamily="49" charset="-122"/>
              </a:rPr>
              <a:t>197 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ofertas de inversores de </a:t>
            </a:r>
            <a:r>
              <a:rPr kumimoji="1" lang="es-ES" sz="1400" dirty="0">
                <a:latin typeface="Arial" pitchFamily="34" charset="0"/>
                <a:ea typeface="SimHei" pitchFamily="49" charset="-122"/>
              </a:rPr>
              <a:t>USA, 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Europa, </a:t>
            </a:r>
            <a:r>
              <a:rPr kumimoji="1" lang="es-ES" sz="1400" dirty="0" err="1" smtClean="0">
                <a:latin typeface="Arial" pitchFamily="34" charset="0"/>
                <a:ea typeface="SimHei" pitchFamily="49" charset="-122"/>
              </a:rPr>
              <a:t>Latinoamerica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 y Asia </a:t>
            </a:r>
            <a:r>
              <a:rPr lang="es-ES" sz="1400" dirty="0" smtClean="0">
                <a:latin typeface="Arial" pitchFamily="34" charset="0"/>
                <a:ea typeface="SimHei" pitchFamily="49" charset="-122"/>
              </a:rPr>
              <a:t>fueron recibidas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. </a:t>
            </a:r>
            <a:r>
              <a:rPr lang="es-ES" sz="1400" dirty="0" smtClean="0">
                <a:latin typeface="Arial" pitchFamily="34" charset="0"/>
                <a:ea typeface="SimHei" pitchFamily="49" charset="-122"/>
              </a:rPr>
              <a:t>La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 ofert</a:t>
            </a:r>
            <a:r>
              <a:rPr lang="es-ES" sz="1400" dirty="0" smtClean="0">
                <a:latin typeface="Arial" pitchFamily="34" charset="0"/>
                <a:ea typeface="SimHei" pitchFamily="49" charset="-122"/>
              </a:rPr>
              <a:t>a sobrepasó más de 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11 veces </a:t>
            </a:r>
            <a:r>
              <a:rPr lang="es-ES" sz="1400" dirty="0" smtClean="0">
                <a:latin typeface="Arial" pitchFamily="34" charset="0"/>
                <a:ea typeface="SimHei" pitchFamily="49" charset="-122"/>
              </a:rPr>
              <a:t>el monto de la emisión</a:t>
            </a:r>
            <a:r>
              <a:rPr kumimoji="1" lang="es-ES" sz="1400" dirty="0" smtClean="0">
                <a:latin typeface="Arial" pitchFamily="34" charset="0"/>
                <a:ea typeface="SimHei" pitchFamily="49" charset="-122"/>
              </a:rPr>
              <a:t>  </a:t>
            </a:r>
            <a:r>
              <a:rPr kumimoji="1" lang="es-ES" sz="1400" dirty="0">
                <a:latin typeface="Arial" pitchFamily="34" charset="0"/>
                <a:ea typeface="SimHei" pitchFamily="49" charset="-122"/>
              </a:rPr>
              <a:t>(US$ 5.579 </a:t>
            </a:r>
            <a:r>
              <a:rPr kumimoji="1" lang="es-ES" sz="1400" dirty="0" err="1" smtClean="0">
                <a:latin typeface="Arial" pitchFamily="34" charset="0"/>
                <a:ea typeface="SimHei" pitchFamily="49" charset="-122"/>
              </a:rPr>
              <a:t>milliones</a:t>
            </a:r>
            <a:r>
              <a:rPr kumimoji="1" lang="es-ES" sz="1400" dirty="0">
                <a:latin typeface="Arial" pitchFamily="34" charset="0"/>
                <a:ea typeface="SimHei" pitchFamily="49" charset="-122"/>
              </a:rPr>
              <a:t>)</a:t>
            </a:r>
            <a:endParaRPr kumimoji="1" lang="en-US" sz="1400" dirty="0">
              <a:latin typeface="Arial" pitchFamily="34" charset="0"/>
              <a:ea typeface="SimHei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55367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GALDAYONE" val="True"/>
  <p:tag name="PITCHBOOKPALETTE" val="3.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7bOxW5kevm5Mz9BuT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7bOxW5kevm5Mz9BuT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7bOxW5kevm5Mz9BuT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7bOxW5kevm5Mz9BuT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heme/_rels/themeOverrid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51.jpeg"/></Relationships>
</file>

<file path=ppt/theme/_rels/themeOverrid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51.jpeg"/></Relationships>
</file>

<file path=ppt/theme/_rels/themeOverrid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51.jpeg"/></Relationships>
</file>

<file path=ppt/theme/theme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FFFFFF"/>
      </a:dk2>
      <a:lt2>
        <a:srgbClr val="DDDDDD"/>
      </a:lt2>
      <a:accent1>
        <a:srgbClr val="CE1126"/>
      </a:accent1>
      <a:accent2>
        <a:srgbClr val="2563C1"/>
      </a:accent2>
      <a:accent3>
        <a:srgbClr val="FFFFFF"/>
      </a:accent3>
      <a:accent4>
        <a:srgbClr val="000000"/>
      </a:accent4>
      <a:accent5>
        <a:srgbClr val="E3AAAC"/>
      </a:accent5>
      <a:accent6>
        <a:srgbClr val="2059AF"/>
      </a:accent6>
      <a:hlink>
        <a:srgbClr val="FFCE00"/>
      </a:hlink>
      <a:folHlink>
        <a:srgbClr val="006700"/>
      </a:folHlink>
    </a:clrScheme>
    <a:fontScheme name="Office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1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1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Arial" pitchFamily="34" charset="0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FFFFFF"/>
      </a:dk2>
      <a:lt2>
        <a:srgbClr val="DDDDDD"/>
      </a:lt2>
      <a:accent1>
        <a:srgbClr val="CE1126"/>
      </a:accent1>
      <a:accent2>
        <a:srgbClr val="2563C1"/>
      </a:accent2>
      <a:accent3>
        <a:srgbClr val="FFFFFF"/>
      </a:accent3>
      <a:accent4>
        <a:srgbClr val="000000"/>
      </a:accent4>
      <a:accent5>
        <a:srgbClr val="E3AAAC"/>
      </a:accent5>
      <a:accent6>
        <a:srgbClr val="2059AF"/>
      </a:accent6>
      <a:hlink>
        <a:srgbClr val="FFCE00"/>
      </a:hlink>
      <a:folHlink>
        <a:srgbClr val="006700"/>
      </a:folHlink>
    </a:clrScheme>
    <a:fontScheme name="Office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1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1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Arial" pitchFamily="34" charset="0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Diseño predeterminado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Diseño predeterminad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Diseño predeterminado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Diseño predeterminad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Diseño predeterminado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Diseño predeterminad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Diseño predeterminado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Diseño predeterminad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Urbano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Origen">
    <a:majorFont>
      <a:latin typeface="Bookman Old Style"/>
      <a:ea typeface=""/>
      <a:cs typeface=""/>
      <a:font script="Grek" typeface="Cambria"/>
      <a:font script="Cyrl" typeface="Cambria"/>
      <a:font script="Jpan" typeface="HG明朝E"/>
      <a:font script="Hang" typeface="돋움"/>
      <a:font script="Hans" typeface="宋体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Gill Sans MT"/>
      <a:ea typeface=""/>
      <a:cs typeface=""/>
      <a:font script="Grek" typeface="Calibri"/>
      <a:font script="Cyrl" typeface="Calibri"/>
      <a:font script="Jpan" typeface="ＭＳ Ｐゴシック"/>
      <a:font script="Hang" typeface="맑은 고딕"/>
      <a:font script="Hans" typeface="华文新魏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rigen">
    <a:fillStyleLst>
      <a:solidFill>
        <a:schemeClr val="phClr"/>
      </a:solidFill>
      <a:gradFill rotWithShape="1">
        <a:gsLst>
          <a:gs pos="0">
            <a:schemeClr val="phClr">
              <a:tint val="45000"/>
              <a:satMod val="200000"/>
            </a:schemeClr>
          </a:gs>
          <a:gs pos="30000">
            <a:schemeClr val="phClr">
              <a:tint val="61000"/>
              <a:satMod val="200000"/>
            </a:schemeClr>
          </a:gs>
          <a:gs pos="45000">
            <a:schemeClr val="phClr">
              <a:tint val="66000"/>
              <a:satMod val="200000"/>
            </a:schemeClr>
          </a:gs>
          <a:gs pos="55000">
            <a:schemeClr val="phClr">
              <a:tint val="66000"/>
              <a:satMod val="200000"/>
            </a:schemeClr>
          </a:gs>
          <a:gs pos="73000">
            <a:schemeClr val="phClr">
              <a:tint val="61000"/>
              <a:satMod val="200000"/>
            </a:schemeClr>
          </a:gs>
          <a:gs pos="100000">
            <a:schemeClr val="phClr">
              <a:tint val="45000"/>
              <a:satMod val="200000"/>
            </a:schemeClr>
          </a:gs>
        </a:gsLst>
        <a:lin ang="950000" scaled="1"/>
      </a:gradFill>
      <a:gradFill rotWithShape="1">
        <a:gsLst>
          <a:gs pos="0">
            <a:schemeClr val="phClr">
              <a:shade val="63000"/>
            </a:schemeClr>
          </a:gs>
          <a:gs pos="30000">
            <a:schemeClr val="phClr">
              <a:shade val="90000"/>
              <a:satMod val="110000"/>
            </a:schemeClr>
          </a:gs>
          <a:gs pos="45000">
            <a:schemeClr val="phClr">
              <a:shade val="100000"/>
              <a:satMod val="118000"/>
            </a:schemeClr>
          </a:gs>
          <a:gs pos="55000">
            <a:schemeClr val="phClr">
              <a:shade val="100000"/>
              <a:satMod val="118000"/>
            </a:schemeClr>
          </a:gs>
          <a:gs pos="73000">
            <a:schemeClr val="phClr">
              <a:shade val="90000"/>
              <a:satMod val="110000"/>
            </a:schemeClr>
          </a:gs>
          <a:gs pos="100000">
            <a:schemeClr val="phClr">
              <a:shade val="63000"/>
            </a:schemeClr>
          </a:gs>
        </a:gsLst>
        <a:lin ang="950000" scaled="1"/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430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balanced" dir="t">
            <a:rot lat="0" lon="0" rev="0"/>
          </a:lightRig>
        </a:scene3d>
        <a:sp3d prstMaterial="matte">
          <a:bevelT w="0" h="0"/>
          <a:contourClr>
            <a:schemeClr val="phClr">
              <a:tint val="100000"/>
              <a:shade val="100000"/>
              <a:hueMod val="100000"/>
              <a:satMod val="100000"/>
            </a:schemeClr>
          </a:contourClr>
        </a:sp3d>
      </a:effectStyle>
      <a:effectStyle>
        <a:effectLst>
          <a:outerShdw blurRad="50800" dist="25400" dir="5400000" rotWithShape="0">
            <a:srgbClr val="000000">
              <a:alpha val="50000"/>
            </a:srgbClr>
          </a:outerShdw>
        </a:effectLst>
        <a:scene3d>
          <a:camera prst="orthographicFront" fov="0">
            <a:rot lat="0" lon="0" rev="0"/>
          </a:camera>
          <a:lightRig rig="soft" dir="t">
            <a:rot lat="0" lon="0" rev="2700000"/>
          </a:lightRig>
        </a:scene3d>
        <a:sp3d prstMaterial="matte">
          <a:bevelT w="50800" h="508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60000"/>
              <a:satMod val="300000"/>
            </a:schemeClr>
          </a:gs>
          <a:gs pos="30000">
            <a:schemeClr val="phClr">
              <a:shade val="80000"/>
              <a:satMod val="230000"/>
            </a:schemeClr>
          </a:gs>
          <a:gs pos="100000">
            <a:schemeClr val="phClr">
              <a:tint val="97000"/>
              <a:satMod val="22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shade val="6000"/>
              <a:satMod val="120000"/>
            </a:schemeClr>
            <a:schemeClr val="phClr">
              <a:tint val="90000"/>
            </a:schemeClr>
          </a:duotone>
        </a:blip>
        <a:tile tx="0" ty="0" sx="35000" sy="40000" flip="x" algn="tl"/>
      </a:blipFill>
    </a:bgFillStyleLst>
  </a:fmtScheme>
</a:themeOverride>
</file>

<file path=ppt/theme/themeOverride19.xml><?xml version="1.0" encoding="utf-8"?>
<a:themeOverride xmlns:a="http://schemas.openxmlformats.org/drawingml/2006/main">
  <a:clrScheme name="Urbano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Origen">
    <a:majorFont>
      <a:latin typeface="Bookman Old Style"/>
      <a:ea typeface=""/>
      <a:cs typeface=""/>
      <a:font script="Grek" typeface="Cambria"/>
      <a:font script="Cyrl" typeface="Cambria"/>
      <a:font script="Jpan" typeface="HG明朝E"/>
      <a:font script="Hang" typeface="돋움"/>
      <a:font script="Hans" typeface="宋体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Gill Sans MT"/>
      <a:ea typeface=""/>
      <a:cs typeface=""/>
      <a:font script="Grek" typeface="Calibri"/>
      <a:font script="Cyrl" typeface="Calibri"/>
      <a:font script="Jpan" typeface="ＭＳ Ｐゴシック"/>
      <a:font script="Hang" typeface="맑은 고딕"/>
      <a:font script="Hans" typeface="华文新魏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rigen">
    <a:fillStyleLst>
      <a:solidFill>
        <a:schemeClr val="phClr"/>
      </a:solidFill>
      <a:gradFill rotWithShape="1">
        <a:gsLst>
          <a:gs pos="0">
            <a:schemeClr val="phClr">
              <a:tint val="45000"/>
              <a:satMod val="200000"/>
            </a:schemeClr>
          </a:gs>
          <a:gs pos="30000">
            <a:schemeClr val="phClr">
              <a:tint val="61000"/>
              <a:satMod val="200000"/>
            </a:schemeClr>
          </a:gs>
          <a:gs pos="45000">
            <a:schemeClr val="phClr">
              <a:tint val="66000"/>
              <a:satMod val="200000"/>
            </a:schemeClr>
          </a:gs>
          <a:gs pos="55000">
            <a:schemeClr val="phClr">
              <a:tint val="66000"/>
              <a:satMod val="200000"/>
            </a:schemeClr>
          </a:gs>
          <a:gs pos="73000">
            <a:schemeClr val="phClr">
              <a:tint val="61000"/>
              <a:satMod val="200000"/>
            </a:schemeClr>
          </a:gs>
          <a:gs pos="100000">
            <a:schemeClr val="phClr">
              <a:tint val="45000"/>
              <a:satMod val="200000"/>
            </a:schemeClr>
          </a:gs>
        </a:gsLst>
        <a:lin ang="950000" scaled="1"/>
      </a:gradFill>
      <a:gradFill rotWithShape="1">
        <a:gsLst>
          <a:gs pos="0">
            <a:schemeClr val="phClr">
              <a:shade val="63000"/>
            </a:schemeClr>
          </a:gs>
          <a:gs pos="30000">
            <a:schemeClr val="phClr">
              <a:shade val="90000"/>
              <a:satMod val="110000"/>
            </a:schemeClr>
          </a:gs>
          <a:gs pos="45000">
            <a:schemeClr val="phClr">
              <a:shade val="100000"/>
              <a:satMod val="118000"/>
            </a:schemeClr>
          </a:gs>
          <a:gs pos="55000">
            <a:schemeClr val="phClr">
              <a:shade val="100000"/>
              <a:satMod val="118000"/>
            </a:schemeClr>
          </a:gs>
          <a:gs pos="73000">
            <a:schemeClr val="phClr">
              <a:shade val="90000"/>
              <a:satMod val="110000"/>
            </a:schemeClr>
          </a:gs>
          <a:gs pos="100000">
            <a:schemeClr val="phClr">
              <a:shade val="63000"/>
            </a:schemeClr>
          </a:gs>
        </a:gsLst>
        <a:lin ang="950000" scaled="1"/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430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balanced" dir="t">
            <a:rot lat="0" lon="0" rev="0"/>
          </a:lightRig>
        </a:scene3d>
        <a:sp3d prstMaterial="matte">
          <a:bevelT w="0" h="0"/>
          <a:contourClr>
            <a:schemeClr val="phClr">
              <a:tint val="100000"/>
              <a:shade val="100000"/>
              <a:hueMod val="100000"/>
              <a:satMod val="100000"/>
            </a:schemeClr>
          </a:contourClr>
        </a:sp3d>
      </a:effectStyle>
      <a:effectStyle>
        <a:effectLst>
          <a:outerShdw blurRad="50800" dist="25400" dir="5400000" rotWithShape="0">
            <a:srgbClr val="000000">
              <a:alpha val="50000"/>
            </a:srgbClr>
          </a:outerShdw>
        </a:effectLst>
        <a:scene3d>
          <a:camera prst="orthographicFront" fov="0">
            <a:rot lat="0" lon="0" rev="0"/>
          </a:camera>
          <a:lightRig rig="soft" dir="t">
            <a:rot lat="0" lon="0" rev="2700000"/>
          </a:lightRig>
        </a:scene3d>
        <a:sp3d prstMaterial="matte">
          <a:bevelT w="50800" h="508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60000"/>
              <a:satMod val="300000"/>
            </a:schemeClr>
          </a:gs>
          <a:gs pos="30000">
            <a:schemeClr val="phClr">
              <a:shade val="80000"/>
              <a:satMod val="230000"/>
            </a:schemeClr>
          </a:gs>
          <a:gs pos="100000">
            <a:schemeClr val="phClr">
              <a:tint val="97000"/>
              <a:satMod val="22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shade val="6000"/>
              <a:satMod val="120000"/>
            </a:schemeClr>
            <a:schemeClr val="phClr">
              <a:tint val="90000"/>
            </a:schemeClr>
          </a:duotone>
        </a:blip>
        <a:tile tx="0" ty="0" sx="35000" sy="40000" flip="x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Urbano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Origen">
    <a:majorFont>
      <a:latin typeface="Bookman Old Style"/>
      <a:ea typeface=""/>
      <a:cs typeface=""/>
      <a:font script="Grek" typeface="Cambria"/>
      <a:font script="Cyrl" typeface="Cambria"/>
      <a:font script="Jpan" typeface="HG明朝E"/>
      <a:font script="Hang" typeface="돋움"/>
      <a:font script="Hans" typeface="宋体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Gill Sans MT"/>
      <a:ea typeface=""/>
      <a:cs typeface=""/>
      <a:font script="Grek" typeface="Calibri"/>
      <a:font script="Cyrl" typeface="Calibri"/>
      <a:font script="Jpan" typeface="ＭＳ Ｐゴシック"/>
      <a:font script="Hang" typeface="맑은 고딕"/>
      <a:font script="Hans" typeface="华文新魏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rigen">
    <a:fillStyleLst>
      <a:solidFill>
        <a:schemeClr val="phClr"/>
      </a:solidFill>
      <a:gradFill rotWithShape="1">
        <a:gsLst>
          <a:gs pos="0">
            <a:schemeClr val="phClr">
              <a:tint val="45000"/>
              <a:satMod val="200000"/>
            </a:schemeClr>
          </a:gs>
          <a:gs pos="30000">
            <a:schemeClr val="phClr">
              <a:tint val="61000"/>
              <a:satMod val="200000"/>
            </a:schemeClr>
          </a:gs>
          <a:gs pos="45000">
            <a:schemeClr val="phClr">
              <a:tint val="66000"/>
              <a:satMod val="200000"/>
            </a:schemeClr>
          </a:gs>
          <a:gs pos="55000">
            <a:schemeClr val="phClr">
              <a:tint val="66000"/>
              <a:satMod val="200000"/>
            </a:schemeClr>
          </a:gs>
          <a:gs pos="73000">
            <a:schemeClr val="phClr">
              <a:tint val="61000"/>
              <a:satMod val="200000"/>
            </a:schemeClr>
          </a:gs>
          <a:gs pos="100000">
            <a:schemeClr val="phClr">
              <a:tint val="45000"/>
              <a:satMod val="200000"/>
            </a:schemeClr>
          </a:gs>
        </a:gsLst>
        <a:lin ang="950000" scaled="1"/>
      </a:gradFill>
      <a:gradFill rotWithShape="1">
        <a:gsLst>
          <a:gs pos="0">
            <a:schemeClr val="phClr">
              <a:shade val="63000"/>
            </a:schemeClr>
          </a:gs>
          <a:gs pos="30000">
            <a:schemeClr val="phClr">
              <a:shade val="90000"/>
              <a:satMod val="110000"/>
            </a:schemeClr>
          </a:gs>
          <a:gs pos="45000">
            <a:schemeClr val="phClr">
              <a:shade val="100000"/>
              <a:satMod val="118000"/>
            </a:schemeClr>
          </a:gs>
          <a:gs pos="55000">
            <a:schemeClr val="phClr">
              <a:shade val="100000"/>
              <a:satMod val="118000"/>
            </a:schemeClr>
          </a:gs>
          <a:gs pos="73000">
            <a:schemeClr val="phClr">
              <a:shade val="90000"/>
              <a:satMod val="110000"/>
            </a:schemeClr>
          </a:gs>
          <a:gs pos="100000">
            <a:schemeClr val="phClr">
              <a:shade val="63000"/>
            </a:schemeClr>
          </a:gs>
        </a:gsLst>
        <a:lin ang="950000" scaled="1"/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430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balanced" dir="t">
            <a:rot lat="0" lon="0" rev="0"/>
          </a:lightRig>
        </a:scene3d>
        <a:sp3d prstMaterial="matte">
          <a:bevelT w="0" h="0"/>
          <a:contourClr>
            <a:schemeClr val="phClr">
              <a:tint val="100000"/>
              <a:shade val="100000"/>
              <a:hueMod val="100000"/>
              <a:satMod val="100000"/>
            </a:schemeClr>
          </a:contourClr>
        </a:sp3d>
      </a:effectStyle>
      <a:effectStyle>
        <a:effectLst>
          <a:outerShdw blurRad="50800" dist="25400" dir="5400000" rotWithShape="0">
            <a:srgbClr val="000000">
              <a:alpha val="50000"/>
            </a:srgbClr>
          </a:outerShdw>
        </a:effectLst>
        <a:scene3d>
          <a:camera prst="orthographicFront" fov="0">
            <a:rot lat="0" lon="0" rev="0"/>
          </a:camera>
          <a:lightRig rig="soft" dir="t">
            <a:rot lat="0" lon="0" rev="2700000"/>
          </a:lightRig>
        </a:scene3d>
        <a:sp3d prstMaterial="matte">
          <a:bevelT w="50800" h="508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60000"/>
              <a:satMod val="300000"/>
            </a:schemeClr>
          </a:gs>
          <a:gs pos="30000">
            <a:schemeClr val="phClr">
              <a:shade val="80000"/>
              <a:satMod val="230000"/>
            </a:schemeClr>
          </a:gs>
          <a:gs pos="100000">
            <a:schemeClr val="phClr">
              <a:tint val="97000"/>
              <a:satMod val="22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shade val="6000"/>
              <a:satMod val="120000"/>
            </a:schemeClr>
            <a:schemeClr val="phClr">
              <a:tint val="90000"/>
            </a:schemeClr>
          </a:duotone>
        </a:blip>
        <a:tile tx="0" ty="0" sx="35000" sy="40000" flip="x" algn="tl"/>
      </a:blipFill>
    </a:bgFillStyleLst>
  </a:fmt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FFFF"/>
    </a:dk2>
    <a:lt2>
      <a:srgbClr val="DDDDDD"/>
    </a:lt2>
    <a:accent1>
      <a:srgbClr val="CE1126"/>
    </a:accent1>
    <a:accent2>
      <a:srgbClr val="2563C1"/>
    </a:accent2>
    <a:accent3>
      <a:srgbClr val="FFFFFF"/>
    </a:accent3>
    <a:accent4>
      <a:srgbClr val="000000"/>
    </a:accent4>
    <a:accent5>
      <a:srgbClr val="E3AAAC"/>
    </a:accent5>
    <a:accent6>
      <a:srgbClr val="2059AF"/>
    </a:accent6>
    <a:hlink>
      <a:srgbClr val="FFCE00"/>
    </a:hlink>
    <a:folHlink>
      <a:srgbClr val="006700"/>
    </a:folHlink>
  </a:clrScheme>
  <a:fontScheme name="Office Them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126</TotalTime>
  <Words>3090</Words>
  <Application>Microsoft Office PowerPoint</Application>
  <PresentationFormat>Presentación en pantalla (4:3)</PresentationFormat>
  <Paragraphs>591</Paragraphs>
  <Slides>48</Slides>
  <Notes>17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48</vt:i4>
      </vt:variant>
    </vt:vector>
  </HeadingPairs>
  <TitlesOfParts>
    <vt:vector size="52" baseType="lpstr">
      <vt:lpstr>Office Theme</vt:lpstr>
      <vt:lpstr>Office Theme</vt:lpstr>
      <vt:lpstr>Worksheet</vt:lpstr>
      <vt:lpstr>Hoja de cálculo de Microsoft Excel 97-2003</vt:lpstr>
      <vt:lpstr>Presentación de PowerPoint</vt:lpstr>
      <vt:lpstr>VISION DE LARGO PLAZO </vt:lpstr>
      <vt:lpstr>Presentación de PowerPoint</vt:lpstr>
      <vt:lpstr>Paraguay en Cifras</vt:lpstr>
      <vt:lpstr>Presentación de PowerPoint</vt:lpstr>
      <vt:lpstr>Disciplina y Sustentabilidad de la Política Fiscal</vt:lpstr>
      <vt:lpstr>Deuda Pública Prudente</vt:lpstr>
      <vt:lpstr>Resultado: Mejora del Perfil de Riesgo País</vt:lpstr>
      <vt:lpstr>Paraguay se abre: Emisión de Bonos Internacionales</vt:lpstr>
      <vt:lpstr>Resultados Sociales Moderados </vt:lpstr>
      <vt:lpstr>El Desafío: Reducir la volatilidad del crecimiento</vt:lpstr>
      <vt:lpstr>Políticas Macrofiscales Esenciales</vt:lpstr>
      <vt:lpstr>Presentación de PowerPoint</vt:lpstr>
      <vt:lpstr>Estabilidad de las Variables Macroeconómicas</vt:lpstr>
      <vt:lpstr>Aumento de las Reservas Internacionales Netas</vt:lpstr>
      <vt:lpstr>Presentación de PowerPoint</vt:lpstr>
      <vt:lpstr>Presentación de PowerPoint</vt:lpstr>
      <vt:lpstr>Presentación de PowerPoint</vt:lpstr>
      <vt:lpstr>Presentación de PowerPoint</vt:lpstr>
      <vt:lpstr>Características del Sistema Financiero </vt:lpstr>
      <vt:lpstr>Presentación de PowerPoint</vt:lpstr>
      <vt:lpstr>Presentación de PowerPoint</vt:lpstr>
      <vt:lpstr>Presentación de PowerPoint</vt:lpstr>
      <vt:lpstr>La Disminución de la Pobreza y Tasas de Desempleo</vt:lpstr>
      <vt:lpstr>Pasos para Seguir para Fortalecer el Sistema Bancario</vt:lpstr>
      <vt:lpstr>Presentación de PowerPoint</vt:lpstr>
      <vt:lpstr>Política Exterior y Comercial</vt:lpstr>
      <vt:lpstr>Política Exterior y Comercial</vt:lpstr>
      <vt:lpstr>Presentación de PowerPoint</vt:lpstr>
      <vt:lpstr>Presentación de PowerPoint</vt:lpstr>
      <vt:lpstr>Plan de Inversión en Obras Publicas a 10 años</vt:lpstr>
      <vt:lpstr>Inversión Privada en Obras Publicas</vt:lpstr>
      <vt:lpstr>El Ministerio de Obras Publicas y Comunicaciones </vt:lpstr>
      <vt:lpstr>Presentación de PowerPoint</vt:lpstr>
      <vt:lpstr>Posicionamiento Mundial</vt:lpstr>
      <vt:lpstr>Menor costo comparativo del energía</vt:lpstr>
      <vt:lpstr>Costos Salariales Directos</vt:lpstr>
      <vt:lpstr>Mano de Obra Joven y Bien Formada</vt:lpstr>
      <vt:lpstr>Sistema Tributario Simple</vt:lpstr>
      <vt:lpstr>Presión Tributaria Comparada (% del PIB)</vt:lpstr>
      <vt:lpstr>LEY 60/90 : Incentivos Fiscales para la Inversión de Capital </vt:lpstr>
      <vt:lpstr>Arancel Externo Común MERCOSUR </vt:lpstr>
      <vt:lpstr>Incentivos y regímenes especiales</vt:lpstr>
      <vt:lpstr>Presentación de PowerPoint</vt:lpstr>
      <vt:lpstr>Sectores con importante potencial</vt:lpstr>
      <vt:lpstr>Sectores con importante potencial</vt:lpstr>
      <vt:lpstr>Razones objetivas para Invertir en Paraguay</vt:lpstr>
      <vt:lpstr>Paraguay, País de Oportunidad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tero, Andrea [ICG-CMO]</dc:creator>
  <cp:lastModifiedBy>Roland</cp:lastModifiedBy>
  <cp:revision>541</cp:revision>
  <cp:lastPrinted>2013-01-09T21:03:21Z</cp:lastPrinted>
  <dcterms:modified xsi:type="dcterms:W3CDTF">2013-08-16T02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OCOpt">
    <vt:lpwstr>1</vt:lpwstr>
  </property>
  <property fmtid="{D5CDD505-2E9C-101B-9397-08002B2CF9AE}" pid="3" name="PNSOpt">
    <vt:lpwstr>1s</vt:lpwstr>
  </property>
  <property fmtid="{D5CDD505-2E9C-101B-9397-08002B2CF9AE}" pid="4" name="Pitchbook Compatible">
    <vt:lpwstr>Yes</vt:lpwstr>
  </property>
</Properties>
</file>